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mf" ContentType="image/x-wmf"/>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2"/>
  </p:notesMasterIdLst>
  <p:handoutMasterIdLst>
    <p:handoutMasterId r:id="rId23"/>
  </p:handoutMasterIdLst>
  <p:sldIdLst>
    <p:sldId id="3987" r:id="rId5"/>
    <p:sldId id="2147375261" r:id="rId6"/>
    <p:sldId id="4000" r:id="rId7"/>
    <p:sldId id="4003" r:id="rId8"/>
    <p:sldId id="4012" r:id="rId9"/>
    <p:sldId id="2147375358" r:id="rId10"/>
    <p:sldId id="4013" r:id="rId11"/>
    <p:sldId id="4014" r:id="rId12"/>
    <p:sldId id="4015" r:id="rId13"/>
    <p:sldId id="2146846754" r:id="rId14"/>
    <p:sldId id="2146846753" r:id="rId15"/>
    <p:sldId id="4009" r:id="rId16"/>
    <p:sldId id="2147374710" r:id="rId17"/>
    <p:sldId id="2147375357" r:id="rId18"/>
    <p:sldId id="4016" r:id="rId19"/>
    <p:sldId id="4018" r:id="rId20"/>
    <p:sldId id="2146846732" r:id="rId21"/>
  </p:sldIdLst>
  <p:sldSz cx="12192000" cy="6858000"/>
  <p:notesSz cx="9926638" cy="6797675"/>
  <p:custDataLst>
    <p:tags r:id="rId24"/>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00F90C66-8C82-4820-9C85-C4CC22CEA772}">
          <p14:sldIdLst>
            <p14:sldId id="3987"/>
            <p14:sldId id="2147375261"/>
          </p14:sldIdLst>
        </p14:section>
        <p14:section name="Theme 1: KONE Care DX - intro" id="{40A62715-B1E8-441E-B652-B177A7DA59B9}">
          <p14:sldIdLst>
            <p14:sldId id="4000"/>
            <p14:sldId id="4003"/>
            <p14:sldId id="4012"/>
            <p14:sldId id="2147375358"/>
          </p14:sldIdLst>
        </p14:section>
        <p14:section name="Theme 2: Availability" id="{47F0B01C-D5DD-4CC6-9041-7BAF1A91F6B7}">
          <p14:sldIdLst>
            <p14:sldId id="4013"/>
          </p14:sldIdLst>
        </p14:section>
        <p14:section name="Theme 3: Responsiveness" id="{58BA5CEE-C058-4CB3-B54C-35086EC04C58}">
          <p14:sldIdLst>
            <p14:sldId id="4014"/>
          </p14:sldIdLst>
        </p14:section>
        <p14:section name="Theme 4: Sustainability" id="{0007559F-97F6-41AB-8E2C-E09A0E58B471}">
          <p14:sldIdLst>
            <p14:sldId id="4015"/>
            <p14:sldId id="2146846754"/>
            <p14:sldId id="2146846753"/>
            <p14:sldId id="4009"/>
            <p14:sldId id="2147374710"/>
            <p14:sldId id="2147375357"/>
          </p14:sldIdLst>
        </p14:section>
        <p14:section name="Theme 5: Connectivity" id="{DE0C6197-5C04-4AFE-AAB6-52D9DC4B6506}">
          <p14:sldIdLst>
            <p14:sldId id="4016"/>
            <p14:sldId id="4018"/>
          </p14:sldIdLst>
        </p14:section>
        <p14:section name="Thank you" id="{D98DF0D0-7DB3-406D-A614-3A66E67F226C}">
          <p14:sldIdLst>
            <p14:sldId id="2146846732"/>
          </p14:sldIdLst>
        </p14:section>
      </p14:sectionLst>
    </p:ext>
    <p:ext uri="{EFAFB233-063F-42B5-8137-9DF3F51BA10A}">
      <p15:sldGuideLst xmlns:p15="http://schemas.microsoft.com/office/powerpoint/2012/main">
        <p15:guide id="6" pos="257">
          <p15:clr>
            <a:srgbClr val="A4A3A4"/>
          </p15:clr>
        </p15:guide>
        <p15:guide id="12" orient="horz" pos="3929" userDrawn="1">
          <p15:clr>
            <a:srgbClr val="A4A3A4"/>
          </p15:clr>
        </p15:guide>
        <p15:guide id="44" orient="horz" pos="981" userDrawn="1">
          <p15:clr>
            <a:srgbClr val="A4A3A4"/>
          </p15:clr>
        </p15:guide>
        <p15:guide id="48" orient="horz" pos="255" userDrawn="1">
          <p15:clr>
            <a:srgbClr val="A4A3A4"/>
          </p15:clr>
        </p15:guide>
        <p15:guide id="49" orient="horz" pos="2840" userDrawn="1">
          <p15:clr>
            <a:srgbClr val="A4A3A4"/>
          </p15:clr>
        </p15:guide>
        <p15:guide id="50" orient="horz" pos="3112" userDrawn="1">
          <p15:clr>
            <a:srgbClr val="A4A3A4"/>
          </p15:clr>
        </p15:guide>
        <p15:guide id="51" orient="horz" pos="3407" userDrawn="1">
          <p15:clr>
            <a:srgbClr val="A4A3A4"/>
          </p15:clr>
        </p15:guide>
        <p15:guide id="52" orient="horz" pos="1253">
          <p15:clr>
            <a:srgbClr val="A4A3A4"/>
          </p15:clr>
        </p15:guide>
        <p15:guide id="53" orient="horz" pos="3702">
          <p15:clr>
            <a:srgbClr val="A4A3A4"/>
          </p15:clr>
        </p15:guide>
        <p15:guide id="54" orient="horz" pos="2704" userDrawn="1">
          <p15:clr>
            <a:srgbClr val="A4A3A4"/>
          </p15:clr>
        </p15:guide>
        <p15:guide id="56" pos="3840" userDrawn="1">
          <p15:clr>
            <a:srgbClr val="A4A3A4"/>
          </p15:clr>
        </p15:guide>
        <p15:guide id="58" pos="7423" userDrawn="1">
          <p15:clr>
            <a:srgbClr val="A4A3A4"/>
          </p15:clr>
        </p15:guide>
        <p15:guide id="59" orient="horz" pos="40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imi Renvall" initials="TR" lastIdx="1" clrIdx="0"/>
  <p:cmAuthor id="2" name="Buesink Robert" initials="BR" lastIdx="2" clrIdx="1"/>
  <p:cmAuthor id="3" name="Salmelin Sohvi" initials="SS" lastIdx="115" clrIdx="2"/>
  <p:cmAuthor id="4" name="Boxberg Anja" initials="BA" lastIdx="16" clrIdx="3"/>
  <p:cmAuthor id="5" name="Tirronen Hannele" initials="TH" lastIdx="4" clrIdx="4"/>
  <p:cmAuthor id="6" name="Avanidis Sabrina" initials="AS" lastIdx="154" clrIdx="5"/>
  <p:cmAuthor id="7" name="Guest User" initials="GU" lastIdx="23" clrIdx="6"/>
  <p:cmAuthor id="8" name="VAN DEN BROM ANNA" initials="VA" lastIdx="53" clrIdx="7"/>
  <p:cmAuthor id="9" name="Tan Tian" initials="TT" lastIdx="4" clrIdx="8"/>
  <p:cmAuthor id="10" name="Hu Haiyang" initials="HH" lastIdx="22" clrIdx="9"/>
  <p:cmAuthor id="11" name="Saaristenperä Milla" initials="SM" lastIdx="3" clrIdx="10">
    <p:extLst>
      <p:ext uri="{19B8F6BF-5375-455C-9EA6-DF929625EA0E}">
        <p15:presenceInfo xmlns:p15="http://schemas.microsoft.com/office/powerpoint/2012/main" userId="S::milla.saaristenpera@kone.com::d8140bb8-5a15-4404-9d05-96d63ee033aa" providerId="AD"/>
      </p:ext>
    </p:extLst>
  </p:cmAuthor>
  <p:cmAuthor id="12" name="Latva Kaisa" initials="LK" lastIdx="3" clrIdx="11">
    <p:extLst>
      <p:ext uri="{19B8F6BF-5375-455C-9EA6-DF929625EA0E}">
        <p15:presenceInfo xmlns:p15="http://schemas.microsoft.com/office/powerpoint/2012/main" userId="S::kaisa.latva@KONE.COM::0579d33c-fec2-4e42-b72c-5e837471ea66" providerId="AD"/>
      </p:ext>
    </p:extLst>
  </p:cmAuthor>
  <p:cmAuthor id="13" name="Bäck Christina" initials="CB" lastIdx="17" clrIdx="12">
    <p:extLst>
      <p:ext uri="{19B8F6BF-5375-455C-9EA6-DF929625EA0E}">
        <p15:presenceInfo xmlns:p15="http://schemas.microsoft.com/office/powerpoint/2012/main" userId="Bäck Christina" providerId="None"/>
      </p:ext>
    </p:extLst>
  </p:cmAuthor>
  <p:cmAuthor id="14" name="Soisalo Hanna" initials="SH" lastIdx="3" clrIdx="13">
    <p:extLst>
      <p:ext uri="{19B8F6BF-5375-455C-9EA6-DF929625EA0E}">
        <p15:presenceInfo xmlns:p15="http://schemas.microsoft.com/office/powerpoint/2012/main" userId="S::hanna.soisalo@kone.com::70e20bd3-b988-44b9-a5d9-b72f0185f802" providerId="AD"/>
      </p:ext>
    </p:extLst>
  </p:cmAuthor>
  <p:cmAuthor id="15" name="Rubanin-Hildén Natasha" initials="RN" lastIdx="11" clrIdx="14">
    <p:extLst>
      <p:ext uri="{19B8F6BF-5375-455C-9EA6-DF929625EA0E}">
        <p15:presenceInfo xmlns:p15="http://schemas.microsoft.com/office/powerpoint/2012/main" userId="S::natasha.rubanin-hilden@kone.com::6362c184-7deb-4224-a4e7-ab2a8236199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FEFEFE"/>
    <a:srgbClr val="F2F8FC"/>
    <a:srgbClr val="0071B9"/>
    <a:srgbClr val="004987"/>
    <a:srgbClr val="3B4245"/>
    <a:srgbClr val="8D91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907" autoAdjust="0"/>
  </p:normalViewPr>
  <p:slideViewPr>
    <p:cSldViewPr snapToGrid="0">
      <p:cViewPr varScale="1">
        <p:scale>
          <a:sx n="61" d="100"/>
          <a:sy n="61" d="100"/>
        </p:scale>
        <p:origin x="788" y="56"/>
      </p:cViewPr>
      <p:guideLst>
        <p:guide pos="257"/>
        <p:guide orient="horz" pos="3929"/>
        <p:guide orient="horz" pos="981"/>
        <p:guide orient="horz" pos="255"/>
        <p:guide orient="horz" pos="2840"/>
        <p:guide orient="horz" pos="3112"/>
        <p:guide orient="horz" pos="3407"/>
        <p:guide orient="horz" pos="1253"/>
        <p:guide orient="horz" pos="3702"/>
        <p:guide orient="horz" pos="2704"/>
        <p:guide pos="3840"/>
        <p:guide pos="7423"/>
        <p:guide orient="horz" pos="402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äck Christina" userId="fb5a0b99-6a2b-418a-b774-ff58205b6572" providerId="ADAL" clId="{E19AF799-2CB6-43A0-BB77-B387362A56B8}"/>
    <pc:docChg chg="undo custSel modSld">
      <pc:chgData name="Bäck Christina" userId="fb5a0b99-6a2b-418a-b774-ff58205b6572" providerId="ADAL" clId="{E19AF799-2CB6-43A0-BB77-B387362A56B8}" dt="2022-04-13T20:04:37.114" v="7" actId="1076"/>
      <pc:docMkLst>
        <pc:docMk/>
      </pc:docMkLst>
      <pc:sldChg chg="modSp mod">
        <pc:chgData name="Bäck Christina" userId="fb5a0b99-6a2b-418a-b774-ff58205b6572" providerId="ADAL" clId="{E19AF799-2CB6-43A0-BB77-B387362A56B8}" dt="2022-04-13T20:04:37.114" v="7" actId="1076"/>
        <pc:sldMkLst>
          <pc:docMk/>
          <pc:sldMk cId="1848118473" sldId="4012"/>
        </pc:sldMkLst>
        <pc:spChg chg="mod">
          <ac:chgData name="Bäck Christina" userId="fb5a0b99-6a2b-418a-b774-ff58205b6572" providerId="ADAL" clId="{E19AF799-2CB6-43A0-BB77-B387362A56B8}" dt="2022-04-13T20:04:37.114" v="7" actId="1076"/>
          <ac:spMkLst>
            <pc:docMk/>
            <pc:sldMk cId="1848118473" sldId="4012"/>
            <ac:spMk id="7" creationId="{276EC792-E005-7A4B-939F-66E620568982}"/>
          </ac:spMkLst>
        </pc:spChg>
        <pc:picChg chg="mod">
          <ac:chgData name="Bäck Christina" userId="fb5a0b99-6a2b-418a-b774-ff58205b6572" providerId="ADAL" clId="{E19AF799-2CB6-43A0-BB77-B387362A56B8}" dt="2022-04-13T20:04:12.312" v="4" actId="1037"/>
          <ac:picMkLst>
            <pc:docMk/>
            <pc:sldMk cId="1848118473" sldId="4012"/>
            <ac:picMk id="5" creationId="{78D6CAFB-2E39-634D-B175-41330A2CB1B3}"/>
          </ac:picMkLst>
        </pc:picChg>
      </pc:sldChg>
    </pc:docChg>
  </pc:docChgLst>
  <pc:docChgLst>
    <pc:chgData name="Bäck Christina" userId="fb5a0b99-6a2b-418a-b774-ff58205b6572" providerId="ADAL" clId="{DDB12D30-B28D-4040-A069-AE532DBE119C}"/>
    <pc:docChg chg="undo custSel delSld modSld addSection delSection modSection">
      <pc:chgData name="Bäck Christina" userId="fb5a0b99-6a2b-418a-b774-ff58205b6572" providerId="ADAL" clId="{DDB12D30-B28D-4040-A069-AE532DBE119C}" dt="2022-04-04T21:50:23.864" v="27" actId="1035"/>
      <pc:docMkLst>
        <pc:docMk/>
      </pc:docMkLst>
      <pc:sldChg chg="del">
        <pc:chgData name="Bäck Christina" userId="fb5a0b99-6a2b-418a-b774-ff58205b6572" providerId="ADAL" clId="{DDB12D30-B28D-4040-A069-AE532DBE119C}" dt="2022-04-04T21:49:16.572" v="0" actId="47"/>
        <pc:sldMkLst>
          <pc:docMk/>
          <pc:sldMk cId="3994373808" sldId="256"/>
        </pc:sldMkLst>
      </pc:sldChg>
      <pc:sldChg chg="del">
        <pc:chgData name="Bäck Christina" userId="fb5a0b99-6a2b-418a-b774-ff58205b6572" providerId="ADAL" clId="{DDB12D30-B28D-4040-A069-AE532DBE119C}" dt="2022-04-04T21:49:16.572" v="0" actId="47"/>
        <pc:sldMkLst>
          <pc:docMk/>
          <pc:sldMk cId="9208072" sldId="258"/>
        </pc:sldMkLst>
      </pc:sldChg>
      <pc:sldChg chg="del">
        <pc:chgData name="Bäck Christina" userId="fb5a0b99-6a2b-418a-b774-ff58205b6572" providerId="ADAL" clId="{DDB12D30-B28D-4040-A069-AE532DBE119C}" dt="2022-04-04T21:49:16.572" v="0" actId="47"/>
        <pc:sldMkLst>
          <pc:docMk/>
          <pc:sldMk cId="4073990859" sldId="2146846752"/>
        </pc:sldMkLst>
      </pc:sldChg>
      <pc:sldChg chg="del">
        <pc:chgData name="Bäck Christina" userId="fb5a0b99-6a2b-418a-b774-ff58205b6572" providerId="ADAL" clId="{DDB12D30-B28D-4040-A069-AE532DBE119C}" dt="2022-04-04T21:49:16.572" v="0" actId="47"/>
        <pc:sldMkLst>
          <pc:docMk/>
          <pc:sldMk cId="535341150" sldId="2147375264"/>
        </pc:sldMkLst>
      </pc:sldChg>
      <pc:sldChg chg="del">
        <pc:chgData name="Bäck Christina" userId="fb5a0b99-6a2b-418a-b774-ff58205b6572" providerId="ADAL" clId="{DDB12D30-B28D-4040-A069-AE532DBE119C}" dt="2022-04-04T21:49:16.572" v="0" actId="47"/>
        <pc:sldMkLst>
          <pc:docMk/>
          <pc:sldMk cId="2454655354" sldId="2147375265"/>
        </pc:sldMkLst>
      </pc:sldChg>
      <pc:sldChg chg="del">
        <pc:chgData name="Bäck Christina" userId="fb5a0b99-6a2b-418a-b774-ff58205b6572" providerId="ADAL" clId="{DDB12D30-B28D-4040-A069-AE532DBE119C}" dt="2022-04-04T21:49:16.572" v="0" actId="47"/>
        <pc:sldMkLst>
          <pc:docMk/>
          <pc:sldMk cId="3384388474" sldId="2147375268"/>
        </pc:sldMkLst>
      </pc:sldChg>
      <pc:sldChg chg="del">
        <pc:chgData name="Bäck Christina" userId="fb5a0b99-6a2b-418a-b774-ff58205b6572" providerId="ADAL" clId="{DDB12D30-B28D-4040-A069-AE532DBE119C}" dt="2022-04-04T21:49:16.572" v="0" actId="47"/>
        <pc:sldMkLst>
          <pc:docMk/>
          <pc:sldMk cId="4056696613" sldId="2147375269"/>
        </pc:sldMkLst>
      </pc:sldChg>
      <pc:sldChg chg="modSp mod">
        <pc:chgData name="Bäck Christina" userId="fb5a0b99-6a2b-418a-b774-ff58205b6572" providerId="ADAL" clId="{DDB12D30-B28D-4040-A069-AE532DBE119C}" dt="2022-04-04T21:50:23.864" v="27" actId="1035"/>
        <pc:sldMkLst>
          <pc:docMk/>
          <pc:sldMk cId="2623755653" sldId="2147375358"/>
        </pc:sldMkLst>
        <pc:spChg chg="mod">
          <ac:chgData name="Bäck Christina" userId="fb5a0b99-6a2b-418a-b774-ff58205b6572" providerId="ADAL" clId="{DDB12D30-B28D-4040-A069-AE532DBE119C}" dt="2022-04-04T21:50:07.763" v="16" actId="1036"/>
          <ac:spMkLst>
            <pc:docMk/>
            <pc:sldMk cId="2623755653" sldId="2147375358"/>
            <ac:spMk id="17" creationId="{9F20DB15-3E16-403D-8550-115B5EDFA073}"/>
          </ac:spMkLst>
        </pc:spChg>
        <pc:spChg chg="mod">
          <ac:chgData name="Bäck Christina" userId="fb5a0b99-6a2b-418a-b774-ff58205b6572" providerId="ADAL" clId="{DDB12D30-B28D-4040-A069-AE532DBE119C}" dt="2022-04-04T21:50:07.763" v="16" actId="1036"/>
          <ac:spMkLst>
            <pc:docMk/>
            <pc:sldMk cId="2623755653" sldId="2147375358"/>
            <ac:spMk id="18" creationId="{70A9EA9F-A769-4D6F-8E61-82430129F2B2}"/>
          </ac:spMkLst>
        </pc:spChg>
        <pc:spChg chg="mod">
          <ac:chgData name="Bäck Christina" userId="fb5a0b99-6a2b-418a-b774-ff58205b6572" providerId="ADAL" clId="{DDB12D30-B28D-4040-A069-AE532DBE119C}" dt="2022-04-04T21:50:07.763" v="16" actId="1036"/>
          <ac:spMkLst>
            <pc:docMk/>
            <pc:sldMk cId="2623755653" sldId="2147375358"/>
            <ac:spMk id="19" creationId="{7B8977D1-1C6F-4408-AC97-E686FA26FDE8}"/>
          </ac:spMkLst>
        </pc:spChg>
        <pc:spChg chg="mod">
          <ac:chgData name="Bäck Christina" userId="fb5a0b99-6a2b-418a-b774-ff58205b6572" providerId="ADAL" clId="{DDB12D30-B28D-4040-A069-AE532DBE119C}" dt="2022-04-04T21:50:07.763" v="16" actId="1036"/>
          <ac:spMkLst>
            <pc:docMk/>
            <pc:sldMk cId="2623755653" sldId="2147375358"/>
            <ac:spMk id="20" creationId="{D3BE6E71-388D-4C10-85C3-69CC7CA06391}"/>
          </ac:spMkLst>
        </pc:spChg>
        <pc:spChg chg="mod">
          <ac:chgData name="Bäck Christina" userId="fb5a0b99-6a2b-418a-b774-ff58205b6572" providerId="ADAL" clId="{DDB12D30-B28D-4040-A069-AE532DBE119C}" dt="2022-04-04T21:50:23.864" v="27" actId="1035"/>
          <ac:spMkLst>
            <pc:docMk/>
            <pc:sldMk cId="2623755653" sldId="2147375358"/>
            <ac:spMk id="42" creationId="{D2EB507A-8B4A-444F-8094-BD3F8BD608C4}"/>
          </ac:spMkLst>
        </pc:spChg>
        <pc:spChg chg="mod">
          <ac:chgData name="Bäck Christina" userId="fb5a0b99-6a2b-418a-b774-ff58205b6572" providerId="ADAL" clId="{DDB12D30-B28D-4040-A069-AE532DBE119C}" dt="2022-04-04T21:50:23.864" v="27" actId="1035"/>
          <ac:spMkLst>
            <pc:docMk/>
            <pc:sldMk cId="2623755653" sldId="2147375358"/>
            <ac:spMk id="43" creationId="{F13367DE-C56D-4985-BF87-01F51DFDAD85}"/>
          </ac:spMkLst>
        </pc:spChg>
        <pc:spChg chg="mod">
          <ac:chgData name="Bäck Christina" userId="fb5a0b99-6a2b-418a-b774-ff58205b6572" providerId="ADAL" clId="{DDB12D30-B28D-4040-A069-AE532DBE119C}" dt="2022-04-04T21:50:23.864" v="27" actId="1035"/>
          <ac:spMkLst>
            <pc:docMk/>
            <pc:sldMk cId="2623755653" sldId="2147375358"/>
            <ac:spMk id="44" creationId="{647B72BA-CC79-4C22-85D3-107F86CB3013}"/>
          </ac:spMkLst>
        </pc:spChg>
        <pc:spChg chg="mod">
          <ac:chgData name="Bäck Christina" userId="fb5a0b99-6a2b-418a-b774-ff58205b6572" providerId="ADAL" clId="{DDB12D30-B28D-4040-A069-AE532DBE119C}" dt="2022-04-04T21:50:23.864" v="27" actId="1035"/>
          <ac:spMkLst>
            <pc:docMk/>
            <pc:sldMk cId="2623755653" sldId="2147375358"/>
            <ac:spMk id="45" creationId="{ACF82CDD-DFC4-494E-BEB8-9618B392A098}"/>
          </ac:spMkLst>
        </pc:spChg>
        <pc:cxnChg chg="mod">
          <ac:chgData name="Bäck Christina" userId="fb5a0b99-6a2b-418a-b774-ff58205b6572" providerId="ADAL" clId="{DDB12D30-B28D-4040-A069-AE532DBE119C}" dt="2022-04-04T21:50:23.864" v="27" actId="1035"/>
          <ac:cxnSpMkLst>
            <pc:docMk/>
            <pc:sldMk cId="2623755653" sldId="2147375358"/>
            <ac:cxnSpMk id="38" creationId="{CAF1D57C-0CBF-4836-A181-358421CE39E2}"/>
          </ac:cxnSpMkLst>
        </pc:cxnChg>
        <pc:cxnChg chg="mod">
          <ac:chgData name="Bäck Christina" userId="fb5a0b99-6a2b-418a-b774-ff58205b6572" providerId="ADAL" clId="{DDB12D30-B28D-4040-A069-AE532DBE119C}" dt="2022-04-04T21:50:23.864" v="27" actId="1035"/>
          <ac:cxnSpMkLst>
            <pc:docMk/>
            <pc:sldMk cId="2623755653" sldId="2147375358"/>
            <ac:cxnSpMk id="39" creationId="{0E2DE581-AE74-4F98-8DEE-DC1F97B3A6D1}"/>
          </ac:cxnSpMkLst>
        </pc:cxnChg>
        <pc:cxnChg chg="mod">
          <ac:chgData name="Bäck Christina" userId="fb5a0b99-6a2b-418a-b774-ff58205b6572" providerId="ADAL" clId="{DDB12D30-B28D-4040-A069-AE532DBE119C}" dt="2022-04-04T21:50:23.864" v="27" actId="1035"/>
          <ac:cxnSpMkLst>
            <pc:docMk/>
            <pc:sldMk cId="2623755653" sldId="2147375358"/>
            <ac:cxnSpMk id="40" creationId="{4C33C12F-3124-4A24-ADC4-791EBAE4A9ED}"/>
          </ac:cxnSpMkLst>
        </pc:cxnChg>
        <pc:cxnChg chg="mod">
          <ac:chgData name="Bäck Christina" userId="fb5a0b99-6a2b-418a-b774-ff58205b6572" providerId="ADAL" clId="{DDB12D30-B28D-4040-A069-AE532DBE119C}" dt="2022-04-04T21:50:23.864" v="27" actId="1035"/>
          <ac:cxnSpMkLst>
            <pc:docMk/>
            <pc:sldMk cId="2623755653" sldId="2147375358"/>
            <ac:cxnSpMk id="41" creationId="{319DEAFF-9C7C-465C-99F9-221A3C33B372}"/>
          </ac:cxnSpMkLst>
        </pc:cxnChg>
      </pc:sldChg>
      <pc:sldMasterChg chg="delSldLayout">
        <pc:chgData name="Bäck Christina" userId="fb5a0b99-6a2b-418a-b774-ff58205b6572" providerId="ADAL" clId="{DDB12D30-B28D-4040-A069-AE532DBE119C}" dt="2022-04-04T21:49:16.572" v="0" actId="47"/>
        <pc:sldMasterMkLst>
          <pc:docMk/>
          <pc:sldMasterMk cId="784401873" sldId="2147483660"/>
        </pc:sldMasterMkLst>
        <pc:sldLayoutChg chg="del">
          <pc:chgData name="Bäck Christina" userId="fb5a0b99-6a2b-418a-b774-ff58205b6572" providerId="ADAL" clId="{DDB12D30-B28D-4040-A069-AE532DBE119C}" dt="2022-04-04T21:49:16.572" v="0" actId="47"/>
          <pc:sldLayoutMkLst>
            <pc:docMk/>
            <pc:sldMasterMk cId="784401873" sldId="2147483660"/>
            <pc:sldLayoutMk cId="2920860453" sldId="2147485107"/>
          </pc:sldLayoutMkLst>
        </pc:sldLayoutChg>
        <pc:sldLayoutChg chg="del">
          <pc:chgData name="Bäck Christina" userId="fb5a0b99-6a2b-418a-b774-ff58205b6572" providerId="ADAL" clId="{DDB12D30-B28D-4040-A069-AE532DBE119C}" dt="2022-04-04T21:49:16.572" v="0" actId="47"/>
          <pc:sldLayoutMkLst>
            <pc:docMk/>
            <pc:sldMasterMk cId="784401873" sldId="2147483660"/>
            <pc:sldLayoutMk cId="3220362802" sldId="2147485188"/>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684450135154358E-2"/>
          <c:y val="3.638814016172507E-2"/>
          <c:w val="0.95091762697396498"/>
          <c:h val="0.92722371967654982"/>
        </c:manualLayout>
      </c:layout>
      <c:barChart>
        <c:barDir val="col"/>
        <c:grouping val="stacked"/>
        <c:varyColors val="0"/>
        <c:ser>
          <c:idx val="0"/>
          <c:order val="0"/>
          <c:spPr>
            <a:no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ED79-47C2-914C-30074D8248DD}"/>
              </c:ext>
            </c:extLst>
          </c:dPt>
          <c:dPt>
            <c:idx val="3"/>
            <c:invertIfNegative val="0"/>
            <c:bubble3D val="0"/>
            <c:spPr>
              <a:solidFill>
                <a:schemeClr val="tx2"/>
              </a:solidFill>
              <a:ln>
                <a:noFill/>
              </a:ln>
            </c:spPr>
            <c:extLst>
              <c:ext xmlns:c16="http://schemas.microsoft.com/office/drawing/2014/chart" uri="{C3380CC4-5D6E-409C-BE32-E72D297353CC}">
                <c16:uniqueId val="{00000001-ED79-47C2-914C-30074D8248DD}"/>
              </c:ext>
            </c:extLst>
          </c:dPt>
          <c:dPt>
            <c:idx val="12"/>
            <c:invertIfNegative val="0"/>
            <c:bubble3D val="0"/>
            <c:spPr>
              <a:solidFill>
                <a:schemeClr val="bg2"/>
              </a:solidFill>
              <a:ln>
                <a:noFill/>
              </a:ln>
            </c:spPr>
            <c:extLst>
              <c:ext xmlns:c16="http://schemas.microsoft.com/office/drawing/2014/chart" uri="{C3380CC4-5D6E-409C-BE32-E72D297353CC}">
                <c16:uniqueId val="{00000002-ED79-47C2-914C-30074D8248DD}"/>
              </c:ext>
            </c:extLst>
          </c:dPt>
          <c:dLbls>
            <c:dLbl>
              <c:idx val="0"/>
              <c:layout>
                <c:manualLayout>
                  <c:x val="0"/>
                  <c:y val="-0.15902964959568733"/>
                </c:manualLayout>
              </c:layout>
              <c:numFmt formatCode="#,##0;&quot;-&quot;#,##0" sourceLinked="0"/>
              <c:spPr>
                <a:noFill/>
                <a:ln>
                  <a:noFill/>
                </a:ln>
              </c:spPr>
              <c:txPr>
                <a:bodyPr wrap="none"/>
                <a:lstStyle/>
                <a:p>
                  <a:pPr>
                    <a:defRPr sz="1400" b="1" kern="1200">
                      <a:solidFill>
                        <a:schemeClr val="tx2"/>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D79-47C2-914C-30074D8248DD}"/>
                </c:ext>
              </c:extLst>
            </c:dLbl>
            <c:dLbl>
              <c:idx val="3"/>
              <c:layout>
                <c:manualLayout>
                  <c:x val="0"/>
                  <c:y val="-0.29290206648697215"/>
                </c:manualLayout>
              </c:layout>
              <c:numFmt formatCode="#,##0;&quot;-&quot;#,##0" sourceLinked="0"/>
              <c:spPr>
                <a:noFill/>
                <a:ln>
                  <a:noFill/>
                </a:ln>
              </c:spPr>
              <c:txPr>
                <a:bodyPr wrap="none"/>
                <a:lstStyle/>
                <a:p>
                  <a:pPr>
                    <a:defRPr sz="1400" b="1" kern="1200">
                      <a:solidFill>
                        <a:schemeClr val="tx2"/>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D79-47C2-914C-30074D8248DD}"/>
                </c:ext>
              </c:extLst>
            </c:dLbl>
            <c:dLbl>
              <c:idx val="12"/>
              <c:layout>
                <c:manualLayout>
                  <c:x val="0"/>
                  <c:y val="-0.46271338724168914"/>
                </c:manualLayout>
              </c:layout>
              <c:numFmt formatCode="#,##0;&quot;-&quot;#,##0" sourceLinked="0"/>
              <c:spPr>
                <a:noFill/>
                <a:ln>
                  <a:noFill/>
                </a:ln>
              </c:spPr>
              <c:txPr>
                <a:bodyPr wrap="none"/>
                <a:lstStyle/>
                <a:p>
                  <a:pPr>
                    <a:defRPr sz="1400" b="1" kern="1200">
                      <a:solidFill>
                        <a:schemeClr val="bg2">
                          <a:lumMod val="75000"/>
                        </a:schemeClr>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D79-47C2-914C-30074D8248DD}"/>
                </c:ext>
              </c:extLst>
            </c:dLbl>
            <c:spPr>
              <a:noFill/>
              <a:ln>
                <a:noFill/>
              </a:ln>
              <a:effectLst/>
            </c:spPr>
            <c:txPr>
              <a:bodyPr wrap="square" lIns="38100" tIns="19050" rIns="38100" bIns="19050" anchor="ctr">
                <a:spAutoFit/>
              </a:bodyPr>
              <a:lstStyle/>
              <a:p>
                <a:pPr>
                  <a:defRPr b="1">
                    <a:solidFill>
                      <a:schemeClr val="tx2"/>
                    </a:solidFill>
                  </a:defRPr>
                </a:pPr>
                <a:endParaRPr lang="fi-FI"/>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 ##0;#\ ##0</c:formatCode>
                <c:ptCount val="13"/>
                <c:pt idx="0" formatCode="#\ ##0;&quot;-&quot;#\ ##0">
                  <c:v>23</c:v>
                </c:pt>
                <c:pt idx="1">
                  <c:v>23</c:v>
                </c:pt>
                <c:pt idx="2">
                  <c:v>35.6</c:v>
                </c:pt>
                <c:pt idx="3" formatCode="#\ ##0;&quot;-&quot;#\ ##0">
                  <c:v>49</c:v>
                </c:pt>
                <c:pt idx="4">
                  <c:v>49</c:v>
                </c:pt>
                <c:pt idx="5" formatCode="General">
                  <c:v>73</c:v>
                </c:pt>
                <c:pt idx="6">
                  <c:v>49</c:v>
                </c:pt>
                <c:pt idx="7">
                  <c:v>74.7</c:v>
                </c:pt>
                <c:pt idx="8" formatCode="General">
                  <c:v>81.48</c:v>
                </c:pt>
                <c:pt idx="9" formatCode="General">
                  <c:v>81.48</c:v>
                </c:pt>
                <c:pt idx="10" formatCode="General">
                  <c:v>81.742500000000007</c:v>
                </c:pt>
                <c:pt idx="11" formatCode="General">
                  <c:v>81.492500000000007</c:v>
                </c:pt>
                <c:pt idx="12" formatCode="#\ ##0;&quot;-&quot;#\ ##0">
                  <c:v>81.992500000000007</c:v>
                </c:pt>
              </c:numCache>
            </c:numRef>
          </c:val>
          <c:extLst>
            <c:ext xmlns:c16="http://schemas.microsoft.com/office/drawing/2014/chart" uri="{C3380CC4-5D6E-409C-BE32-E72D297353CC}">
              <c16:uniqueId val="{00000003-ED79-47C2-914C-30074D8248DD}"/>
            </c:ext>
          </c:extLst>
        </c:ser>
        <c:ser>
          <c:idx val="1"/>
          <c:order val="1"/>
          <c:spPr>
            <a:solidFill>
              <a:schemeClr val="accent4"/>
            </a:solidFill>
            <a:ln>
              <a:noFill/>
            </a:ln>
          </c:spPr>
          <c:invertIfNegative val="0"/>
          <c:dPt>
            <c:idx val="1"/>
            <c:invertIfNegative val="0"/>
            <c:bubble3D val="0"/>
            <c:spPr>
              <a:solidFill>
                <a:schemeClr val="tx2"/>
              </a:solidFill>
              <a:ln>
                <a:noFill/>
              </a:ln>
            </c:spPr>
            <c:extLst>
              <c:ext xmlns:c16="http://schemas.microsoft.com/office/drawing/2014/chart" uri="{C3380CC4-5D6E-409C-BE32-E72D297353CC}">
                <c16:uniqueId val="{00000004-ED79-47C2-914C-30074D8248DD}"/>
              </c:ext>
            </c:extLst>
          </c:dPt>
          <c:dPt>
            <c:idx val="2"/>
            <c:invertIfNegative val="0"/>
            <c:bubble3D val="0"/>
            <c:spPr>
              <a:solidFill>
                <a:schemeClr val="tx2"/>
              </a:solidFill>
              <a:ln>
                <a:noFill/>
              </a:ln>
            </c:spPr>
            <c:extLst>
              <c:ext xmlns:c16="http://schemas.microsoft.com/office/drawing/2014/chart" uri="{C3380CC4-5D6E-409C-BE32-E72D297353CC}">
                <c16:uniqueId val="{00000005-ED79-47C2-914C-30074D8248DD}"/>
              </c:ext>
            </c:extLst>
          </c:dPt>
          <c:dPt>
            <c:idx val="4"/>
            <c:invertIfNegative val="0"/>
            <c:bubble3D val="0"/>
            <c:spPr>
              <a:solidFill>
                <a:schemeClr val="accent3"/>
              </a:solidFill>
              <a:ln>
                <a:noFill/>
              </a:ln>
            </c:spPr>
            <c:extLst>
              <c:ext xmlns:c16="http://schemas.microsoft.com/office/drawing/2014/chart" uri="{C3380CC4-5D6E-409C-BE32-E72D297353CC}">
                <c16:uniqueId val="{00000006-ED79-47C2-914C-30074D8248DD}"/>
              </c:ext>
            </c:extLst>
          </c:dPt>
          <c:dPt>
            <c:idx val="5"/>
            <c:invertIfNegative val="0"/>
            <c:bubble3D val="0"/>
            <c:spPr>
              <a:solidFill>
                <a:schemeClr val="accent3"/>
              </a:solidFill>
              <a:ln>
                <a:noFill/>
              </a:ln>
            </c:spPr>
            <c:extLst>
              <c:ext xmlns:c16="http://schemas.microsoft.com/office/drawing/2014/chart" uri="{C3380CC4-5D6E-409C-BE32-E72D297353CC}">
                <c16:uniqueId val="{00000007-ED79-47C2-914C-30074D8248DD}"/>
              </c:ext>
            </c:extLst>
          </c:dPt>
          <c:dPt>
            <c:idx val="6"/>
            <c:invertIfNegative val="0"/>
            <c:bubble3D val="0"/>
            <c:spPr>
              <a:solidFill>
                <a:schemeClr val="accent3"/>
              </a:solidFill>
              <a:ln>
                <a:noFill/>
              </a:ln>
            </c:spPr>
            <c:extLst>
              <c:ext xmlns:c16="http://schemas.microsoft.com/office/drawing/2014/chart" uri="{C3380CC4-5D6E-409C-BE32-E72D297353CC}">
                <c16:uniqueId val="{00000008-ED79-47C2-914C-30074D8248DD}"/>
              </c:ext>
            </c:extLst>
          </c:dPt>
          <c:dPt>
            <c:idx val="7"/>
            <c:invertIfNegative val="0"/>
            <c:bubble3D val="0"/>
            <c:spPr>
              <a:solidFill>
                <a:schemeClr val="accent2"/>
              </a:solidFill>
              <a:ln>
                <a:noFill/>
              </a:ln>
            </c:spPr>
            <c:extLst>
              <c:ext xmlns:c16="http://schemas.microsoft.com/office/drawing/2014/chart" uri="{C3380CC4-5D6E-409C-BE32-E72D297353CC}">
                <c16:uniqueId val="{00000009-ED79-47C2-914C-30074D8248DD}"/>
              </c:ext>
            </c:extLst>
          </c:dPt>
          <c:dLbls>
            <c:dLbl>
              <c:idx val="1"/>
              <c:layout>
                <c:manualLayout>
                  <c:x val="0"/>
                  <c:y val="2.6954177897574125E-3"/>
                </c:manualLayout>
              </c:layout>
              <c:numFmt formatCode="#,##0;#,##0" sourceLinked="0"/>
              <c:spPr>
                <a:noFill/>
                <a:ln>
                  <a:noFill/>
                </a:ln>
              </c:spPr>
              <c:txPr>
                <a:bodyPr wrap="none"/>
                <a:lstStyle/>
                <a:p>
                  <a:pPr>
                    <a:defRPr sz="1400" b="1" kern="1200">
                      <a:solidFill>
                        <a:schemeClr val="accent1">
                          <a:lumMod val="20000"/>
                          <a:lumOff val="80000"/>
                        </a:schemeClr>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D79-47C2-914C-30074D8248DD}"/>
                </c:ext>
              </c:extLst>
            </c:dLbl>
            <c:dLbl>
              <c:idx val="2"/>
              <c:layout>
                <c:manualLayout>
                  <c:x val="0"/>
                  <c:y val="2.6954177897574125E-3"/>
                </c:manualLayout>
              </c:layout>
              <c:numFmt formatCode="#,##0;#,##0" sourceLinked="0"/>
              <c:spPr>
                <a:noFill/>
                <a:ln>
                  <a:noFill/>
                </a:ln>
              </c:spPr>
              <c:txPr>
                <a:bodyPr wrap="none"/>
                <a:lstStyle/>
                <a:p>
                  <a:pPr>
                    <a:defRPr sz="1400" b="1" kern="1200">
                      <a:solidFill>
                        <a:schemeClr val="accent1">
                          <a:lumMod val="20000"/>
                          <a:lumOff val="80000"/>
                        </a:schemeClr>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D79-47C2-914C-30074D8248DD}"/>
                </c:ext>
              </c:extLst>
            </c:dLbl>
            <c:dLbl>
              <c:idx val="4"/>
              <c:layout>
                <c:manualLayout>
                  <c:x val="0"/>
                  <c:y val="3.1446540880503146E-3"/>
                </c:manualLayout>
              </c:layout>
              <c:numFmt formatCode="#,##0;#,##0" sourceLinked="0"/>
              <c:spPr>
                <a:noFill/>
                <a:ln>
                  <a:noFill/>
                </a:ln>
              </c:spPr>
              <c:txPr>
                <a:bodyPr wrap="none"/>
                <a:lstStyle/>
                <a:p>
                  <a:pPr>
                    <a:defRPr sz="1400" b="1" kern="1200">
                      <a:solidFill>
                        <a:schemeClr val="accent3">
                          <a:lumMod val="20000"/>
                          <a:lumOff val="80000"/>
                        </a:schemeClr>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D79-47C2-914C-30074D8248DD}"/>
                </c:ext>
              </c:extLst>
            </c:dLbl>
            <c:dLbl>
              <c:idx val="6"/>
              <c:layout>
                <c:manualLayout>
                  <c:x val="0"/>
                  <c:y val="2.6954177897574125E-3"/>
                </c:manualLayout>
              </c:layout>
              <c:numFmt formatCode="#,##0;#,##0" sourceLinked="0"/>
              <c:spPr>
                <a:noFill/>
                <a:ln>
                  <a:noFill/>
                </a:ln>
              </c:spPr>
              <c:txPr>
                <a:bodyPr wrap="none"/>
                <a:lstStyle/>
                <a:p>
                  <a:pPr>
                    <a:defRPr sz="1400" b="1" kern="1200">
                      <a:solidFill>
                        <a:schemeClr val="accent3">
                          <a:lumMod val="20000"/>
                          <a:lumOff val="80000"/>
                        </a:schemeClr>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D79-47C2-914C-30074D8248DD}"/>
                </c:ext>
              </c:extLst>
            </c:dLbl>
            <c:dLbl>
              <c:idx val="7"/>
              <c:layout>
                <c:manualLayout>
                  <c:x val="0"/>
                  <c:y val="3.1446540880503146E-3"/>
                </c:manualLayout>
              </c:layout>
              <c:numFmt formatCode="#,##0;#,##0" sourceLinked="0"/>
              <c:spPr>
                <a:noFill/>
                <a:ln>
                  <a:noFill/>
                </a:ln>
              </c:spPr>
              <c:txPr>
                <a:bodyPr wrap="none"/>
                <a:lstStyle/>
                <a:p>
                  <a:pPr>
                    <a:defRPr sz="1400" b="1" kern="1200">
                      <a:solidFill>
                        <a:schemeClr val="accent2">
                          <a:lumMod val="20000"/>
                          <a:lumOff val="80000"/>
                        </a:schemeClr>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D79-47C2-914C-30074D8248DD}"/>
                </c:ext>
              </c:extLst>
            </c:dLbl>
            <c:spPr>
              <a:noFill/>
              <a:ln>
                <a:noFill/>
              </a:ln>
              <a:effectLst/>
            </c:spPr>
            <c:txPr>
              <a:bodyPr wrap="square" lIns="38100" tIns="19050" rIns="38100" bIns="19050" anchor="ctr">
                <a:spAutoFit/>
              </a:bodyPr>
              <a:lstStyle/>
              <a:p>
                <a:pPr>
                  <a:defRPr b="1"/>
                </a:pPr>
                <a:endParaRPr lang="fi-FI"/>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 ##0;#\ ##0</c:formatCode>
                <c:ptCount val="13"/>
                <c:pt idx="1">
                  <c:v>12.600000000000001</c:v>
                </c:pt>
                <c:pt idx="2">
                  <c:v>13.399999999999999</c:v>
                </c:pt>
                <c:pt idx="4">
                  <c:v>24</c:v>
                </c:pt>
                <c:pt idx="5" formatCode="General">
                  <c:v>1.7000000000000028</c:v>
                </c:pt>
                <c:pt idx="6">
                  <c:v>25.700000000000003</c:v>
                </c:pt>
                <c:pt idx="7">
                  <c:v>6.7800000000000011</c:v>
                </c:pt>
                <c:pt idx="8" formatCode="General">
                  <c:v>0</c:v>
                </c:pt>
                <c:pt idx="9" formatCode="General">
                  <c:v>0.26250000000000284</c:v>
                </c:pt>
                <c:pt idx="10" formatCode="General">
                  <c:v>0.25</c:v>
                </c:pt>
                <c:pt idx="11" formatCode="General">
                  <c:v>0.5</c:v>
                </c:pt>
              </c:numCache>
            </c:numRef>
          </c:val>
          <c:extLst>
            <c:ext xmlns:c16="http://schemas.microsoft.com/office/drawing/2014/chart" uri="{C3380CC4-5D6E-409C-BE32-E72D297353CC}">
              <c16:uniqueId val="{0000000A-ED79-47C2-914C-30074D8248DD}"/>
            </c:ext>
          </c:extLst>
        </c:ser>
        <c:dLbls>
          <c:showLegendKey val="0"/>
          <c:showVal val="0"/>
          <c:showCatName val="0"/>
          <c:showSerName val="0"/>
          <c:showPercent val="0"/>
          <c:showBubbleSize val="0"/>
        </c:dLbls>
        <c:gapWidth val="80"/>
        <c:overlap val="100"/>
        <c:axId val="606677904"/>
        <c:axId val="1"/>
      </c:barChart>
      <c:catAx>
        <c:axId val="606677904"/>
        <c:scaling>
          <c:orientation val="minMax"/>
        </c:scaling>
        <c:delete val="0"/>
        <c:axPos val="b"/>
        <c:majorGridlines>
          <c:spPr>
            <a:ln>
              <a:noFill/>
            </a:ln>
          </c:spPr>
        </c:majorGridlines>
        <c:majorTickMark val="none"/>
        <c:minorTickMark val="none"/>
        <c:tickLblPos val="none"/>
        <c:spPr>
          <a:solidFill>
            <a:schemeClr val="bg1">
              <a:lumMod val="75000"/>
            </a:schemeClr>
          </a:solidFill>
          <a:ln w="9525" algn="ctr">
            <a:solidFill>
              <a:schemeClr val="bg1">
                <a:lumMod val="75000"/>
              </a:schemeClr>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0;&quot;-&quot;#,##0" sourceLinked="0"/>
        <c:majorTickMark val="out"/>
        <c:minorTickMark val="none"/>
        <c:tickLblPos val="nextTo"/>
        <c:spPr>
          <a:ln w="9525" algn="ctr">
            <a:solidFill>
              <a:schemeClr val="bg1">
                <a:lumMod val="75000"/>
              </a:schemeClr>
            </a:solidFill>
            <a:prstDash val="solid"/>
          </a:ln>
        </c:spPr>
        <c:txPr>
          <a:bodyPr wrap="none"/>
          <a:lstStyle/>
          <a:p>
            <a:pPr>
              <a:defRPr sz="1400" kern="1200">
                <a:solidFill>
                  <a:schemeClr val="bg1">
                    <a:lumMod val="50000"/>
                  </a:schemeClr>
                </a:solidFill>
                <a:latin typeface="+mn-lt"/>
                <a:ea typeface="+mn-ea"/>
                <a:cs typeface="+mn-cs"/>
              </a:defRPr>
            </a:pPr>
            <a:endParaRPr lang="fi-FI"/>
          </a:p>
        </c:txPr>
        <c:crossAx val="606677904"/>
        <c:crosses val="min"/>
        <c:crossBetween val="between"/>
        <c:majorUnit val="10"/>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6227127" cy="1476265"/>
          </a:xfrm>
          <a:prstGeom prst="rect">
            <a:avLst/>
          </a:prstGeom>
        </p:spPr>
        <p:txBody>
          <a:bodyPr vert="horz" lIns="181408" tIns="90704" rIns="181408" bIns="90704" rtlCol="0"/>
          <a:lstStyle>
            <a:lvl1pPr algn="l">
              <a:defRPr sz="2400"/>
            </a:lvl1pPr>
          </a:lstStyle>
          <a:p>
            <a:endParaRPr lang="en-US"/>
          </a:p>
        </p:txBody>
      </p:sp>
      <p:sp>
        <p:nvSpPr>
          <p:cNvPr id="3" name="Date Placeholder 2"/>
          <p:cNvSpPr>
            <a:spLocks noGrp="1"/>
          </p:cNvSpPr>
          <p:nvPr>
            <p:ph type="dt" sz="quarter" idx="1"/>
          </p:nvPr>
        </p:nvSpPr>
        <p:spPr>
          <a:xfrm>
            <a:off x="8138925" y="2"/>
            <a:ext cx="6227127" cy="1476265"/>
          </a:xfrm>
          <a:prstGeom prst="rect">
            <a:avLst/>
          </a:prstGeom>
        </p:spPr>
        <p:txBody>
          <a:bodyPr vert="horz" lIns="181408" tIns="90704" rIns="181408" bIns="90704" rtlCol="0"/>
          <a:lstStyle>
            <a:lvl1pPr algn="r">
              <a:defRPr sz="2400"/>
            </a:lvl1pPr>
          </a:lstStyle>
          <a:p>
            <a:fld id="{B78D5E8F-3D43-46A9-A8D5-A2EF1DA2C026}" type="datetimeFigureOut">
              <a:rPr lang="en-US" smtClean="0"/>
              <a:t>4/13/2022</a:t>
            </a:fld>
            <a:endParaRPr lang="en-US"/>
          </a:p>
        </p:txBody>
      </p:sp>
      <p:sp>
        <p:nvSpPr>
          <p:cNvPr id="4" name="Footer Placeholder 3"/>
          <p:cNvSpPr>
            <a:spLocks noGrp="1"/>
          </p:cNvSpPr>
          <p:nvPr>
            <p:ph type="ftr" sz="quarter" idx="2"/>
          </p:nvPr>
        </p:nvSpPr>
        <p:spPr>
          <a:xfrm>
            <a:off x="1" y="27925400"/>
            <a:ext cx="6227127" cy="1476261"/>
          </a:xfrm>
          <a:prstGeom prst="rect">
            <a:avLst/>
          </a:prstGeom>
        </p:spPr>
        <p:txBody>
          <a:bodyPr vert="horz" lIns="181408" tIns="90704" rIns="181408" bIns="90704" rtlCol="0" anchor="b"/>
          <a:lstStyle>
            <a:lvl1pPr algn="l">
              <a:defRPr sz="2400"/>
            </a:lvl1pPr>
          </a:lstStyle>
          <a:p>
            <a:endParaRPr lang="en-US"/>
          </a:p>
        </p:txBody>
      </p:sp>
    </p:spTree>
    <p:extLst>
      <p:ext uri="{BB962C8B-B14F-4D97-AF65-F5344CB8AC3E}">
        <p14:creationId xmlns:p14="http://schemas.microsoft.com/office/powerpoint/2010/main" val="39439468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4"/>
            <a:ext cx="6226285" cy="1475188"/>
          </a:xfrm>
          <a:prstGeom prst="rect">
            <a:avLst/>
          </a:prstGeom>
        </p:spPr>
        <p:txBody>
          <a:bodyPr vert="horz" lIns="181408" tIns="90704" rIns="181408" bIns="90704" rtlCol="0"/>
          <a:lstStyle>
            <a:lvl1pPr algn="l">
              <a:defRPr sz="2400"/>
            </a:lvl1pPr>
          </a:lstStyle>
          <a:p>
            <a:endParaRPr lang="en-US"/>
          </a:p>
        </p:txBody>
      </p:sp>
      <p:sp>
        <p:nvSpPr>
          <p:cNvPr id="3" name="Date Placeholder 2"/>
          <p:cNvSpPr>
            <a:spLocks noGrp="1"/>
          </p:cNvSpPr>
          <p:nvPr>
            <p:ph type="dt" idx="1"/>
          </p:nvPr>
        </p:nvSpPr>
        <p:spPr>
          <a:xfrm>
            <a:off x="8138741" y="4"/>
            <a:ext cx="6226285" cy="1475188"/>
          </a:xfrm>
          <a:prstGeom prst="rect">
            <a:avLst/>
          </a:prstGeom>
        </p:spPr>
        <p:txBody>
          <a:bodyPr vert="horz" lIns="181408" tIns="90704" rIns="181408" bIns="90704" rtlCol="0"/>
          <a:lstStyle>
            <a:lvl1pPr algn="r">
              <a:defRPr sz="2400"/>
            </a:lvl1pPr>
          </a:lstStyle>
          <a:p>
            <a:fld id="{1F602EA2-FEFA-486E-AAE4-7759D0C05B33}" type="datetimeFigureOut">
              <a:rPr lang="en-US" smtClean="0"/>
              <a:t>4/13/2022</a:t>
            </a:fld>
            <a:endParaRPr lang="en-US"/>
          </a:p>
        </p:txBody>
      </p:sp>
      <p:sp>
        <p:nvSpPr>
          <p:cNvPr id="4" name="Slide Image Placeholder 3"/>
          <p:cNvSpPr>
            <a:spLocks noGrp="1" noRot="1" noChangeAspect="1"/>
          </p:cNvSpPr>
          <p:nvPr>
            <p:ph type="sldImg" idx="2"/>
          </p:nvPr>
        </p:nvSpPr>
        <p:spPr>
          <a:xfrm>
            <a:off x="-1635125" y="3673475"/>
            <a:ext cx="17638713" cy="9921875"/>
          </a:xfrm>
          <a:prstGeom prst="rect">
            <a:avLst/>
          </a:prstGeom>
          <a:noFill/>
          <a:ln w="12700">
            <a:solidFill>
              <a:prstClr val="black"/>
            </a:solidFill>
          </a:ln>
        </p:spPr>
        <p:txBody>
          <a:bodyPr vert="horz" lIns="181408" tIns="90704" rIns="181408" bIns="90704" rtlCol="0" anchor="ctr"/>
          <a:lstStyle/>
          <a:p>
            <a:endParaRPr lang="en-US"/>
          </a:p>
        </p:txBody>
      </p:sp>
      <p:sp>
        <p:nvSpPr>
          <p:cNvPr id="5" name="Notes Placeholder 4"/>
          <p:cNvSpPr>
            <a:spLocks noGrp="1"/>
          </p:cNvSpPr>
          <p:nvPr>
            <p:ph type="body" sz="quarter" idx="3"/>
          </p:nvPr>
        </p:nvSpPr>
        <p:spPr>
          <a:xfrm>
            <a:off x="1436835" y="14149551"/>
            <a:ext cx="11494679" cy="11576906"/>
          </a:xfrm>
          <a:prstGeom prst="rect">
            <a:avLst/>
          </a:prstGeom>
        </p:spPr>
        <p:txBody>
          <a:bodyPr vert="horz" lIns="181408" tIns="90704" rIns="181408" bIns="9070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27926479"/>
            <a:ext cx="6226285" cy="1475184"/>
          </a:xfrm>
          <a:prstGeom prst="rect">
            <a:avLst/>
          </a:prstGeom>
        </p:spPr>
        <p:txBody>
          <a:bodyPr vert="horz" lIns="181408" tIns="90704" rIns="181408" bIns="90704" rtlCol="0" anchor="b"/>
          <a:lstStyle>
            <a:lvl1pPr algn="l">
              <a:defRPr sz="2400"/>
            </a:lvl1pPr>
          </a:lstStyle>
          <a:p>
            <a:endParaRPr lang="en-US"/>
          </a:p>
        </p:txBody>
      </p:sp>
      <p:sp>
        <p:nvSpPr>
          <p:cNvPr id="7" name="Slide Number Placeholder 6"/>
          <p:cNvSpPr>
            <a:spLocks noGrp="1"/>
          </p:cNvSpPr>
          <p:nvPr>
            <p:ph type="sldNum" sz="quarter" idx="5"/>
          </p:nvPr>
        </p:nvSpPr>
        <p:spPr>
          <a:xfrm>
            <a:off x="8138741" y="27926479"/>
            <a:ext cx="6226285" cy="1475184"/>
          </a:xfrm>
          <a:prstGeom prst="rect">
            <a:avLst/>
          </a:prstGeom>
        </p:spPr>
        <p:txBody>
          <a:bodyPr vert="horz" lIns="181408" tIns="90704" rIns="181408" bIns="90704" rtlCol="0" anchor="b"/>
          <a:lstStyle>
            <a:lvl1pPr algn="r">
              <a:defRPr sz="2400"/>
            </a:lvl1pPr>
          </a:lstStyle>
          <a:p>
            <a:fld id="{AAD458EB-A8C3-4201-9431-2D687005C314}" type="slidenum">
              <a:rPr lang="en-US" smtClean="0"/>
              <a:t>‹#›</a:t>
            </a:fld>
            <a:endParaRPr lang="en-US"/>
          </a:p>
        </p:txBody>
      </p:sp>
    </p:spTree>
    <p:extLst>
      <p:ext uri="{BB962C8B-B14F-4D97-AF65-F5344CB8AC3E}">
        <p14:creationId xmlns:p14="http://schemas.microsoft.com/office/powerpoint/2010/main" val="14127664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AD458EB-A8C3-4201-9431-2D687005C314}" type="slidenum">
              <a:rPr lang="en-US" smtClean="0"/>
              <a:t>2</a:t>
            </a:fld>
            <a:endParaRPr lang="en-US"/>
          </a:p>
        </p:txBody>
      </p:sp>
    </p:spTree>
    <p:extLst>
      <p:ext uri="{BB962C8B-B14F-4D97-AF65-F5344CB8AC3E}">
        <p14:creationId xmlns:p14="http://schemas.microsoft.com/office/powerpoint/2010/main" val="21754170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AAD458EB-A8C3-4201-9431-2D687005C314}" type="slidenum">
              <a:rPr lang="en-US" smtClean="0"/>
              <a:t>5</a:t>
            </a:fld>
            <a:endParaRPr lang="en-US"/>
          </a:p>
        </p:txBody>
      </p:sp>
    </p:spTree>
    <p:extLst>
      <p:ext uri="{BB962C8B-B14F-4D97-AF65-F5344CB8AC3E}">
        <p14:creationId xmlns:p14="http://schemas.microsoft.com/office/powerpoint/2010/main" val="16767252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AAD458EB-A8C3-4201-9431-2D687005C314}" type="slidenum">
              <a:rPr lang="en-US" smtClean="0"/>
              <a:t>6</a:t>
            </a:fld>
            <a:endParaRPr lang="en-US"/>
          </a:p>
        </p:txBody>
      </p:sp>
    </p:spTree>
    <p:extLst>
      <p:ext uri="{BB962C8B-B14F-4D97-AF65-F5344CB8AC3E}">
        <p14:creationId xmlns:p14="http://schemas.microsoft.com/office/powerpoint/2010/main" val="3894594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AAD458EB-A8C3-4201-9431-2D687005C314}" type="slidenum">
              <a:rPr lang="en-US" smtClean="0"/>
              <a:t>7</a:t>
            </a:fld>
            <a:endParaRPr lang="en-US"/>
          </a:p>
        </p:txBody>
      </p:sp>
    </p:spTree>
    <p:extLst>
      <p:ext uri="{BB962C8B-B14F-4D97-AF65-F5344CB8AC3E}">
        <p14:creationId xmlns:p14="http://schemas.microsoft.com/office/powerpoint/2010/main" val="4595053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Segoe UI" panose="020B0502040204020203" pitchFamily="34" charset="0"/>
              </a:rPr>
              <a:t>We compensate the remaining carbon emissions caused by direct (like emissions from driving and facilities) and indirect (like manufacturing of spare parts) maintenance activities.</a:t>
            </a:r>
            <a:endParaRPr lang="en-US" sz="1800">
              <a:effectLst/>
              <a:latin typeface="Arial" panose="020B0604020202020204" pitchFamily="34" charset="0"/>
            </a:endParaRPr>
          </a:p>
          <a:p>
            <a:endParaRPr lang="fi-FI"/>
          </a:p>
        </p:txBody>
      </p:sp>
      <p:sp>
        <p:nvSpPr>
          <p:cNvPr id="4" name="Slide Number Placeholder 3"/>
          <p:cNvSpPr>
            <a:spLocks noGrp="1"/>
          </p:cNvSpPr>
          <p:nvPr>
            <p:ph type="sldNum" sz="quarter" idx="5"/>
          </p:nvPr>
        </p:nvSpPr>
        <p:spPr/>
        <p:txBody>
          <a:bodyPr/>
          <a:lstStyle/>
          <a:p>
            <a:fld id="{AAD458EB-A8C3-4201-9431-2D687005C314}" type="slidenum">
              <a:rPr lang="en-US" smtClean="0"/>
              <a:t>9</a:t>
            </a:fld>
            <a:endParaRPr lang="en-US"/>
          </a:p>
        </p:txBody>
      </p:sp>
    </p:spTree>
    <p:extLst>
      <p:ext uri="{BB962C8B-B14F-4D97-AF65-F5344CB8AC3E}">
        <p14:creationId xmlns:p14="http://schemas.microsoft.com/office/powerpoint/2010/main" val="39866465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860425"/>
            <a:ext cx="5473700" cy="3079750"/>
          </a:xfrm>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F4A21CF8-ADC7-4604-AC68-F445DB44B31D}" type="slidenum">
              <a:rPr lang="en-GB" smtClean="0"/>
              <a:pPr/>
              <a:t>10</a:t>
            </a:fld>
            <a:endParaRPr lang="en-GB"/>
          </a:p>
        </p:txBody>
      </p:sp>
    </p:spTree>
    <p:extLst>
      <p:ext uri="{BB962C8B-B14F-4D97-AF65-F5344CB8AC3E}">
        <p14:creationId xmlns:p14="http://schemas.microsoft.com/office/powerpoint/2010/main" val="11798561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We offer sustainable solutions and services throughout the building life-cycle: </a:t>
            </a:r>
            <a:r>
              <a:rPr lang="en-US" sz="1200" b="0" kern="1200" dirty="0">
                <a:solidFill>
                  <a:schemeClr val="tx1"/>
                </a:solidFill>
                <a:effectLst/>
                <a:latin typeface="+mn-lt"/>
                <a:ea typeface="+mn-ea"/>
                <a:cs typeface="+mn-cs"/>
              </a:rPr>
              <a:t>From early building design, through choice of materials and development of solutions, with high energy efficiency, carbon optimized maintenance, long life-time, until modernization and reusage and recycling of materials.</a:t>
            </a:r>
            <a:r>
              <a:rPr lang="en-US" dirty="0"/>
              <a:t>  </a:t>
            </a:r>
            <a:r>
              <a:rPr lang="en-US" b="1" dirty="0"/>
              <a:t>Our offering is safe, healthy, energy efficient and circular. </a:t>
            </a:r>
            <a:r>
              <a:rPr lang="en-US" dirty="0"/>
              <a:t>(More about circularity below.)</a:t>
            </a:r>
            <a:endParaRPr lang="en-US" sz="1200" b="0" kern="1200" dirty="0">
              <a:solidFill>
                <a:schemeClr val="tx1"/>
              </a:solidFill>
              <a:effectLst/>
              <a:latin typeface="+mn-lt"/>
              <a:ea typeface="+mn-ea"/>
              <a:cs typeface="+mn-cs"/>
            </a:endParaRPr>
          </a:p>
          <a:p>
            <a:endParaRPr lang="en-GB" dirty="0"/>
          </a:p>
          <a:p>
            <a:r>
              <a:rPr lang="en-GB" b="1" dirty="0"/>
              <a:t>SUSTAINABLE BUILDING DESIGN</a:t>
            </a:r>
            <a:endParaRPr lang="en-US" b="1" dirty="0">
              <a:cs typeface="Calibri"/>
            </a:endParaRPr>
          </a:p>
          <a:p>
            <a:pPr marL="171450" indent="-171450">
              <a:spcBef>
                <a:spcPts val="600"/>
              </a:spcBef>
              <a:buFont typeface="Arial"/>
              <a:buChar char="•"/>
            </a:pPr>
            <a:r>
              <a:rPr lang="en-US" dirty="0"/>
              <a:t>Designing future-proof, adaptable, inclusive and</a:t>
            </a:r>
            <a:br>
              <a:rPr lang="en-US" dirty="0">
                <a:cs typeface="+mn-lt"/>
              </a:rPr>
            </a:br>
            <a:r>
              <a:rPr lang="en-US" dirty="0"/>
              <a:t>accessible buildings with the support of KONE People Flow planning and consulting. </a:t>
            </a:r>
          </a:p>
          <a:p>
            <a:pPr marL="171450" indent="-171450">
              <a:spcBef>
                <a:spcPts val="200"/>
              </a:spcBef>
              <a:buFont typeface="Arial"/>
              <a:buChar char="•"/>
            </a:pPr>
            <a:r>
              <a:rPr lang="en-US" dirty="0"/>
              <a:t>Our smart </a:t>
            </a:r>
            <a:r>
              <a:rPr lang="en-GB" dirty="0"/>
              <a:t>digital solutions and embedded connectivity enable future adaptability and endless possibilities for personalised add-on services and efficiency in building management</a:t>
            </a:r>
            <a:endParaRPr lang="en-US" dirty="0"/>
          </a:p>
          <a:p>
            <a:pPr marL="171450" indent="-171450">
              <a:spcBef>
                <a:spcPts val="200"/>
              </a:spcBef>
              <a:buFont typeface="Arial"/>
              <a:buChar char="•"/>
            </a:pPr>
            <a:r>
              <a:rPr lang="en-GB" dirty="0"/>
              <a:t>Support in green building certification (e.g. </a:t>
            </a:r>
            <a:r>
              <a:rPr lang="en-US" dirty="0"/>
              <a:t>BREEAM, LEED, WELL)</a:t>
            </a:r>
          </a:p>
          <a:p>
            <a:pPr marL="171450" indent="-171450">
              <a:spcBef>
                <a:spcPts val="200"/>
              </a:spcBef>
              <a:buFont typeface="Arial"/>
              <a:buChar char="•"/>
            </a:pPr>
            <a:r>
              <a:rPr lang="en-US" dirty="0"/>
              <a:t>Building product certifications (e.g. SGBC, BVB)</a:t>
            </a:r>
          </a:p>
          <a:p>
            <a:pPr marL="171450" indent="-171450">
              <a:spcBef>
                <a:spcPts val="200"/>
              </a:spcBef>
              <a:buFont typeface="Arial"/>
              <a:buChar char="•"/>
            </a:pPr>
            <a:r>
              <a:rPr lang="en-GB" dirty="0"/>
              <a:t>Third party-verified Environmental Product Declarations (EPDs)</a:t>
            </a:r>
            <a:endParaRPr lang="en-US" dirty="0"/>
          </a:p>
          <a:p>
            <a:pPr>
              <a:spcBef>
                <a:spcPts val="200"/>
              </a:spcBef>
            </a:pPr>
            <a:endParaRPr lang="en-GB" b="1" dirty="0">
              <a:cs typeface="Calibri"/>
            </a:endParaRPr>
          </a:p>
          <a:p>
            <a:pPr>
              <a:spcBef>
                <a:spcPts val="200"/>
              </a:spcBef>
              <a:buFont typeface="Arial"/>
            </a:pPr>
            <a:r>
              <a:rPr lang="en-GB" b="1" dirty="0"/>
              <a:t>SAFE &amp; HEALTHY MATERIALS AND SOLUTIONS</a:t>
            </a:r>
            <a:endParaRPr lang="en-US" b="1" dirty="0">
              <a:cs typeface="Calibri"/>
            </a:endParaRPr>
          </a:p>
          <a:p>
            <a:pPr marL="171450" indent="-171450">
              <a:spcBef>
                <a:spcPts val="600"/>
              </a:spcBef>
              <a:buFont typeface="Arial"/>
              <a:buChar char="•"/>
            </a:pPr>
            <a:r>
              <a:rPr lang="en-US" dirty="0"/>
              <a:t>Efficient use of durable and sustainably sourced materials</a:t>
            </a:r>
            <a:endParaRPr lang="en-US" dirty="0">
              <a:cs typeface="Calibri"/>
            </a:endParaRPr>
          </a:p>
          <a:p>
            <a:pPr marL="171450" indent="-171450">
              <a:spcBef>
                <a:spcPts val="200"/>
              </a:spcBef>
              <a:buFont typeface="Arial"/>
              <a:buChar char="•"/>
            </a:pPr>
            <a:r>
              <a:rPr lang="en-US" dirty="0"/>
              <a:t>Non-toxic materials and h</a:t>
            </a:r>
            <a:r>
              <a:rPr lang="fi-FI" dirty="0"/>
              <a:t>ealth-promoting solutions like </a:t>
            </a:r>
            <a:r>
              <a:rPr lang="en-US" dirty="0"/>
              <a:t>antimicrobial surfaces, handrail sanitizer, air purifier and touchless solutions enable safer, more hygienic people flow</a:t>
            </a:r>
          </a:p>
          <a:p>
            <a:pPr marL="171450" indent="-171450">
              <a:spcBef>
                <a:spcPts val="200"/>
              </a:spcBef>
              <a:buFont typeface="Arial"/>
              <a:buChar char="•"/>
            </a:pPr>
            <a:r>
              <a:rPr lang="en-US" dirty="0"/>
              <a:t>Making buildings accessible to all users through digital solutions and the right choice of equipment </a:t>
            </a:r>
            <a:endParaRPr lang="en-US" dirty="0">
              <a:cs typeface="Calibri"/>
            </a:endParaRPr>
          </a:p>
          <a:p>
            <a:pPr marL="171450" indent="-171450">
              <a:spcBef>
                <a:spcPts val="200"/>
              </a:spcBef>
              <a:buFont typeface="Arial"/>
              <a:buChar char="•"/>
            </a:pPr>
            <a:r>
              <a:rPr lang="en-GB" dirty="0"/>
              <a:t>Health Product Declarations (HPDs) for our products</a:t>
            </a:r>
            <a:endParaRPr lang="en-GB" dirty="0">
              <a:cs typeface="Calibri"/>
            </a:endParaRPr>
          </a:p>
          <a:p>
            <a:pPr marL="171450" indent="-171450">
              <a:spcBef>
                <a:spcPts val="200"/>
              </a:spcBef>
              <a:buFont typeface="Arial"/>
              <a:buChar char="•"/>
            </a:pPr>
            <a:endParaRPr lang="en-GB" dirty="0">
              <a:cs typeface="Calibri"/>
            </a:endParaRPr>
          </a:p>
          <a:p>
            <a:pPr>
              <a:spcBef>
                <a:spcPts val="200"/>
              </a:spcBef>
            </a:pPr>
            <a:r>
              <a:rPr lang="en-GB" b="1" dirty="0"/>
              <a:t>BEST-IN-CLASS ENERGY EFFICIENCY</a:t>
            </a:r>
            <a:endParaRPr lang="en-US" b="1" dirty="0">
              <a:cs typeface="Calibri"/>
            </a:endParaRPr>
          </a:p>
          <a:p>
            <a:pPr marL="171450" indent="-171450">
              <a:spcBef>
                <a:spcPts val="600"/>
              </a:spcBef>
              <a:buFont typeface="Arial"/>
              <a:buChar char="•"/>
            </a:pPr>
            <a:r>
              <a:rPr lang="en-GB" dirty="0"/>
              <a:t>Widest product range with A-class energy performance according to ISO 25745</a:t>
            </a:r>
            <a:endParaRPr lang="en-US" dirty="0"/>
          </a:p>
          <a:p>
            <a:pPr marL="171450" indent="-171450">
              <a:spcBef>
                <a:spcPts val="600"/>
              </a:spcBef>
              <a:buFont typeface="Arial"/>
              <a:buChar char="•"/>
            </a:pPr>
            <a:r>
              <a:rPr lang="en-US" dirty="0"/>
              <a:t>Energy-saving solutions: energy-efficient motors,  regenerative drive,</a:t>
            </a:r>
            <a:br>
              <a:rPr lang="en-US" dirty="0">
                <a:cs typeface="+mn-lt"/>
              </a:rPr>
            </a:br>
            <a:r>
              <a:rPr lang="en-US" dirty="0"/>
              <a:t>long-lasting LED lighting with dimming, </a:t>
            </a:r>
            <a:br>
              <a:rPr lang="en-US" dirty="0">
                <a:cs typeface="+mn-lt"/>
              </a:rPr>
            </a:br>
            <a:r>
              <a:rPr lang="en-US" dirty="0"/>
              <a:t>advanced standby solutions and KONE UltraRope®</a:t>
            </a:r>
          </a:p>
          <a:p>
            <a:pPr marL="171450" indent="-171450">
              <a:spcBef>
                <a:spcPts val="200"/>
              </a:spcBef>
              <a:buFont typeface="Arial"/>
              <a:buChar char="•"/>
            </a:pPr>
            <a:r>
              <a:rPr lang="en-GB" dirty="0"/>
              <a:t>Energy and carbon-emission </a:t>
            </a:r>
            <a:r>
              <a:rPr lang="en-GB" dirty="0" err="1"/>
              <a:t>modeling</a:t>
            </a:r>
            <a:endParaRPr lang="en-GB" dirty="0">
              <a:cs typeface="Calibri"/>
            </a:endParaRPr>
          </a:p>
          <a:p>
            <a:pPr marL="171450" indent="-171450">
              <a:spcBef>
                <a:spcPts val="200"/>
              </a:spcBef>
              <a:buFont typeface="Arial"/>
              <a:buChar char="•"/>
            </a:pPr>
            <a:endParaRPr lang="en-GB" dirty="0">
              <a:cs typeface="Calibri"/>
            </a:endParaRPr>
          </a:p>
          <a:p>
            <a:pPr>
              <a:spcBef>
                <a:spcPts val="200"/>
              </a:spcBef>
            </a:pPr>
            <a:r>
              <a:rPr lang="en-GB" b="1" dirty="0"/>
              <a:t>CARBON-OPTIMIZED MAINTENANCE</a:t>
            </a:r>
            <a:endParaRPr lang="en-US" b="1" dirty="0">
              <a:cs typeface="Calibri"/>
            </a:endParaRPr>
          </a:p>
          <a:p>
            <a:pPr marL="171450" indent="-171450">
              <a:spcBef>
                <a:spcPts val="600"/>
              </a:spcBef>
              <a:buFont typeface="Arial"/>
              <a:buChar char="•"/>
            </a:pPr>
            <a:r>
              <a:rPr lang="en-GB" dirty="0"/>
              <a:t>Moving towards low-emission car fleet</a:t>
            </a:r>
            <a:endParaRPr lang="en-US" dirty="0"/>
          </a:p>
          <a:p>
            <a:pPr marL="171450" indent="-171450">
              <a:spcBef>
                <a:spcPts val="200"/>
              </a:spcBef>
              <a:buFont typeface="Arial"/>
              <a:buChar char="•"/>
            </a:pPr>
            <a:r>
              <a:rPr lang="en-US" dirty="0"/>
              <a:t>Reducing unnecessary vehicle use with optimized route planning and by aiming for high first fix rates</a:t>
            </a:r>
            <a:endParaRPr lang="en-US" dirty="0">
              <a:cs typeface="Calibri"/>
            </a:endParaRPr>
          </a:p>
          <a:p>
            <a:pPr marL="171450" indent="-171450">
              <a:spcBef>
                <a:spcPts val="200"/>
              </a:spcBef>
              <a:buFont typeface="Arial"/>
              <a:buChar char="•"/>
            </a:pPr>
            <a:r>
              <a:rPr lang="en-US" dirty="0"/>
              <a:t>Optimized spare part inventories and -logistics</a:t>
            </a:r>
            <a:endParaRPr lang="en-US" dirty="0">
              <a:cs typeface="Calibri"/>
            </a:endParaRPr>
          </a:p>
          <a:p>
            <a:pPr marL="171450" indent="-171450">
              <a:spcBef>
                <a:spcPts val="200"/>
              </a:spcBef>
              <a:buFont typeface="Arial"/>
              <a:buChar char="•"/>
            </a:pPr>
            <a:r>
              <a:rPr lang="en-US" dirty="0"/>
              <a:t>Extending</a:t>
            </a:r>
            <a:r>
              <a:rPr lang="en-GB" dirty="0"/>
              <a:t> equipment lifetime and reducing unnecessary vehicle use through fewer unplanned visits with remote monitoring via KONE 24/7 Connected Services </a:t>
            </a:r>
            <a:endParaRPr lang="en-US" dirty="0"/>
          </a:p>
          <a:p>
            <a:pPr marL="171450" indent="-171450">
              <a:spcBef>
                <a:spcPts val="200"/>
              </a:spcBef>
              <a:buFont typeface="Arial"/>
              <a:buChar char="•"/>
            </a:pPr>
            <a:r>
              <a:rPr lang="en-GB" dirty="0"/>
              <a:t>Industry-first carbon neutral maintenance </a:t>
            </a:r>
            <a:br>
              <a:rPr lang="en-GB" dirty="0">
                <a:cs typeface="+mn-lt"/>
              </a:rPr>
            </a:br>
            <a:r>
              <a:rPr lang="en-GB" dirty="0"/>
              <a:t>service – KONE Care DX</a:t>
            </a:r>
            <a:endParaRPr lang="en-GB" dirty="0">
              <a:cs typeface="Calibri"/>
            </a:endParaRPr>
          </a:p>
          <a:p>
            <a:pPr>
              <a:spcBef>
                <a:spcPts val="200"/>
              </a:spcBef>
            </a:pPr>
            <a:endParaRPr lang="en-GB" dirty="0"/>
          </a:p>
          <a:p>
            <a:pPr>
              <a:spcBef>
                <a:spcPts val="200"/>
              </a:spcBef>
            </a:pPr>
            <a:r>
              <a:rPr lang="en-GB" b="1" dirty="0"/>
              <a:t>IMPROVED ENERGY EFFICIENCY THROUGH MODERNIZATION</a:t>
            </a:r>
            <a:endParaRPr lang="en-US" b="1" dirty="0">
              <a:cs typeface="Calibri"/>
            </a:endParaRPr>
          </a:p>
          <a:p>
            <a:pPr marL="171450" indent="-171450">
              <a:spcBef>
                <a:spcPts val="600"/>
              </a:spcBef>
              <a:buFont typeface="Arial"/>
              <a:buChar char="•"/>
            </a:pPr>
            <a:r>
              <a:rPr lang="en-GB" dirty="0"/>
              <a:t>Durable materials enable long equipment lifetime</a:t>
            </a:r>
            <a:endParaRPr lang="en-GB" dirty="0">
              <a:cs typeface="Calibri"/>
            </a:endParaRPr>
          </a:p>
          <a:p>
            <a:pPr marL="171450" indent="-171450">
              <a:spcBef>
                <a:spcPts val="200"/>
              </a:spcBef>
              <a:buFont typeface="Arial"/>
              <a:buChar char="•"/>
            </a:pPr>
            <a:r>
              <a:rPr lang="en-GB" dirty="0"/>
              <a:t>Modernization reduces energy consumption and improves accessibility and safety</a:t>
            </a:r>
            <a:endParaRPr lang="en-GB" dirty="0">
              <a:cs typeface="Calibri"/>
            </a:endParaRPr>
          </a:p>
          <a:p>
            <a:pPr marL="171450" indent="-171450">
              <a:spcBef>
                <a:spcPts val="200"/>
              </a:spcBef>
              <a:buFont typeface="Arial"/>
              <a:buChar char="•"/>
            </a:pPr>
            <a:endParaRPr lang="en-GB" dirty="0">
              <a:cs typeface="Calibri"/>
            </a:endParaRPr>
          </a:p>
          <a:p>
            <a:pPr>
              <a:spcBef>
                <a:spcPts val="200"/>
              </a:spcBef>
            </a:pPr>
            <a:r>
              <a:rPr lang="en-GB" b="1" dirty="0"/>
              <a:t>RECYCLABLE RESOURCES</a:t>
            </a:r>
            <a:endParaRPr lang="en-US" b="1" dirty="0">
              <a:cs typeface="Calibri"/>
            </a:endParaRPr>
          </a:p>
          <a:p>
            <a:pPr marL="171450" indent="-171450">
              <a:spcBef>
                <a:spcPts val="600"/>
              </a:spcBef>
              <a:buFont typeface="Arial"/>
              <a:buChar char="•"/>
            </a:pPr>
            <a:r>
              <a:rPr lang="en-GB" dirty="0"/>
              <a:t>Partial modernization offers the possibility to reuse some parts</a:t>
            </a:r>
            <a:endParaRPr lang="en-US" dirty="0"/>
          </a:p>
          <a:p>
            <a:pPr marL="171450" indent="-171450">
              <a:spcBef>
                <a:spcPts val="200"/>
              </a:spcBef>
              <a:buFont typeface="Arial"/>
              <a:buChar char="•"/>
            </a:pPr>
            <a:r>
              <a:rPr lang="en-GB" dirty="0"/>
              <a:t>Developing processes for recycling materials and </a:t>
            </a:r>
            <a:r>
              <a:rPr lang="en-GB" dirty="0" err="1"/>
              <a:t>parts,as</a:t>
            </a:r>
            <a:r>
              <a:rPr lang="en-GB" dirty="0"/>
              <a:t> well as for increasing the use of recycled materials and recyclable packaging</a:t>
            </a:r>
            <a:endParaRPr lang="en-US" dirty="0"/>
          </a:p>
          <a:p>
            <a:pPr marL="171450" indent="-171450">
              <a:spcBef>
                <a:spcPts val="200"/>
              </a:spcBef>
              <a:buFont typeface="Arial"/>
              <a:buChar char="•"/>
            </a:pPr>
            <a:r>
              <a:rPr lang="en-GB" dirty="0"/>
              <a:t>90% of the metals used in KONE’s solutions can be recycled</a:t>
            </a:r>
            <a:endParaRPr lang="en-US" dirty="0"/>
          </a:p>
          <a:p>
            <a:pPr marL="171450" indent="-171450">
              <a:spcBef>
                <a:spcPts val="200"/>
              </a:spcBef>
              <a:buFont typeface="Arial"/>
              <a:buChar char="•"/>
            </a:pPr>
            <a:r>
              <a:rPr lang="en-GB" dirty="0"/>
              <a:t>94% of waste is currently recycled in own operations (2020)</a:t>
            </a:r>
            <a:endParaRPr lang="en-GB" dirty="0">
              <a:cs typeface="Calibri"/>
            </a:endParaRPr>
          </a:p>
          <a:p>
            <a:endParaRPr lang="en-US" b="1" dirty="0"/>
          </a:p>
          <a:p>
            <a:r>
              <a:rPr lang="en-US" dirty="0">
                <a:cs typeface="Calibri"/>
              </a:rPr>
              <a:t>------------------------------------------------------</a:t>
            </a:r>
            <a:endParaRPr lang="en-US" sz="1200" b="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000" b="1" kern="1200" dirty="0">
                <a:solidFill>
                  <a:schemeClr val="tx1"/>
                </a:solidFill>
                <a:effectLst/>
                <a:latin typeface="+mn-lt"/>
                <a:ea typeface="+mn-ea"/>
                <a:cs typeface="+mn-cs"/>
              </a:rPr>
              <a:t>What is circular economy (circularity)? </a:t>
            </a:r>
          </a:p>
          <a:p>
            <a:r>
              <a:rPr lang="fi-FI" sz="1200" b="0" i="0" u="none" strike="noStrike" baseline="0" dirty="0">
                <a:solidFill>
                  <a:srgbClr val="000000"/>
                </a:solidFill>
                <a:latin typeface="Arial" panose="020B0604020202020204" pitchFamily="34" charset="0"/>
              </a:rPr>
              <a:t>- </a:t>
            </a:r>
            <a:r>
              <a:rPr lang="en-US" sz="1200" b="0" i="0" u="none" strike="noStrike" baseline="0" dirty="0">
                <a:solidFill>
                  <a:srgbClr val="3A4245"/>
                </a:solidFill>
                <a:latin typeface="Arial" panose="020B0604020202020204" pitchFamily="34" charset="0"/>
              </a:rPr>
              <a:t>Designing products for multiple use, for easy repair and maintenance.</a:t>
            </a:r>
          </a:p>
          <a:p>
            <a:r>
              <a:rPr lang="en-US" sz="1200" b="0" i="0" u="none" strike="noStrike" baseline="0" dirty="0">
                <a:solidFill>
                  <a:srgbClr val="0070B8"/>
                </a:solidFill>
                <a:latin typeface="Wingdings" panose="05000000000000000000" pitchFamily="2" charset="2"/>
              </a:rPr>
              <a:t>- </a:t>
            </a:r>
            <a:r>
              <a:rPr lang="en-US" sz="1200" b="0" i="0" u="none" strike="noStrike" baseline="0" dirty="0">
                <a:solidFill>
                  <a:srgbClr val="3A4245"/>
                </a:solidFill>
                <a:latin typeface="Arial" panose="020B0604020202020204" pitchFamily="34" charset="0"/>
              </a:rPr>
              <a:t>Utilizing products for as long as possible and for the maximum value.</a:t>
            </a:r>
          </a:p>
          <a:p>
            <a:r>
              <a:rPr lang="en-US" sz="1200" b="0" i="0" u="none" strike="noStrike" baseline="0" dirty="0">
                <a:solidFill>
                  <a:srgbClr val="0070B8"/>
                </a:solidFill>
                <a:latin typeface="Wingdings" panose="05000000000000000000" pitchFamily="2" charset="2"/>
              </a:rPr>
              <a:t>- </a:t>
            </a:r>
            <a:r>
              <a:rPr lang="en-US" sz="1200" b="0" i="0" u="none" strike="noStrike" baseline="0" dirty="0">
                <a:solidFill>
                  <a:srgbClr val="3A4245"/>
                </a:solidFill>
                <a:latin typeface="Arial" panose="020B0604020202020204" pitchFamily="34" charset="0"/>
              </a:rPr>
              <a:t>Using non-toxic, renewable, recycled and recyclable materials.</a:t>
            </a:r>
          </a:p>
          <a:p>
            <a:r>
              <a:rPr lang="en-US" sz="1200" b="0" i="0" u="none" strike="noStrike" baseline="0" dirty="0">
                <a:solidFill>
                  <a:srgbClr val="0070B8"/>
                </a:solidFill>
                <a:latin typeface="Wingdings" panose="05000000000000000000" pitchFamily="2" charset="2"/>
              </a:rPr>
              <a:t>- </a:t>
            </a:r>
            <a:r>
              <a:rPr lang="en-US" sz="1200" b="0" i="0" u="none" strike="noStrike" baseline="0" dirty="0">
                <a:solidFill>
                  <a:srgbClr val="3A4245"/>
                </a:solidFill>
                <a:latin typeface="Arial" panose="020B0604020202020204" pitchFamily="34" charset="0"/>
              </a:rPr>
              <a:t>Reducing the usage of finite resources and eliminating waste.</a:t>
            </a:r>
          </a:p>
          <a:p>
            <a:r>
              <a:rPr lang="en-US" sz="1200" b="0" i="0" u="none" strike="noStrike" baseline="0" dirty="0">
                <a:solidFill>
                  <a:srgbClr val="0070B8"/>
                </a:solidFill>
                <a:latin typeface="Wingdings" panose="05000000000000000000" pitchFamily="2" charset="2"/>
              </a:rPr>
              <a:t>- </a:t>
            </a:r>
            <a:r>
              <a:rPr lang="en-US" sz="1200" b="0" i="0" u="none" strike="noStrike" baseline="0" dirty="0">
                <a:solidFill>
                  <a:srgbClr val="3A4245"/>
                </a:solidFill>
                <a:latin typeface="Arial" panose="020B0604020202020204" pitchFamily="34" charset="0"/>
              </a:rPr>
              <a:t>Developing new business models around sharing and reusing products</a:t>
            </a:r>
          </a:p>
          <a:p>
            <a:r>
              <a:rPr lang="en-US" sz="1200" b="0" i="0" u="none" strike="noStrike" baseline="0" dirty="0">
                <a:solidFill>
                  <a:srgbClr val="0070B8"/>
                </a:solidFill>
                <a:latin typeface="Wingdings" panose="05000000000000000000" pitchFamily="2" charset="2"/>
              </a:rPr>
              <a:t>-&gt; </a:t>
            </a:r>
            <a:r>
              <a:rPr lang="en-US" sz="1200" b="0" i="0" u="none" strike="noStrike" baseline="0" dirty="0">
                <a:solidFill>
                  <a:srgbClr val="3A4245"/>
                </a:solidFill>
                <a:latin typeface="Arial" panose="020B0604020202020204" pitchFamily="34" charset="0"/>
              </a:rPr>
              <a:t>KONE’s </a:t>
            </a:r>
            <a:r>
              <a:rPr lang="en-US" sz="1200" b="1" i="0" u="none" strike="noStrike" baseline="0" dirty="0">
                <a:solidFill>
                  <a:srgbClr val="3A4245"/>
                </a:solidFill>
                <a:latin typeface="Arial" panose="020B0604020202020204" pitchFamily="34" charset="0"/>
              </a:rPr>
              <a:t>operations, products and services supports the circular economy. </a:t>
            </a:r>
            <a:endParaRPr lang="en-US" sz="1200" b="0" i="0" u="none" strike="noStrike" baseline="0" dirty="0">
              <a:solidFill>
                <a:srgbClr val="3A4245"/>
              </a:solidFill>
              <a:latin typeface="Arial" panose="020B0604020202020204" pitchFamily="34" charset="0"/>
            </a:endParaRPr>
          </a:p>
          <a:p>
            <a:endParaRPr lang="en-US" sz="1200" b="1"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______________________________________________________________________________________</a:t>
            </a:r>
          </a:p>
          <a:p>
            <a:r>
              <a:rPr lang="en-US" sz="1200" b="0" kern="1200" dirty="0">
                <a:solidFill>
                  <a:schemeClr val="tx1"/>
                </a:solidFill>
                <a:effectLst/>
                <a:latin typeface="+mn-lt"/>
                <a:ea typeface="+mn-ea"/>
                <a:cs typeface="+mn-cs"/>
              </a:rPr>
              <a:t>Additional information as background on circularity</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How KONE contributes to circular and sustainable cities: </a:t>
            </a:r>
          </a:p>
          <a:p>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Cities consume over 75% of natural resources, produce over 50% of global waste, and emit between 60-80% of greenhouse gases. The </a:t>
            </a:r>
            <a:r>
              <a:rPr lang="en-US" sz="1200" b="1" kern="1200" dirty="0">
                <a:solidFill>
                  <a:schemeClr val="tx1"/>
                </a:solidFill>
                <a:effectLst/>
                <a:latin typeface="+mn-lt"/>
                <a:ea typeface="+mn-ea"/>
                <a:cs typeface="+mn-cs"/>
              </a:rPr>
              <a:t>circular economy </a:t>
            </a:r>
            <a:r>
              <a:rPr lang="en-US" sz="1200" kern="1200" dirty="0">
                <a:solidFill>
                  <a:schemeClr val="tx1"/>
                </a:solidFill>
                <a:effectLst/>
                <a:latin typeface="+mn-lt"/>
                <a:ea typeface="+mn-ea"/>
                <a:cs typeface="+mn-cs"/>
              </a:rPr>
              <a:t>aims at combatting the excessive use of resources and the harmful environmental impacts that go with it. It’s about reducing the amount of resources we use in the first place, and once we do take resources into use, we should aim to utilize them for as long as possible for the maximum value. This can be done, for example, by creating long-lasting products, maintaining and refurbishing them and also, by developing new business models around sharing and reusing, for example. In the circular economy, the take-make-dispose way of consuming and producing is transformed into a closed loop of resources where nothing goes to waste. </a:t>
            </a:r>
          </a:p>
          <a:p>
            <a:r>
              <a:rPr lang="en-US"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ircularity already in the KONE business model itself:</a:t>
            </a:r>
            <a:endParaRPr lang="en-US" b="0" dirty="0"/>
          </a:p>
          <a:p>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KONE’s </a:t>
            </a:r>
            <a:r>
              <a:rPr lang="en-US" sz="1200" b="1" kern="1200" dirty="0">
                <a:solidFill>
                  <a:schemeClr val="tx1"/>
                </a:solidFill>
                <a:effectLst/>
                <a:latin typeface="+mn-lt"/>
                <a:ea typeface="+mn-ea"/>
                <a:cs typeface="+mn-cs"/>
              </a:rPr>
              <a:t>core business model supports the circular economy. </a:t>
            </a:r>
            <a:r>
              <a:rPr lang="en-US" b="0" dirty="0"/>
              <a:t>New products -&gt; Maintenance -&gt; Modernization when at end of life/material recovery when possible -&gt; starts all over….</a:t>
            </a:r>
            <a:endParaRPr lang="en-US" sz="1200" b="1" kern="1200" dirty="0">
              <a:solidFill>
                <a:schemeClr val="tx1"/>
              </a:solidFill>
              <a:effectLst/>
              <a:latin typeface="+mn-lt"/>
              <a:ea typeface="+mn-ea"/>
              <a:cs typeface="+mn-cs"/>
            </a:endParaRPr>
          </a:p>
          <a:p>
            <a:pPr lvl="0"/>
            <a:endParaRPr lang="en-US" sz="1200" b="1"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e </a:t>
            </a:r>
            <a:r>
              <a:rPr lang="en-US" sz="1200" b="1" kern="1200" dirty="0">
                <a:solidFill>
                  <a:schemeClr val="tx1"/>
                </a:solidFill>
                <a:effectLst/>
                <a:latin typeface="+mn-lt"/>
                <a:ea typeface="+mn-ea"/>
                <a:cs typeface="+mn-cs"/>
              </a:rPr>
              <a:t>provide long-lasting products that are reliable and energy-efficient</a:t>
            </a:r>
            <a:r>
              <a:rPr lang="en-US" sz="1200" kern="1200" dirty="0">
                <a:solidFill>
                  <a:schemeClr val="tx1"/>
                </a:solidFill>
                <a:effectLst/>
                <a:latin typeface="+mn-lt"/>
                <a:ea typeface="+mn-ea"/>
                <a:cs typeface="+mn-cs"/>
              </a:rPr>
              <a:t>. For example, we currently have the widest product range with the best energy efficiency according to the international energy performance standard, ISO 25745. For the circular economy, it’s also extremely important that we use healthy materials so that our products can be safely used, maintained and modified along their long lifecycle. </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In the circular economy, we must use effectively the resources we take into use. That is where </a:t>
            </a:r>
            <a:r>
              <a:rPr lang="en-US" sz="1200" b="1" kern="1200" dirty="0">
                <a:solidFill>
                  <a:schemeClr val="tx1"/>
                </a:solidFill>
                <a:effectLst/>
                <a:latin typeface="+mn-lt"/>
                <a:ea typeface="+mn-ea"/>
                <a:cs typeface="+mn-cs"/>
              </a:rPr>
              <a:t>our services play an important role</a:t>
            </a:r>
            <a:r>
              <a:rPr lang="en-US" sz="1200" kern="1200" dirty="0">
                <a:solidFill>
                  <a:schemeClr val="tx1"/>
                </a:solidFill>
                <a:effectLst/>
                <a:latin typeface="+mn-lt"/>
                <a:ea typeface="+mn-ea"/>
                <a:cs typeface="+mn-cs"/>
              </a:rPr>
              <a:t>. Our intelligent </a:t>
            </a:r>
            <a:r>
              <a:rPr lang="en-US" sz="1200" b="1" kern="1200" dirty="0">
                <a:solidFill>
                  <a:schemeClr val="tx1"/>
                </a:solidFill>
                <a:effectLst/>
                <a:latin typeface="+mn-lt"/>
                <a:ea typeface="+mn-ea"/>
                <a:cs typeface="+mn-cs"/>
              </a:rPr>
              <a:t>People Flow</a:t>
            </a:r>
            <a:r>
              <a:rPr lang="en-US" sz="1200" kern="1200" dirty="0">
                <a:solidFill>
                  <a:schemeClr val="tx1"/>
                </a:solidFill>
                <a:effectLst/>
                <a:latin typeface="+mn-lt"/>
                <a:ea typeface="+mn-ea"/>
                <a:cs typeface="+mn-cs"/>
              </a:rPr>
              <a:t>® services, and </a:t>
            </a:r>
            <a:r>
              <a:rPr lang="en-US" sz="1200" b="1" kern="1200" dirty="0">
                <a:solidFill>
                  <a:schemeClr val="tx1"/>
                </a:solidFill>
                <a:effectLst/>
                <a:latin typeface="+mn-lt"/>
                <a:ea typeface="+mn-ea"/>
                <a:cs typeface="+mn-cs"/>
              </a:rPr>
              <a:t>maintenance</a:t>
            </a:r>
            <a:r>
              <a:rPr lang="en-US" sz="1200" kern="1200" dirty="0">
                <a:solidFill>
                  <a:schemeClr val="tx1"/>
                </a:solidFill>
                <a:effectLst/>
                <a:latin typeface="+mn-lt"/>
                <a:ea typeface="+mn-ea"/>
                <a:cs typeface="+mn-cs"/>
              </a:rPr>
              <a:t> and </a:t>
            </a:r>
            <a:r>
              <a:rPr lang="en-US" sz="1200" b="1" kern="1200" dirty="0">
                <a:solidFill>
                  <a:schemeClr val="tx1"/>
                </a:solidFill>
                <a:effectLst/>
                <a:latin typeface="+mn-lt"/>
                <a:ea typeface="+mn-ea"/>
                <a:cs typeface="+mn-cs"/>
              </a:rPr>
              <a:t>modernization </a:t>
            </a:r>
            <a:r>
              <a:rPr lang="en-US" sz="1200" kern="1200" dirty="0">
                <a:solidFill>
                  <a:schemeClr val="tx1"/>
                </a:solidFill>
                <a:effectLst/>
                <a:latin typeface="+mn-lt"/>
                <a:ea typeface="+mn-ea"/>
                <a:cs typeface="+mn-cs"/>
              </a:rPr>
              <a:t>services help ensure that elevators, escalators and doors are, firstly, optimized for the right needs, secondly, run efficiently throughout their long lifetime and thirdly, can be upgraded and refurbished for the versatile use within buildings. For example, KONE 24/7 Connected Services can predict maintenance needs for the equipment, meaning fewer faults and faster repairs. Digital technologies and connectivity are significant enablers for the implementation of the circular economy. </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In all our operations, our top priority has long been </a:t>
            </a:r>
            <a:r>
              <a:rPr lang="en-US" sz="1200" b="1" kern="1200" dirty="0">
                <a:solidFill>
                  <a:schemeClr val="tx1"/>
                </a:solidFill>
                <a:effectLst/>
                <a:latin typeface="+mn-lt"/>
                <a:ea typeface="+mn-ea"/>
                <a:cs typeface="+mn-cs"/>
              </a:rPr>
              <a:t>resource efficiency and minimizing our environmental impact</a:t>
            </a:r>
            <a:r>
              <a:rPr lang="en-US" sz="1200" kern="1200" dirty="0">
                <a:solidFill>
                  <a:schemeClr val="tx1"/>
                </a:solidFill>
                <a:effectLst/>
                <a:latin typeface="+mn-lt"/>
                <a:ea typeface="+mn-ea"/>
                <a:cs typeface="+mn-cs"/>
              </a:rPr>
              <a:t>. We improve material efficiency in manufacturing, for example, through </a:t>
            </a:r>
            <a:r>
              <a:rPr lang="en-US" sz="1200" b="1" kern="1200" dirty="0">
                <a:solidFill>
                  <a:schemeClr val="tx1"/>
                </a:solidFill>
                <a:effectLst/>
                <a:latin typeface="+mn-lt"/>
                <a:ea typeface="+mn-ea"/>
                <a:cs typeface="+mn-cs"/>
              </a:rPr>
              <a:t>robotics and automatization. </a:t>
            </a:r>
            <a:r>
              <a:rPr lang="en-US" sz="1200" kern="1200" dirty="0">
                <a:solidFill>
                  <a:schemeClr val="tx1"/>
                </a:solidFill>
                <a:effectLst/>
                <a:latin typeface="+mn-lt"/>
                <a:ea typeface="+mn-ea"/>
                <a:cs typeface="+mn-cs"/>
              </a:rPr>
              <a:t>We aim to </a:t>
            </a:r>
            <a:r>
              <a:rPr lang="en-US" sz="1200" b="1" kern="1200" dirty="0">
                <a:solidFill>
                  <a:schemeClr val="tx1"/>
                </a:solidFill>
                <a:effectLst/>
                <a:latin typeface="+mn-lt"/>
                <a:ea typeface="+mn-ea"/>
                <a:cs typeface="+mn-cs"/>
              </a:rPr>
              <a:t>minimize waste and maximize recyclability and the opportunities for reuse</a:t>
            </a:r>
            <a:r>
              <a:rPr lang="en-US" sz="1200" kern="1200" dirty="0">
                <a:solidFill>
                  <a:schemeClr val="tx1"/>
                </a:solidFill>
                <a:effectLst/>
                <a:latin typeface="+mn-lt"/>
                <a:ea typeface="+mn-ea"/>
                <a:cs typeface="+mn-cs"/>
              </a:rPr>
              <a:t>. For example, the vast majority of our </a:t>
            </a:r>
            <a:r>
              <a:rPr lang="en-US" sz="1200" b="1" kern="1200" dirty="0">
                <a:solidFill>
                  <a:schemeClr val="tx1"/>
                </a:solidFill>
                <a:effectLst/>
                <a:latin typeface="+mn-lt"/>
                <a:ea typeface="+mn-ea"/>
                <a:cs typeface="+mn-cs"/>
              </a:rPr>
              <a:t>packaging materials can be recycled</a:t>
            </a:r>
            <a:r>
              <a:rPr lang="en-US" sz="1200" kern="1200" dirty="0">
                <a:solidFill>
                  <a:schemeClr val="tx1"/>
                </a:solidFill>
                <a:effectLst/>
                <a:latin typeface="+mn-lt"/>
                <a:ea typeface="+mn-ea"/>
                <a:cs typeface="+mn-cs"/>
              </a:rPr>
              <a:t>,</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nd we already have reusable packages as part of our day-to-day logistics process in between our factories and suppliers. When transitioning to a low-carbon circular economy, it’s important that we power our operations with electricity from renewable sources. Our target is to increase the share of green electricity to over 50% out of all electricity consumption by 2021. </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ith all this, we have a good foundation for further exploring circular and sustainable business practices. Currently, 90% of the metals used in KONE solutions can be recycled, and we work together with our suppliers to increase the proportion of recycled content in our products.</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is is how we ultimately enable smart construction, best People Flow and extended life cycle, both for our equipment and the building, and create value for our customers in the circular economy.     </a:t>
            </a:r>
          </a:p>
          <a:p>
            <a:r>
              <a:rPr lang="en-US" sz="1200" kern="1200" dirty="0">
                <a:solidFill>
                  <a:schemeClr val="tx1"/>
                </a:solidFill>
                <a:effectLst/>
                <a:latin typeface="+mn-lt"/>
                <a:ea typeface="+mn-ea"/>
                <a:cs typeface="+mn-cs"/>
              </a:rPr>
              <a:t> </a:t>
            </a:r>
          </a:p>
          <a:p>
            <a:endParaRPr lang="fi-FI" dirty="0"/>
          </a:p>
          <a:p>
            <a:endParaRPr lang="en-FI"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D458EB-A8C3-4201-9431-2D687005C314}" type="slidenum">
              <a:rPr kumimoji="0" lang="en-US" sz="24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1033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AAD458EB-A8C3-4201-9431-2D687005C314}" type="slidenum">
              <a:rPr lang="en-US" smtClean="0"/>
              <a:t>14</a:t>
            </a:fld>
            <a:endParaRPr lang="en-US"/>
          </a:p>
        </p:txBody>
      </p:sp>
    </p:spTree>
    <p:extLst>
      <p:ext uri="{BB962C8B-B14F-4D97-AF65-F5344CB8AC3E}">
        <p14:creationId xmlns:p14="http://schemas.microsoft.com/office/powerpoint/2010/main" val="32444894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
    <p:spTree>
      <p:nvGrpSpPr>
        <p:cNvPr id="1" name=""/>
        <p:cNvGrpSpPr/>
        <p:nvPr/>
      </p:nvGrpSpPr>
      <p:grpSpPr>
        <a:xfrm>
          <a:off x="0" y="0"/>
          <a:ext cx="0" cy="0"/>
          <a:chOff x="0" y="0"/>
          <a:chExt cx="0" cy="0"/>
        </a:xfrm>
      </p:grpSpPr>
      <p:sp>
        <p:nvSpPr>
          <p:cNvPr id="8194" name="Rectangle 2"/>
          <p:cNvSpPr>
            <a:spLocks noGrp="1" noChangeArrowheads="1"/>
          </p:cNvSpPr>
          <p:nvPr>
            <p:ph type="ctrTitle" hasCustomPrompt="1"/>
          </p:nvPr>
        </p:nvSpPr>
        <p:spPr>
          <a:xfrm>
            <a:off x="409470" y="4220928"/>
            <a:ext cx="10365263" cy="1294358"/>
          </a:xfrm>
          <a:prstGeom prst="rect">
            <a:avLst/>
          </a:prstGeom>
        </p:spPr>
        <p:txBody>
          <a:bodyPr anchor="b" anchorCtr="0"/>
          <a:lstStyle>
            <a:lvl1pPr>
              <a:defRPr sz="4000" cap="none">
                <a:solidFill>
                  <a:schemeClr val="tx2"/>
                </a:solidFill>
              </a:defRPr>
            </a:lvl1pPr>
          </a:lstStyle>
          <a:p>
            <a:pPr lvl="0"/>
            <a:r>
              <a:rPr lang="en-US" noProof="0"/>
              <a:t>Add title text</a:t>
            </a:r>
          </a:p>
        </p:txBody>
      </p:sp>
      <p:sp>
        <p:nvSpPr>
          <p:cNvPr id="8195" name="Rectangle 3"/>
          <p:cNvSpPr>
            <a:spLocks noGrp="1" noChangeArrowheads="1"/>
          </p:cNvSpPr>
          <p:nvPr>
            <p:ph type="subTitle" idx="1"/>
          </p:nvPr>
        </p:nvSpPr>
        <p:spPr>
          <a:xfrm>
            <a:off x="409469" y="5588294"/>
            <a:ext cx="10365265" cy="647550"/>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tx2"/>
                </a:solidFill>
                <a:uFillTx/>
              </a:defRPr>
            </a:lvl1pPr>
          </a:lstStyle>
          <a:p>
            <a:pPr lvl="0"/>
            <a:r>
              <a:rPr lang="en-US" noProof="0"/>
              <a:t>Click to edit Master subtitle style</a:t>
            </a:r>
          </a:p>
        </p:txBody>
      </p:sp>
      <p:sp>
        <p:nvSpPr>
          <p:cNvPr id="2" name="Date Placeholder 1"/>
          <p:cNvSpPr>
            <a:spLocks noGrp="1"/>
          </p:cNvSpPr>
          <p:nvPr>
            <p:ph type="dt" sz="half" idx="10"/>
          </p:nvPr>
        </p:nvSpPr>
        <p:spPr/>
        <p:txBody>
          <a:bodyPr/>
          <a:lstStyle>
            <a:lvl1pPr>
              <a:defRPr>
                <a:noFill/>
              </a:defRPr>
            </a:lvl1pPr>
          </a:lstStyle>
          <a:p>
            <a:fld id="{7B063993-D8AC-48B8-9E98-5E3339943654}" type="datetime3">
              <a:rPr lang="en-US" smtClean="0"/>
              <a:t>13 April 2022</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Tree>
    <p:extLst>
      <p:ext uri="{BB962C8B-B14F-4D97-AF65-F5344CB8AC3E}">
        <p14:creationId xmlns:p14="http://schemas.microsoft.com/office/powerpoint/2010/main" val="265562537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 2nd Highlight">
    <p:spTree>
      <p:nvGrpSpPr>
        <p:cNvPr id="1" name=""/>
        <p:cNvGrpSpPr/>
        <p:nvPr/>
      </p:nvGrpSpPr>
      <p:grpSpPr>
        <a:xfrm>
          <a:off x="0" y="0"/>
          <a:ext cx="0" cy="0"/>
          <a:chOff x="0" y="0"/>
          <a:chExt cx="0" cy="0"/>
        </a:xfrm>
      </p:grpSpPr>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t>Click icon to add picture</a:t>
            </a:r>
            <a:endParaRPr lang="en-GB"/>
          </a:p>
        </p:txBody>
      </p:sp>
      <p:sp>
        <p:nvSpPr>
          <p:cNvPr id="8194" name="Rectangle 2"/>
          <p:cNvSpPr>
            <a:spLocks noGrp="1" noChangeArrowheads="1"/>
          </p:cNvSpPr>
          <p:nvPr>
            <p:ph type="ctrTitle" hasCustomPrompt="1"/>
          </p:nvPr>
        </p:nvSpPr>
        <p:spPr>
          <a:xfrm>
            <a:off x="754696" y="1268120"/>
            <a:ext cx="3240687" cy="3240781"/>
          </a:xfrm>
          <a:prstGeom prst="rect">
            <a:avLst/>
          </a:prstGeom>
          <a:solidFill>
            <a:schemeClr val="bg1">
              <a:alpha val="85000"/>
            </a:schemeClr>
          </a:solidFill>
        </p:spPr>
        <p:txBody>
          <a:bodyPr lIns="251924" tIns="233930" rIns="251924" bIns="233930" anchor="t" anchorCtr="0">
            <a:noAutofit/>
          </a:bodyPr>
          <a:lstStyle>
            <a:lvl1pPr>
              <a:lnSpc>
                <a:spcPct val="100000"/>
              </a:lnSpc>
              <a:spcBef>
                <a:spcPts val="400"/>
              </a:spcBef>
              <a:defRPr sz="2400" cap="none" baseline="0">
                <a:solidFill>
                  <a:schemeClr val="tx2"/>
                </a:solidFill>
                <a:effectLst/>
              </a:defRPr>
            </a:lvl1pPr>
          </a:lstStyle>
          <a:p>
            <a:pPr lvl="0"/>
            <a:r>
              <a:rPr lang="en-US" noProof="0"/>
              <a:t>Add title text</a:t>
            </a:r>
          </a:p>
        </p:txBody>
      </p:sp>
      <p:sp>
        <p:nvSpPr>
          <p:cNvPr id="7" name="Text Placeholder 6"/>
          <p:cNvSpPr>
            <a:spLocks noGrp="1" noChangeAspect="1"/>
          </p:cNvSpPr>
          <p:nvPr>
            <p:ph type="body" sz="quarter" idx="17" hasCustomPrompt="1"/>
          </p:nvPr>
        </p:nvSpPr>
        <p:spPr>
          <a:xfrm>
            <a:off x="11063519" y="403107"/>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
        <p:nvSpPr>
          <p:cNvPr id="2" name="Date Placeholder 1"/>
          <p:cNvSpPr>
            <a:spLocks noGrp="1"/>
          </p:cNvSpPr>
          <p:nvPr>
            <p:ph type="dt" sz="half" idx="10"/>
          </p:nvPr>
        </p:nvSpPr>
        <p:spPr/>
        <p:txBody>
          <a:bodyPr/>
          <a:lstStyle>
            <a:lvl1pPr>
              <a:defRPr>
                <a:solidFill>
                  <a:schemeClr val="bg1"/>
                </a:solidFill>
              </a:defRPr>
            </a:lvl1pPr>
          </a:lstStyle>
          <a:p>
            <a:fld id="{F25B4338-01E9-4DFF-B855-5EA917611051}" type="datetime3">
              <a:rPr lang="en-US" smtClean="0"/>
              <a:t>13 April 2022</a:t>
            </a:fld>
            <a:endParaRPr lang="en-US"/>
          </a:p>
        </p:txBody>
      </p:sp>
      <p:sp>
        <p:nvSpPr>
          <p:cNvPr id="3" name="Footer Placeholder 2"/>
          <p:cNvSpPr>
            <a:spLocks noGrp="1"/>
          </p:cNvSpPr>
          <p:nvPr>
            <p:ph type="ftr" sz="quarter" idx="11"/>
          </p:nvPr>
        </p:nvSpPr>
        <p:spPr/>
        <p:txBody>
          <a:bodyPr/>
          <a:lstStyle>
            <a:lvl1pPr>
              <a:defRPr>
                <a:solidFill>
                  <a:schemeClr val="bg1"/>
                </a:solid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604FC64F-66B6-486E-8EFE-9FD96A66D16B}" type="slidenum">
              <a:rPr lang="en-US" smtClean="0"/>
              <a:pPr/>
              <a:t>‹#›</a:t>
            </a:fld>
            <a:endParaRPr lang="en-US"/>
          </a:p>
        </p:txBody>
      </p:sp>
    </p:spTree>
    <p:extLst>
      <p:ext uri="{BB962C8B-B14F-4D97-AF65-F5344CB8AC3E}">
        <p14:creationId xmlns:p14="http://schemas.microsoft.com/office/powerpoint/2010/main" val="192077520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09469" y="1628398"/>
            <a:ext cx="5039000" cy="460889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Content Placeholder 3"/>
          <p:cNvSpPr>
            <a:spLocks noGrp="1"/>
          </p:cNvSpPr>
          <p:nvPr>
            <p:ph sz="half" idx="2"/>
          </p:nvPr>
        </p:nvSpPr>
        <p:spPr>
          <a:xfrm>
            <a:off x="5735732" y="1628757"/>
            <a:ext cx="5039001" cy="4608531"/>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8" name="Date Placeholder 7"/>
          <p:cNvSpPr>
            <a:spLocks noGrp="1"/>
          </p:cNvSpPr>
          <p:nvPr>
            <p:ph type="dt" sz="half" idx="10"/>
          </p:nvPr>
        </p:nvSpPr>
        <p:spPr/>
        <p:txBody>
          <a:bodyPr/>
          <a:lstStyle/>
          <a:p>
            <a:fld id="{5D3FEAF3-40F4-4101-B60A-E710E5516CE0}" type="datetime3">
              <a:rPr lang="en-US" noProof="0" smtClean="0"/>
              <a:t>13 April 2022</a:t>
            </a:fld>
            <a:endParaRPr lang="en-US" noProof="0"/>
          </a:p>
        </p:txBody>
      </p:sp>
      <p:sp>
        <p:nvSpPr>
          <p:cNvPr id="9" name="Footer Placeholder 8"/>
          <p:cNvSpPr>
            <a:spLocks noGrp="1"/>
          </p:cNvSpPr>
          <p:nvPr>
            <p:ph type="ftr" sz="quarter" idx="11"/>
          </p:nvPr>
        </p:nvSpPr>
        <p:spPr/>
        <p:txBody>
          <a:bodyPr/>
          <a:lstStyle/>
          <a:p>
            <a:r>
              <a:rPr lang="en-US" noProof="0"/>
              <a:t>Confidential  |  © KONE Corporation</a:t>
            </a:r>
          </a:p>
        </p:txBody>
      </p:sp>
      <p:sp>
        <p:nvSpPr>
          <p:cNvPr id="10" name="Slide Number Placeholder 9"/>
          <p:cNvSpPr>
            <a:spLocks noGrp="1"/>
          </p:cNvSpPr>
          <p:nvPr>
            <p:ph type="sldNum" sz="quarter" idx="12"/>
          </p:nvPr>
        </p:nvSpPr>
        <p:spPr/>
        <p:txBody>
          <a:bodyPr/>
          <a:lstStyle/>
          <a:p>
            <a:fld id="{604FC64F-66B6-486E-8EFE-9FD96A66D16B}" type="slidenum">
              <a:rPr lang="en-US" noProof="0" smtClean="0"/>
              <a:pPr/>
              <a:t>‹#›</a:t>
            </a:fld>
            <a:endParaRPr lang="en-US" noProof="0"/>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73723180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09469" y="1628398"/>
            <a:ext cx="5039000" cy="360164"/>
          </a:xfrm>
          <a:prstGeom prst="rect">
            <a:avLst/>
          </a:prstGeom>
        </p:spPr>
        <p:txBody>
          <a:bodyPr anchor="t" anchorCtr="0"/>
          <a:lstStyle>
            <a:lvl1pPr marL="0" indent="0">
              <a:lnSpc>
                <a:spcPct val="100000"/>
              </a:lnSpc>
              <a:spcBef>
                <a:spcPts val="0"/>
              </a:spcBef>
              <a:buNone/>
              <a:defRPr sz="1800" b="0" u="none"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5" name="Text Placeholder 4"/>
          <p:cNvSpPr>
            <a:spLocks noGrp="1"/>
          </p:cNvSpPr>
          <p:nvPr>
            <p:ph type="body" sz="quarter" idx="3"/>
          </p:nvPr>
        </p:nvSpPr>
        <p:spPr>
          <a:xfrm>
            <a:off x="5735732" y="1628398"/>
            <a:ext cx="5039001" cy="360164"/>
          </a:xfrm>
          <a:prstGeom prst="rect">
            <a:avLst/>
          </a:prstGeom>
        </p:spPr>
        <p:txBody>
          <a:bodyPr anchor="t" anchorCtr="0"/>
          <a:lstStyle>
            <a:lvl1pPr marL="0" indent="0">
              <a:lnSpc>
                <a:spcPct val="100000"/>
              </a:lnSpc>
              <a:spcBef>
                <a:spcPts val="0"/>
              </a:spcBef>
              <a:buNone/>
              <a:defRPr sz="1800" b="0" u="none"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10" name="Date Placeholder 9"/>
          <p:cNvSpPr>
            <a:spLocks noGrp="1"/>
          </p:cNvSpPr>
          <p:nvPr>
            <p:ph type="dt" sz="half" idx="10"/>
          </p:nvPr>
        </p:nvSpPr>
        <p:spPr/>
        <p:txBody>
          <a:bodyPr/>
          <a:lstStyle/>
          <a:p>
            <a:fld id="{87366D69-2D9F-45CE-878C-DFEC8888648F}" type="datetime3">
              <a:rPr lang="en-US" noProof="0" smtClean="0"/>
              <a:t>13 April 2022</a:t>
            </a:fld>
            <a:endParaRPr lang="en-US" noProof="0"/>
          </a:p>
        </p:txBody>
      </p:sp>
      <p:sp>
        <p:nvSpPr>
          <p:cNvPr id="11" name="Footer Placeholder 10"/>
          <p:cNvSpPr>
            <a:spLocks noGrp="1"/>
          </p:cNvSpPr>
          <p:nvPr>
            <p:ph type="ftr" sz="quarter" idx="11"/>
          </p:nvPr>
        </p:nvSpPr>
        <p:spPr/>
        <p:txBody>
          <a:bodyPr/>
          <a:lstStyle/>
          <a:p>
            <a:r>
              <a:rPr lang="en-US" noProof="0"/>
              <a:t>Confidential  |  © KONE Corporation</a:t>
            </a:r>
          </a:p>
        </p:txBody>
      </p:sp>
      <p:sp>
        <p:nvSpPr>
          <p:cNvPr id="12" name="Slide Number Placeholder 11"/>
          <p:cNvSpPr>
            <a:spLocks noGrp="1"/>
          </p:cNvSpPr>
          <p:nvPr>
            <p:ph type="sldNum" sz="quarter" idx="12"/>
          </p:nvPr>
        </p:nvSpPr>
        <p:spPr/>
        <p:txBody>
          <a:bodyPr/>
          <a:lstStyle/>
          <a:p>
            <a:fld id="{604FC64F-66B6-486E-8EFE-9FD96A66D16B}" type="slidenum">
              <a:rPr lang="en-US" noProof="0" smtClean="0"/>
              <a:pPr/>
              <a:t>‹#›</a:t>
            </a:fld>
            <a:endParaRPr lang="en-US" noProof="0"/>
          </a:p>
        </p:txBody>
      </p:sp>
      <p:sp>
        <p:nvSpPr>
          <p:cNvPr id="13" name="Content Placeholder 2"/>
          <p:cNvSpPr>
            <a:spLocks noGrp="1"/>
          </p:cNvSpPr>
          <p:nvPr>
            <p:ph sz="half" idx="13"/>
          </p:nvPr>
        </p:nvSpPr>
        <p:spPr>
          <a:xfrm>
            <a:off x="409469" y="1989132"/>
            <a:ext cx="5039000" cy="4248155"/>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4" name="Content Placeholder 3"/>
          <p:cNvSpPr>
            <a:spLocks noGrp="1"/>
          </p:cNvSpPr>
          <p:nvPr>
            <p:ph sz="half" idx="2"/>
          </p:nvPr>
        </p:nvSpPr>
        <p:spPr>
          <a:xfrm>
            <a:off x="5735732" y="1991308"/>
            <a:ext cx="5039001" cy="424598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6"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a:t>Add source</a:t>
            </a: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3140875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9" name="Date Placeholder 8"/>
          <p:cNvSpPr>
            <a:spLocks noGrp="1"/>
          </p:cNvSpPr>
          <p:nvPr>
            <p:ph type="dt" sz="half" idx="14"/>
          </p:nvPr>
        </p:nvSpPr>
        <p:spPr/>
        <p:txBody>
          <a:bodyPr/>
          <a:lstStyle/>
          <a:p>
            <a:fld id="{0BB90928-449B-418F-B5A0-F4FEF3FEE680}" type="datetime3">
              <a:rPr lang="en-US" noProof="0" smtClean="0"/>
              <a:t>13 April 2022</a:t>
            </a:fld>
            <a:endParaRPr lang="en-US" noProof="0"/>
          </a:p>
        </p:txBody>
      </p:sp>
      <p:sp>
        <p:nvSpPr>
          <p:cNvPr id="10" name="Footer Placeholder 9"/>
          <p:cNvSpPr>
            <a:spLocks noGrp="1"/>
          </p:cNvSpPr>
          <p:nvPr>
            <p:ph type="ftr" sz="quarter" idx="15"/>
          </p:nvPr>
        </p:nvSpPr>
        <p:spPr/>
        <p:txBody>
          <a:bodyPr/>
          <a:lstStyle/>
          <a:p>
            <a:r>
              <a:rPr lang="en-US" noProof="0"/>
              <a:t>Confidential  |  © KONE Corporation</a:t>
            </a:r>
          </a:p>
        </p:txBody>
      </p:sp>
      <p:sp>
        <p:nvSpPr>
          <p:cNvPr id="11" name="Slide Number Placeholder 10"/>
          <p:cNvSpPr>
            <a:spLocks noGrp="1"/>
          </p:cNvSpPr>
          <p:nvPr>
            <p:ph type="sldNum" sz="quarter" idx="16"/>
          </p:nvPr>
        </p:nvSpPr>
        <p:spPr/>
        <p:txBody>
          <a:bodyPr/>
          <a:lstStyle/>
          <a:p>
            <a:fld id="{604FC64F-66B6-486E-8EFE-9FD96A66D16B}" type="slidenum">
              <a:rPr lang="en-US" noProof="0" smtClean="0"/>
              <a:pPr/>
              <a:t>‹#›</a:t>
            </a:fld>
            <a:endParaRPr lang="en-US" noProof="0"/>
          </a:p>
        </p:txBody>
      </p:sp>
      <p:sp>
        <p:nvSpPr>
          <p:cNvPr id="12" name="Content Placeholder 2"/>
          <p:cNvSpPr>
            <a:spLocks noGrp="1"/>
          </p:cNvSpPr>
          <p:nvPr>
            <p:ph sz="half" idx="17"/>
          </p:nvPr>
        </p:nvSpPr>
        <p:spPr>
          <a:xfrm>
            <a:off x="409469" y="1628396"/>
            <a:ext cx="5039000" cy="4608891"/>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3" name="Content Placeholder 3"/>
          <p:cNvSpPr>
            <a:spLocks noGrp="1"/>
          </p:cNvSpPr>
          <p:nvPr>
            <p:ph sz="half" idx="2"/>
          </p:nvPr>
        </p:nvSpPr>
        <p:spPr>
          <a:xfrm>
            <a:off x="5735732" y="1628398"/>
            <a:ext cx="5039001" cy="460889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2" name="Title 1"/>
          <p:cNvSpPr>
            <a:spLocks noGrp="1"/>
          </p:cNvSpPr>
          <p:nvPr>
            <p:ph type="title"/>
          </p:nvPr>
        </p:nvSpPr>
        <p:spPr>
          <a:xfrm>
            <a:off x="409469" y="404720"/>
            <a:ext cx="10365963" cy="504514"/>
          </a:xfrm>
          <a:prstGeom prst="rect">
            <a:avLst/>
          </a:prstGeom>
        </p:spPr>
        <p:txBody>
          <a:bodyPr/>
          <a:lstStyle/>
          <a:p>
            <a:r>
              <a:rPr lang="en-US"/>
              <a:t>Click to edit Master title style</a:t>
            </a:r>
            <a:endParaRPr lang="en-GB"/>
          </a:p>
        </p:txBody>
      </p:sp>
      <p:sp>
        <p:nvSpPr>
          <p:cNvPr id="15"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Tree>
    <p:extLst>
      <p:ext uri="{BB962C8B-B14F-4D97-AF65-F5344CB8AC3E}">
        <p14:creationId xmlns:p14="http://schemas.microsoft.com/office/powerpoint/2010/main" val="335193191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with Subtitle">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B286DE9E-15CC-48FE-AA8A-3DA5D02D2F74}" type="datetime3">
              <a:rPr lang="en-US" noProof="0" smtClean="0"/>
              <a:t>13 April 2022</a:t>
            </a:fld>
            <a:endParaRPr lang="en-US" noProof="0"/>
          </a:p>
        </p:txBody>
      </p:sp>
      <p:sp>
        <p:nvSpPr>
          <p:cNvPr id="12" name="Footer Placeholder 11"/>
          <p:cNvSpPr>
            <a:spLocks noGrp="1"/>
          </p:cNvSpPr>
          <p:nvPr>
            <p:ph type="ftr" sz="quarter" idx="15"/>
          </p:nvPr>
        </p:nvSpPr>
        <p:spPr/>
        <p:txBody>
          <a:bodyPr/>
          <a:lstStyle/>
          <a:p>
            <a:r>
              <a:rPr lang="en-US" noProof="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a:t>
            </a:fld>
            <a:endParaRPr lang="en-US" noProof="0"/>
          </a:p>
        </p:txBody>
      </p:sp>
      <p:sp>
        <p:nvSpPr>
          <p:cNvPr id="19" name="Text Placeholder 2"/>
          <p:cNvSpPr>
            <a:spLocks noGrp="1"/>
          </p:cNvSpPr>
          <p:nvPr>
            <p:ph type="body" idx="1"/>
          </p:nvPr>
        </p:nvSpPr>
        <p:spPr>
          <a:xfrm>
            <a:off x="409469" y="1628398"/>
            <a:ext cx="5039000" cy="360164"/>
          </a:xfrm>
          <a:prstGeom prst="rect">
            <a:avLst/>
          </a:prstGeom>
        </p:spPr>
        <p:txBody>
          <a:bodyPr anchor="t" anchorCtr="0"/>
          <a:lstStyle>
            <a:lvl1pPr marL="0" indent="0">
              <a:lnSpc>
                <a:spcPct val="100000"/>
              </a:lnSpc>
              <a:spcBef>
                <a:spcPts val="0"/>
              </a:spcBef>
              <a:buNone/>
              <a:defRPr sz="18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20" name="Text Placeholder 4"/>
          <p:cNvSpPr>
            <a:spLocks noGrp="1"/>
          </p:cNvSpPr>
          <p:nvPr>
            <p:ph type="body" sz="quarter" idx="3"/>
          </p:nvPr>
        </p:nvSpPr>
        <p:spPr>
          <a:xfrm>
            <a:off x="5735732" y="1628398"/>
            <a:ext cx="5039001" cy="360164"/>
          </a:xfrm>
          <a:prstGeom prst="rect">
            <a:avLst/>
          </a:prstGeom>
        </p:spPr>
        <p:txBody>
          <a:bodyPr anchor="t" anchorCtr="0"/>
          <a:lstStyle>
            <a:lvl1pPr marL="0" indent="0">
              <a:lnSpc>
                <a:spcPct val="100000"/>
              </a:lnSpc>
              <a:spcBef>
                <a:spcPts val="0"/>
              </a:spcBef>
              <a:buNone/>
              <a:defRPr sz="18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21" name="Content Placeholder 2"/>
          <p:cNvSpPr>
            <a:spLocks noGrp="1"/>
          </p:cNvSpPr>
          <p:nvPr>
            <p:ph sz="half" idx="17"/>
          </p:nvPr>
        </p:nvSpPr>
        <p:spPr>
          <a:xfrm>
            <a:off x="409469" y="1989132"/>
            <a:ext cx="5039000" cy="4248155"/>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22" name="Content Placeholder 3"/>
          <p:cNvSpPr>
            <a:spLocks noGrp="1"/>
          </p:cNvSpPr>
          <p:nvPr>
            <p:ph sz="half" idx="2"/>
          </p:nvPr>
        </p:nvSpPr>
        <p:spPr>
          <a:xfrm>
            <a:off x="5735732" y="1991308"/>
            <a:ext cx="5039001" cy="424598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2" name="Title 1"/>
          <p:cNvSpPr>
            <a:spLocks noGrp="1"/>
          </p:cNvSpPr>
          <p:nvPr>
            <p:ph type="title"/>
          </p:nvPr>
        </p:nvSpPr>
        <p:spPr>
          <a:xfrm>
            <a:off x="409469" y="404720"/>
            <a:ext cx="10365963" cy="504514"/>
          </a:xfrm>
          <a:prstGeom prst="rect">
            <a:avLst/>
          </a:prstGeom>
        </p:spPr>
        <p:txBody>
          <a:bodyPr/>
          <a:lstStyle/>
          <a:p>
            <a:r>
              <a:rPr lang="en-US"/>
              <a:t>Click to edit Master title style</a:t>
            </a:r>
            <a:endParaRPr lang="en-GB"/>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Tree>
    <p:extLst>
      <p:ext uri="{BB962C8B-B14F-4D97-AF65-F5344CB8AC3E}">
        <p14:creationId xmlns:p14="http://schemas.microsoft.com/office/powerpoint/2010/main" val="111852570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omparison with Subtitle">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B286DE9E-15CC-48FE-AA8A-3DA5D02D2F74}" type="datetime3">
              <a:rPr lang="en-US" noProof="0" smtClean="0"/>
              <a:t>13 April 2022</a:t>
            </a:fld>
            <a:endParaRPr lang="en-US" noProof="0"/>
          </a:p>
        </p:txBody>
      </p:sp>
      <p:sp>
        <p:nvSpPr>
          <p:cNvPr id="12" name="Footer Placeholder 11"/>
          <p:cNvSpPr>
            <a:spLocks noGrp="1"/>
          </p:cNvSpPr>
          <p:nvPr>
            <p:ph type="ftr" sz="quarter" idx="15"/>
          </p:nvPr>
        </p:nvSpPr>
        <p:spPr/>
        <p:txBody>
          <a:bodyPr/>
          <a:lstStyle/>
          <a:p>
            <a:r>
              <a:rPr lang="en-US" noProof="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a:t>
            </a:fld>
            <a:endParaRPr lang="en-US" noProof="0"/>
          </a:p>
        </p:txBody>
      </p:sp>
      <p:sp>
        <p:nvSpPr>
          <p:cNvPr id="19" name="Text Placeholder 2"/>
          <p:cNvSpPr>
            <a:spLocks noGrp="1"/>
          </p:cNvSpPr>
          <p:nvPr>
            <p:ph type="body" idx="1"/>
          </p:nvPr>
        </p:nvSpPr>
        <p:spPr>
          <a:xfrm>
            <a:off x="409468" y="1628398"/>
            <a:ext cx="5542511" cy="360164"/>
          </a:xfrm>
          <a:prstGeom prst="rect">
            <a:avLst/>
          </a:prstGeom>
        </p:spPr>
        <p:txBody>
          <a:bodyPr anchor="t" anchorCtr="0"/>
          <a:lstStyle>
            <a:lvl1pPr marL="0" indent="0">
              <a:lnSpc>
                <a:spcPct val="100000"/>
              </a:lnSpc>
              <a:spcBef>
                <a:spcPts val="0"/>
              </a:spcBef>
              <a:buNone/>
              <a:defRPr sz="18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20" name="Text Placeholder 4"/>
          <p:cNvSpPr>
            <a:spLocks noGrp="1"/>
          </p:cNvSpPr>
          <p:nvPr>
            <p:ph type="body" sz="quarter" idx="3"/>
          </p:nvPr>
        </p:nvSpPr>
        <p:spPr>
          <a:xfrm>
            <a:off x="6240020" y="1628398"/>
            <a:ext cx="5543993" cy="360164"/>
          </a:xfrm>
          <a:prstGeom prst="rect">
            <a:avLst/>
          </a:prstGeom>
        </p:spPr>
        <p:txBody>
          <a:bodyPr anchor="t" anchorCtr="0"/>
          <a:lstStyle>
            <a:lvl1pPr marL="0" indent="0">
              <a:lnSpc>
                <a:spcPct val="100000"/>
              </a:lnSpc>
              <a:spcBef>
                <a:spcPts val="0"/>
              </a:spcBef>
              <a:buNone/>
              <a:defRPr sz="18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21" name="Content Placeholder 2"/>
          <p:cNvSpPr>
            <a:spLocks noGrp="1"/>
          </p:cNvSpPr>
          <p:nvPr>
            <p:ph sz="half" idx="17"/>
          </p:nvPr>
        </p:nvSpPr>
        <p:spPr>
          <a:xfrm>
            <a:off x="409468" y="1989132"/>
            <a:ext cx="5542511" cy="4248155"/>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22" name="Content Placeholder 3"/>
          <p:cNvSpPr>
            <a:spLocks noGrp="1"/>
          </p:cNvSpPr>
          <p:nvPr>
            <p:ph sz="half" idx="2"/>
          </p:nvPr>
        </p:nvSpPr>
        <p:spPr>
          <a:xfrm>
            <a:off x="6240020" y="1991308"/>
            <a:ext cx="5543993" cy="424598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2" name="Title 1"/>
          <p:cNvSpPr>
            <a:spLocks noGrp="1"/>
          </p:cNvSpPr>
          <p:nvPr>
            <p:ph type="title"/>
          </p:nvPr>
        </p:nvSpPr>
        <p:spPr>
          <a:xfrm>
            <a:off x="409469" y="404720"/>
            <a:ext cx="10365963" cy="504514"/>
          </a:xfrm>
          <a:prstGeom prst="rect">
            <a:avLst/>
          </a:prstGeom>
        </p:spPr>
        <p:txBody>
          <a:bodyPr/>
          <a:lstStyle/>
          <a:p>
            <a:r>
              <a:rPr lang="en-US"/>
              <a:t>Click to edit Master title style</a:t>
            </a:r>
            <a:endParaRPr lang="en-GB"/>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Tree>
    <p:extLst>
      <p:ext uri="{BB962C8B-B14F-4D97-AF65-F5344CB8AC3E}">
        <p14:creationId xmlns:p14="http://schemas.microsoft.com/office/powerpoint/2010/main" val="204791889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3866B042-82BF-484F-968B-2D60184B9110}" type="datetime3">
              <a:rPr lang="en-US" noProof="0" smtClean="0"/>
              <a:t>13 April 2022</a:t>
            </a:fld>
            <a:endParaRPr lang="en-US" noProof="0"/>
          </a:p>
        </p:txBody>
      </p:sp>
      <p:sp>
        <p:nvSpPr>
          <p:cNvPr id="12" name="Footer Placeholder 11"/>
          <p:cNvSpPr>
            <a:spLocks noGrp="1"/>
          </p:cNvSpPr>
          <p:nvPr>
            <p:ph type="ftr" sz="quarter" idx="15"/>
          </p:nvPr>
        </p:nvSpPr>
        <p:spPr/>
        <p:txBody>
          <a:bodyPr/>
          <a:lstStyle/>
          <a:p>
            <a:r>
              <a:rPr lang="en-US" noProof="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a:t>
            </a:fld>
            <a:endParaRPr lang="en-US" noProof="0"/>
          </a:p>
        </p:txBody>
      </p:sp>
      <p:sp>
        <p:nvSpPr>
          <p:cNvPr id="19" name="Text Placeholder 2"/>
          <p:cNvSpPr>
            <a:spLocks noGrp="1"/>
          </p:cNvSpPr>
          <p:nvPr>
            <p:ph type="body" idx="1"/>
          </p:nvPr>
        </p:nvSpPr>
        <p:spPr>
          <a:xfrm>
            <a:off x="409469" y="1628399"/>
            <a:ext cx="11373062"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3" name="Text Placeholder 2"/>
          <p:cNvSpPr>
            <a:spLocks noGrp="1"/>
          </p:cNvSpPr>
          <p:nvPr>
            <p:ph type="body" sz="quarter" idx="18"/>
          </p:nvPr>
        </p:nvSpPr>
        <p:spPr>
          <a:xfrm>
            <a:off x="409468" y="5084847"/>
            <a:ext cx="11373063"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a:lnSpc>
                <a:spcPct val="100000"/>
              </a:lnSpc>
              <a:spcBef>
                <a:spcPts val="400"/>
              </a:spcBef>
              <a:defRPr/>
            </a:lvl3pPr>
            <a:lvl4pPr>
              <a:lnSpc>
                <a:spcPct val="100000"/>
              </a:lnSpc>
              <a:spcBef>
                <a:spcPts val="400"/>
              </a:spcBef>
              <a:defRPr/>
            </a:lvl4pPr>
            <a:lvl5pPr>
              <a:lnSpc>
                <a:spcPct val="100000"/>
              </a:lnSpc>
              <a:spcBef>
                <a:spcPts val="400"/>
              </a:spcBef>
              <a:defRPr/>
            </a:lvl5pPr>
          </a:lstStyle>
          <a:p>
            <a:pPr lvl="0"/>
            <a:r>
              <a:rPr lang="en-US"/>
              <a:t>Edit Master text styles</a:t>
            </a:r>
          </a:p>
          <a:p>
            <a:pPr lvl="1"/>
            <a:r>
              <a:rPr lang="en-US"/>
              <a:t>Second level</a:t>
            </a:r>
          </a:p>
        </p:txBody>
      </p:sp>
      <p:sp>
        <p:nvSpPr>
          <p:cNvPr id="5" name="Chart Placeholder 4"/>
          <p:cNvSpPr>
            <a:spLocks noGrp="1"/>
          </p:cNvSpPr>
          <p:nvPr>
            <p:ph type="chart" sz="quarter" idx="19"/>
          </p:nvPr>
        </p:nvSpPr>
        <p:spPr>
          <a:xfrm>
            <a:off x="409468" y="1989133"/>
            <a:ext cx="11373063" cy="2807740"/>
          </a:xfrm>
          <a:prstGeom prst="rect">
            <a:avLst/>
          </a:prstGeom>
        </p:spPr>
        <p:txBody>
          <a:bodyPr/>
          <a:lstStyle>
            <a:lvl1pPr marL="0" indent="0">
              <a:buFontTx/>
              <a:buNone/>
              <a:defRPr/>
            </a:lvl1pPr>
          </a:lstStyle>
          <a:p>
            <a:r>
              <a:rPr lang="en-US"/>
              <a:t>Click icon to add chart</a:t>
            </a:r>
            <a:endParaRPr lang="en-GB"/>
          </a:p>
        </p:txBody>
      </p:sp>
      <p:cxnSp>
        <p:nvCxnSpPr>
          <p:cNvPr id="7" name="Straight Connector 6"/>
          <p:cNvCxnSpPr/>
          <p:nvPr userDrawn="1"/>
        </p:nvCxnSpPr>
        <p:spPr>
          <a:xfrm>
            <a:off x="409469" y="4940744"/>
            <a:ext cx="11373063"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15"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a:t>Add source</a:t>
            </a:r>
          </a:p>
        </p:txBody>
      </p:sp>
      <p:sp>
        <p:nvSpPr>
          <p:cNvPr id="4" name="Title 3"/>
          <p:cNvSpPr>
            <a:spLocks noGrp="1"/>
          </p:cNvSpPr>
          <p:nvPr>
            <p:ph type="title"/>
          </p:nvPr>
        </p:nvSpPr>
        <p:spPr>
          <a:xfrm>
            <a:off x="407988" y="404813"/>
            <a:ext cx="10367962" cy="503238"/>
          </a:xfrm>
        </p:spPr>
        <p:txBody>
          <a:bodyPr/>
          <a:lstStyle/>
          <a:p>
            <a:r>
              <a:rPr lang="en-US"/>
              <a:t>Click to edit Master title style</a:t>
            </a:r>
            <a:endParaRPr lang="en-GB"/>
          </a:p>
        </p:txBody>
      </p:sp>
    </p:spTree>
    <p:extLst>
      <p:ext uri="{BB962C8B-B14F-4D97-AF65-F5344CB8AC3E}">
        <p14:creationId xmlns:p14="http://schemas.microsoft.com/office/powerpoint/2010/main" val="341816166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X charts">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1602B678-1DE4-42DA-8589-DC91F85CB0C2}" type="datetime3">
              <a:rPr lang="en-US" noProof="0" smtClean="0"/>
              <a:t>13 April 2022</a:t>
            </a:fld>
            <a:endParaRPr lang="en-US" noProof="0"/>
          </a:p>
        </p:txBody>
      </p:sp>
      <p:sp>
        <p:nvSpPr>
          <p:cNvPr id="12" name="Footer Placeholder 11"/>
          <p:cNvSpPr>
            <a:spLocks noGrp="1"/>
          </p:cNvSpPr>
          <p:nvPr>
            <p:ph type="ftr" sz="quarter" idx="15"/>
          </p:nvPr>
        </p:nvSpPr>
        <p:spPr/>
        <p:txBody>
          <a:bodyPr/>
          <a:lstStyle/>
          <a:p>
            <a:r>
              <a:rPr lang="en-US" noProof="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a:t>
            </a:fld>
            <a:endParaRPr lang="en-US" noProof="0"/>
          </a:p>
        </p:txBody>
      </p:sp>
      <p:sp>
        <p:nvSpPr>
          <p:cNvPr id="19" name="Text Placeholder 2"/>
          <p:cNvSpPr>
            <a:spLocks noGrp="1"/>
          </p:cNvSpPr>
          <p:nvPr>
            <p:ph type="body" idx="1"/>
          </p:nvPr>
        </p:nvSpPr>
        <p:spPr>
          <a:xfrm>
            <a:off x="409469" y="1628399"/>
            <a:ext cx="5542106"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20" name="Text Placeholder 4"/>
          <p:cNvSpPr>
            <a:spLocks noGrp="1"/>
          </p:cNvSpPr>
          <p:nvPr>
            <p:ph type="body" sz="quarter" idx="3"/>
          </p:nvPr>
        </p:nvSpPr>
        <p:spPr>
          <a:xfrm>
            <a:off x="6240425" y="1628399"/>
            <a:ext cx="5542106"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3" name="Text Placeholder 2"/>
          <p:cNvSpPr>
            <a:spLocks noGrp="1"/>
          </p:cNvSpPr>
          <p:nvPr>
            <p:ph type="body" sz="quarter" idx="18"/>
          </p:nvPr>
        </p:nvSpPr>
        <p:spPr>
          <a:xfrm>
            <a:off x="409468" y="5084847"/>
            <a:ext cx="5542107"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t>Edit Master text styles</a:t>
            </a:r>
          </a:p>
          <a:p>
            <a:pPr lvl="1"/>
            <a:r>
              <a:rPr lang="en-US"/>
              <a:t>Second level</a:t>
            </a:r>
          </a:p>
        </p:txBody>
      </p:sp>
      <p:sp>
        <p:nvSpPr>
          <p:cNvPr id="5" name="Chart Placeholder 4"/>
          <p:cNvSpPr>
            <a:spLocks noGrp="1"/>
          </p:cNvSpPr>
          <p:nvPr>
            <p:ph type="chart" sz="quarter" idx="19"/>
          </p:nvPr>
        </p:nvSpPr>
        <p:spPr>
          <a:xfrm>
            <a:off x="409468" y="1989133"/>
            <a:ext cx="5542107" cy="2807740"/>
          </a:xfrm>
          <a:prstGeom prst="rect">
            <a:avLst/>
          </a:prstGeom>
        </p:spPr>
        <p:txBody>
          <a:bodyPr/>
          <a:lstStyle>
            <a:lvl1pPr marL="0" indent="0">
              <a:buFontTx/>
              <a:buNone/>
              <a:defRPr/>
            </a:lvl1pPr>
          </a:lstStyle>
          <a:p>
            <a:r>
              <a:rPr lang="en-US"/>
              <a:t>Click icon to add chart</a:t>
            </a:r>
            <a:endParaRPr lang="en-GB"/>
          </a:p>
        </p:txBody>
      </p:sp>
      <p:sp>
        <p:nvSpPr>
          <p:cNvPr id="15" name="Chart Placeholder 4"/>
          <p:cNvSpPr>
            <a:spLocks noGrp="1"/>
          </p:cNvSpPr>
          <p:nvPr>
            <p:ph type="chart" sz="quarter" idx="20"/>
          </p:nvPr>
        </p:nvSpPr>
        <p:spPr>
          <a:xfrm>
            <a:off x="6240425" y="1989133"/>
            <a:ext cx="5542107" cy="2807740"/>
          </a:xfrm>
          <a:prstGeom prst="rect">
            <a:avLst/>
          </a:prstGeom>
        </p:spPr>
        <p:txBody>
          <a:bodyPr/>
          <a:lstStyle>
            <a:lvl1pPr marL="0" indent="0">
              <a:buFontTx/>
              <a:buNone/>
              <a:defRPr/>
            </a:lvl1pPr>
          </a:lstStyle>
          <a:p>
            <a:r>
              <a:rPr lang="en-US"/>
              <a:t>Click icon to add chart</a:t>
            </a:r>
            <a:endParaRPr lang="en-GB"/>
          </a:p>
        </p:txBody>
      </p:sp>
      <p:cxnSp>
        <p:nvCxnSpPr>
          <p:cNvPr id="7" name="Straight Connector 6"/>
          <p:cNvCxnSpPr/>
          <p:nvPr userDrawn="1"/>
        </p:nvCxnSpPr>
        <p:spPr>
          <a:xfrm>
            <a:off x="409468" y="4940744"/>
            <a:ext cx="5542107"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6240425" y="4940744"/>
            <a:ext cx="5542107"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18" name="Text Placeholder 2"/>
          <p:cNvSpPr>
            <a:spLocks noGrp="1"/>
          </p:cNvSpPr>
          <p:nvPr>
            <p:ph type="body" sz="quarter" idx="21"/>
          </p:nvPr>
        </p:nvSpPr>
        <p:spPr>
          <a:xfrm>
            <a:off x="6239982" y="5084847"/>
            <a:ext cx="5542550"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t>Edit Master text styles</a:t>
            </a:r>
          </a:p>
          <a:p>
            <a:pPr lvl="1"/>
            <a:r>
              <a:rPr lang="en-US"/>
              <a:t>Second level</a:t>
            </a:r>
          </a:p>
        </p:txBody>
      </p:sp>
      <p:sp>
        <p:nvSpPr>
          <p:cNvPr id="10"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a:t>Add source</a:t>
            </a:r>
          </a:p>
        </p:txBody>
      </p:sp>
      <p:sp>
        <p:nvSpPr>
          <p:cNvPr id="4" name="Title 3"/>
          <p:cNvSpPr>
            <a:spLocks noGrp="1"/>
          </p:cNvSpPr>
          <p:nvPr>
            <p:ph type="title"/>
          </p:nvPr>
        </p:nvSpPr>
        <p:spPr>
          <a:xfrm>
            <a:off x="407988" y="404813"/>
            <a:ext cx="10367962" cy="503238"/>
          </a:xfrm>
        </p:spPr>
        <p:txBody>
          <a:bodyPr/>
          <a:lstStyle/>
          <a:p>
            <a:r>
              <a:rPr lang="en-US"/>
              <a:t>Click to edit Master title style</a:t>
            </a:r>
            <a:endParaRPr lang="en-GB"/>
          </a:p>
        </p:txBody>
      </p:sp>
    </p:spTree>
    <p:extLst>
      <p:ext uri="{BB962C8B-B14F-4D97-AF65-F5344CB8AC3E}">
        <p14:creationId xmlns:p14="http://schemas.microsoft.com/office/powerpoint/2010/main" val="395636174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X charts">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5A741309-C6C7-4710-90DC-52D32DFFF3AD}" type="datetime3">
              <a:rPr lang="en-US" noProof="0" smtClean="0"/>
              <a:t>13 April 2022</a:t>
            </a:fld>
            <a:endParaRPr lang="en-US" noProof="0"/>
          </a:p>
        </p:txBody>
      </p:sp>
      <p:sp>
        <p:nvSpPr>
          <p:cNvPr id="12" name="Footer Placeholder 11"/>
          <p:cNvSpPr>
            <a:spLocks noGrp="1"/>
          </p:cNvSpPr>
          <p:nvPr>
            <p:ph type="ftr" sz="quarter" idx="15"/>
          </p:nvPr>
        </p:nvSpPr>
        <p:spPr/>
        <p:txBody>
          <a:bodyPr/>
          <a:lstStyle/>
          <a:p>
            <a:r>
              <a:rPr lang="en-US" noProof="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a:t>
            </a:fld>
            <a:endParaRPr lang="en-US" noProof="0"/>
          </a:p>
        </p:txBody>
      </p:sp>
      <p:sp>
        <p:nvSpPr>
          <p:cNvPr id="19" name="Text Placeholder 2"/>
          <p:cNvSpPr>
            <a:spLocks noGrp="1"/>
          </p:cNvSpPr>
          <p:nvPr>
            <p:ph type="body" idx="1"/>
          </p:nvPr>
        </p:nvSpPr>
        <p:spPr>
          <a:xfrm>
            <a:off x="409469" y="1628399"/>
            <a:ext cx="3670776"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20" name="Text Placeholder 4"/>
          <p:cNvSpPr>
            <a:spLocks noGrp="1"/>
          </p:cNvSpPr>
          <p:nvPr>
            <p:ph type="body" sz="quarter" idx="3"/>
          </p:nvPr>
        </p:nvSpPr>
        <p:spPr>
          <a:xfrm>
            <a:off x="4296220" y="1628399"/>
            <a:ext cx="3599561"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5" name="Chart Placeholder 4"/>
          <p:cNvSpPr>
            <a:spLocks noGrp="1"/>
          </p:cNvSpPr>
          <p:nvPr>
            <p:ph type="chart" sz="quarter" idx="19"/>
          </p:nvPr>
        </p:nvSpPr>
        <p:spPr>
          <a:xfrm>
            <a:off x="409468" y="1989133"/>
            <a:ext cx="3670776" cy="2807740"/>
          </a:xfrm>
          <a:prstGeom prst="rect">
            <a:avLst/>
          </a:prstGeom>
        </p:spPr>
        <p:txBody>
          <a:bodyPr/>
          <a:lstStyle>
            <a:lvl1pPr marL="0" indent="0">
              <a:buFontTx/>
              <a:buNone/>
              <a:defRPr/>
            </a:lvl1pPr>
          </a:lstStyle>
          <a:p>
            <a:r>
              <a:rPr lang="en-US"/>
              <a:t>Click icon to add chart</a:t>
            </a:r>
            <a:endParaRPr lang="en-GB"/>
          </a:p>
        </p:txBody>
      </p:sp>
      <p:sp>
        <p:nvSpPr>
          <p:cNvPr id="15" name="Chart Placeholder 4"/>
          <p:cNvSpPr>
            <a:spLocks noGrp="1"/>
          </p:cNvSpPr>
          <p:nvPr>
            <p:ph type="chart" sz="quarter" idx="20"/>
          </p:nvPr>
        </p:nvSpPr>
        <p:spPr>
          <a:xfrm>
            <a:off x="4296218" y="1989133"/>
            <a:ext cx="3599563" cy="2807740"/>
          </a:xfrm>
          <a:prstGeom prst="rect">
            <a:avLst/>
          </a:prstGeom>
        </p:spPr>
        <p:txBody>
          <a:bodyPr/>
          <a:lstStyle>
            <a:lvl1pPr marL="0" indent="0">
              <a:buFontTx/>
              <a:buNone/>
              <a:defRPr/>
            </a:lvl1pPr>
          </a:lstStyle>
          <a:p>
            <a:r>
              <a:rPr lang="en-US"/>
              <a:t>Click icon to add chart</a:t>
            </a:r>
            <a:endParaRPr lang="en-GB"/>
          </a:p>
        </p:txBody>
      </p:sp>
      <p:cxnSp>
        <p:nvCxnSpPr>
          <p:cNvPr id="7" name="Straight Connector 6"/>
          <p:cNvCxnSpPr/>
          <p:nvPr userDrawn="1"/>
        </p:nvCxnSpPr>
        <p:spPr>
          <a:xfrm>
            <a:off x="409468" y="4940744"/>
            <a:ext cx="3670776"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4296218" y="4940744"/>
            <a:ext cx="3599563"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24" name="Text Placeholder 2"/>
          <p:cNvSpPr>
            <a:spLocks noGrp="1"/>
          </p:cNvSpPr>
          <p:nvPr>
            <p:ph type="body" idx="22"/>
          </p:nvPr>
        </p:nvSpPr>
        <p:spPr>
          <a:xfrm>
            <a:off x="8111755" y="1628399"/>
            <a:ext cx="3670778"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26" name="Chart Placeholder 4"/>
          <p:cNvSpPr>
            <a:spLocks noGrp="1"/>
          </p:cNvSpPr>
          <p:nvPr>
            <p:ph type="chart" sz="quarter" idx="24"/>
          </p:nvPr>
        </p:nvSpPr>
        <p:spPr>
          <a:xfrm>
            <a:off x="8111755" y="1989133"/>
            <a:ext cx="3670777" cy="2807740"/>
          </a:xfrm>
          <a:prstGeom prst="rect">
            <a:avLst/>
          </a:prstGeom>
        </p:spPr>
        <p:txBody>
          <a:bodyPr/>
          <a:lstStyle>
            <a:lvl1pPr marL="0" indent="0">
              <a:buFontTx/>
              <a:buNone/>
              <a:defRPr/>
            </a:lvl1pPr>
          </a:lstStyle>
          <a:p>
            <a:r>
              <a:rPr lang="en-US"/>
              <a:t>Click icon to add chart</a:t>
            </a:r>
            <a:endParaRPr lang="en-GB"/>
          </a:p>
        </p:txBody>
      </p:sp>
      <p:cxnSp>
        <p:nvCxnSpPr>
          <p:cNvPr id="27" name="Straight Connector 26"/>
          <p:cNvCxnSpPr/>
          <p:nvPr userDrawn="1"/>
        </p:nvCxnSpPr>
        <p:spPr>
          <a:xfrm>
            <a:off x="8111755" y="4940744"/>
            <a:ext cx="3670777"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p:cNvSpPr>
            <a:spLocks noGrp="1"/>
          </p:cNvSpPr>
          <p:nvPr>
            <p:ph type="body" sz="quarter" idx="18"/>
          </p:nvPr>
        </p:nvSpPr>
        <p:spPr>
          <a:xfrm>
            <a:off x="409468" y="5084847"/>
            <a:ext cx="3670776"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t>Edit Master text styles</a:t>
            </a:r>
          </a:p>
          <a:p>
            <a:pPr lvl="1"/>
            <a:r>
              <a:rPr lang="en-US"/>
              <a:t>Second level</a:t>
            </a:r>
          </a:p>
        </p:txBody>
      </p:sp>
      <p:sp>
        <p:nvSpPr>
          <p:cNvPr id="29" name="Text Placeholder 2"/>
          <p:cNvSpPr>
            <a:spLocks noGrp="1"/>
          </p:cNvSpPr>
          <p:nvPr>
            <p:ph type="body" sz="quarter" idx="25"/>
          </p:nvPr>
        </p:nvSpPr>
        <p:spPr>
          <a:xfrm>
            <a:off x="8111755" y="5084847"/>
            <a:ext cx="3670777"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t>Edit Master text styles</a:t>
            </a:r>
          </a:p>
          <a:p>
            <a:pPr lvl="1"/>
            <a:r>
              <a:rPr lang="en-US"/>
              <a:t>Second level</a:t>
            </a:r>
          </a:p>
        </p:txBody>
      </p:sp>
      <p:sp>
        <p:nvSpPr>
          <p:cNvPr id="30" name="Text Placeholder 2"/>
          <p:cNvSpPr>
            <a:spLocks noGrp="1"/>
          </p:cNvSpPr>
          <p:nvPr>
            <p:ph type="body" sz="quarter" idx="26"/>
          </p:nvPr>
        </p:nvSpPr>
        <p:spPr>
          <a:xfrm>
            <a:off x="4296218" y="5084847"/>
            <a:ext cx="3599563" cy="1150997"/>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t>Edit Master text styles</a:t>
            </a:r>
          </a:p>
          <a:p>
            <a:pPr lvl="1"/>
            <a:r>
              <a:rPr lang="en-US"/>
              <a:t>Second level</a:t>
            </a:r>
          </a:p>
        </p:txBody>
      </p:sp>
      <p:sp>
        <p:nvSpPr>
          <p:cNvPr id="31" name="Text Placeholder 9"/>
          <p:cNvSpPr>
            <a:spLocks noGrp="1"/>
          </p:cNvSpPr>
          <p:nvPr>
            <p:ph type="body" sz="quarter" idx="27"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a:t>Add source</a:t>
            </a:r>
          </a:p>
        </p:txBody>
      </p:sp>
      <p:sp>
        <p:nvSpPr>
          <p:cNvPr id="3" name="Title 2"/>
          <p:cNvSpPr>
            <a:spLocks noGrp="1"/>
          </p:cNvSpPr>
          <p:nvPr>
            <p:ph type="title"/>
          </p:nvPr>
        </p:nvSpPr>
        <p:spPr>
          <a:xfrm>
            <a:off x="407988" y="404813"/>
            <a:ext cx="10367962" cy="503238"/>
          </a:xfrm>
        </p:spPr>
        <p:txBody>
          <a:bodyPr/>
          <a:lstStyle/>
          <a:p>
            <a:r>
              <a:rPr lang="en-US"/>
              <a:t>Click to edit Master title style</a:t>
            </a:r>
            <a:endParaRPr lang="en-GB"/>
          </a:p>
        </p:txBody>
      </p:sp>
    </p:spTree>
    <p:extLst>
      <p:ext uri="{BB962C8B-B14F-4D97-AF65-F5344CB8AC3E}">
        <p14:creationId xmlns:p14="http://schemas.microsoft.com/office/powerpoint/2010/main" val="422174675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3X charts">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B550E04C-8045-4110-A57B-059271B12242}" type="datetime3">
              <a:rPr lang="en-US" noProof="0" smtClean="0"/>
              <a:t>13 April 2022</a:t>
            </a:fld>
            <a:endParaRPr lang="en-US" noProof="0"/>
          </a:p>
        </p:txBody>
      </p:sp>
      <p:sp>
        <p:nvSpPr>
          <p:cNvPr id="12" name="Footer Placeholder 11"/>
          <p:cNvSpPr>
            <a:spLocks noGrp="1"/>
          </p:cNvSpPr>
          <p:nvPr>
            <p:ph type="ftr" sz="quarter" idx="15"/>
          </p:nvPr>
        </p:nvSpPr>
        <p:spPr/>
        <p:txBody>
          <a:bodyPr/>
          <a:lstStyle/>
          <a:p>
            <a:r>
              <a:rPr lang="en-US" noProof="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a:t>
            </a:fld>
            <a:endParaRPr lang="en-US" noProof="0"/>
          </a:p>
        </p:txBody>
      </p:sp>
      <p:sp>
        <p:nvSpPr>
          <p:cNvPr id="19" name="Text Placeholder 2"/>
          <p:cNvSpPr>
            <a:spLocks noGrp="1"/>
          </p:cNvSpPr>
          <p:nvPr>
            <p:ph type="body" idx="1"/>
          </p:nvPr>
        </p:nvSpPr>
        <p:spPr>
          <a:xfrm>
            <a:off x="409469" y="1628399"/>
            <a:ext cx="3670776"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20" name="Text Placeholder 4"/>
          <p:cNvSpPr>
            <a:spLocks noGrp="1"/>
          </p:cNvSpPr>
          <p:nvPr>
            <p:ph type="body" sz="quarter" idx="3"/>
          </p:nvPr>
        </p:nvSpPr>
        <p:spPr>
          <a:xfrm>
            <a:off x="4296220" y="1628399"/>
            <a:ext cx="3599561"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cxnSp>
        <p:nvCxnSpPr>
          <p:cNvPr id="7" name="Straight Connector 6"/>
          <p:cNvCxnSpPr/>
          <p:nvPr userDrawn="1"/>
        </p:nvCxnSpPr>
        <p:spPr>
          <a:xfrm>
            <a:off x="409468" y="4095917"/>
            <a:ext cx="3670776"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4296218" y="4095917"/>
            <a:ext cx="3599563"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24" name="Text Placeholder 2"/>
          <p:cNvSpPr>
            <a:spLocks noGrp="1"/>
          </p:cNvSpPr>
          <p:nvPr>
            <p:ph type="body" idx="22"/>
          </p:nvPr>
        </p:nvSpPr>
        <p:spPr>
          <a:xfrm>
            <a:off x="8111755" y="1628399"/>
            <a:ext cx="3670778"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cxnSp>
        <p:nvCxnSpPr>
          <p:cNvPr id="27" name="Straight Connector 26"/>
          <p:cNvCxnSpPr/>
          <p:nvPr userDrawn="1"/>
        </p:nvCxnSpPr>
        <p:spPr>
          <a:xfrm>
            <a:off x="8111755" y="4095917"/>
            <a:ext cx="3670777" cy="0"/>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p:cNvSpPr>
            <a:spLocks noGrp="1"/>
          </p:cNvSpPr>
          <p:nvPr>
            <p:ph type="body" sz="quarter" idx="18"/>
          </p:nvPr>
        </p:nvSpPr>
        <p:spPr>
          <a:xfrm>
            <a:off x="409468" y="4210204"/>
            <a:ext cx="3670776" cy="1872000"/>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t>Edit Master text styles</a:t>
            </a:r>
          </a:p>
          <a:p>
            <a:pPr lvl="1"/>
            <a:r>
              <a:rPr lang="en-US"/>
              <a:t>Second level</a:t>
            </a:r>
          </a:p>
        </p:txBody>
      </p:sp>
      <p:sp>
        <p:nvSpPr>
          <p:cNvPr id="29" name="Text Placeholder 2"/>
          <p:cNvSpPr>
            <a:spLocks noGrp="1"/>
          </p:cNvSpPr>
          <p:nvPr>
            <p:ph type="body" sz="quarter" idx="25"/>
          </p:nvPr>
        </p:nvSpPr>
        <p:spPr>
          <a:xfrm>
            <a:off x="8111755" y="4210204"/>
            <a:ext cx="3670777" cy="1872000"/>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t>Edit Master text styles</a:t>
            </a:r>
          </a:p>
          <a:p>
            <a:pPr lvl="1"/>
            <a:r>
              <a:rPr lang="en-US"/>
              <a:t>Second level</a:t>
            </a:r>
          </a:p>
        </p:txBody>
      </p:sp>
      <p:sp>
        <p:nvSpPr>
          <p:cNvPr id="30" name="Text Placeholder 2"/>
          <p:cNvSpPr>
            <a:spLocks noGrp="1"/>
          </p:cNvSpPr>
          <p:nvPr>
            <p:ph type="body" sz="quarter" idx="26"/>
          </p:nvPr>
        </p:nvSpPr>
        <p:spPr>
          <a:xfrm>
            <a:off x="4296218" y="4210204"/>
            <a:ext cx="3599563" cy="1872000"/>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t>Edit Master text styles</a:t>
            </a:r>
          </a:p>
          <a:p>
            <a:pPr lvl="1"/>
            <a:r>
              <a:rPr lang="en-US"/>
              <a:t>Second level</a:t>
            </a:r>
          </a:p>
        </p:txBody>
      </p:sp>
      <p:sp>
        <p:nvSpPr>
          <p:cNvPr id="3" name="Title 2"/>
          <p:cNvSpPr>
            <a:spLocks noGrp="1"/>
          </p:cNvSpPr>
          <p:nvPr>
            <p:ph type="title"/>
          </p:nvPr>
        </p:nvSpPr>
        <p:spPr>
          <a:xfrm>
            <a:off x="407988" y="404813"/>
            <a:ext cx="10367962" cy="503238"/>
          </a:xfrm>
        </p:spPr>
        <p:txBody>
          <a:bodyPr/>
          <a:lstStyle/>
          <a:p>
            <a:r>
              <a:rPr lang="en-US"/>
              <a:t>Click to edit Master title style</a:t>
            </a:r>
            <a:endParaRPr lang="en-GB"/>
          </a:p>
        </p:txBody>
      </p:sp>
      <p:sp>
        <p:nvSpPr>
          <p:cNvPr id="21" name="Text Placeholder 2">
            <a:extLst>
              <a:ext uri="{FF2B5EF4-FFF2-40B4-BE49-F238E27FC236}">
                <a16:creationId xmlns:a16="http://schemas.microsoft.com/office/drawing/2014/main" id="{80365D0A-029D-4E42-979F-685155160695}"/>
              </a:ext>
            </a:extLst>
          </p:cNvPr>
          <p:cNvSpPr>
            <a:spLocks noGrp="1"/>
          </p:cNvSpPr>
          <p:nvPr>
            <p:ph type="body" sz="quarter" idx="27"/>
          </p:nvPr>
        </p:nvSpPr>
        <p:spPr>
          <a:xfrm>
            <a:off x="407988" y="2132327"/>
            <a:ext cx="3670776" cy="1872000"/>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t>Edit Master text styles</a:t>
            </a:r>
          </a:p>
          <a:p>
            <a:pPr lvl="1"/>
            <a:r>
              <a:rPr lang="en-US"/>
              <a:t>Second level</a:t>
            </a:r>
          </a:p>
        </p:txBody>
      </p:sp>
      <p:sp>
        <p:nvSpPr>
          <p:cNvPr id="22" name="Text Placeholder 2">
            <a:extLst>
              <a:ext uri="{FF2B5EF4-FFF2-40B4-BE49-F238E27FC236}">
                <a16:creationId xmlns:a16="http://schemas.microsoft.com/office/drawing/2014/main" id="{FC0A72B3-A53C-48D9-A77E-F8FE08C7A183}"/>
              </a:ext>
            </a:extLst>
          </p:cNvPr>
          <p:cNvSpPr>
            <a:spLocks noGrp="1"/>
          </p:cNvSpPr>
          <p:nvPr>
            <p:ph type="body" sz="quarter" idx="28"/>
          </p:nvPr>
        </p:nvSpPr>
        <p:spPr>
          <a:xfrm>
            <a:off x="8110275" y="2132327"/>
            <a:ext cx="3670777" cy="1872000"/>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t>Edit Master text styles</a:t>
            </a:r>
          </a:p>
          <a:p>
            <a:pPr lvl="1"/>
            <a:r>
              <a:rPr lang="en-US"/>
              <a:t>Second level</a:t>
            </a:r>
          </a:p>
        </p:txBody>
      </p:sp>
      <p:sp>
        <p:nvSpPr>
          <p:cNvPr id="25" name="Text Placeholder 2">
            <a:extLst>
              <a:ext uri="{FF2B5EF4-FFF2-40B4-BE49-F238E27FC236}">
                <a16:creationId xmlns:a16="http://schemas.microsoft.com/office/drawing/2014/main" id="{F74A6F91-8683-456E-A442-55D0AF81C8A4}"/>
              </a:ext>
            </a:extLst>
          </p:cNvPr>
          <p:cNvSpPr>
            <a:spLocks noGrp="1"/>
          </p:cNvSpPr>
          <p:nvPr>
            <p:ph type="body" sz="quarter" idx="29"/>
          </p:nvPr>
        </p:nvSpPr>
        <p:spPr>
          <a:xfrm>
            <a:off x="4294738" y="2132327"/>
            <a:ext cx="3599563" cy="1872000"/>
          </a:xfrm>
          <a:prstGeom prst="rect">
            <a:avLst/>
          </a:prstGeom>
        </p:spPr>
        <p:txBody>
          <a:bodyPr/>
          <a:lstStyle>
            <a:lvl1pPr marL="0" indent="0">
              <a:lnSpc>
                <a:spcPct val="100000"/>
              </a:lnSpc>
              <a:spcBef>
                <a:spcPts val="400"/>
              </a:spcBef>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t>Edit Master text styles</a:t>
            </a:r>
          </a:p>
          <a:p>
            <a:pPr lvl="1"/>
            <a:r>
              <a:rPr lang="en-US"/>
              <a:t>Second level</a:t>
            </a:r>
          </a:p>
        </p:txBody>
      </p:sp>
    </p:spTree>
    <p:extLst>
      <p:ext uri="{BB962C8B-B14F-4D97-AF65-F5344CB8AC3E}">
        <p14:creationId xmlns:p14="http://schemas.microsoft.com/office/powerpoint/2010/main" val="231046322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326CE1-070D-4ABA-9AE6-73CD36801A1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4" name="Object 3" hidden="1">
                        <a:extLst>
                          <a:ext uri="{FF2B5EF4-FFF2-40B4-BE49-F238E27FC236}">
                            <a16:creationId xmlns:a16="http://schemas.microsoft.com/office/drawing/2014/main" id="{62326CE1-070D-4ABA-9AE6-73CD36801A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169EB58-B25D-465D-9E97-A6EF969BEE50}"/>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5000"/>
              </a:lnSpc>
              <a:spcBef>
                <a:spcPct val="0"/>
              </a:spcBef>
              <a:spcAft>
                <a:spcPct val="0"/>
              </a:spcAft>
            </a:pPr>
            <a:endParaRPr lang="en-US" sz="3200" b="0" i="0" baseline="0">
              <a:latin typeface="Arial" panose="020B0604020202020204" pitchFamily="34" charset="0"/>
              <a:ea typeface="+mj-ea"/>
              <a:cs typeface="+mj-cs"/>
              <a:sym typeface="Arial" panose="020B0604020202020204" pitchFamily="34" charset="0"/>
            </a:endParaRPr>
          </a:p>
        </p:txBody>
      </p:sp>
      <p:sp>
        <p:nvSpPr>
          <p:cNvPr id="7" name="Date Placeholder 6"/>
          <p:cNvSpPr>
            <a:spLocks noGrp="1"/>
          </p:cNvSpPr>
          <p:nvPr>
            <p:ph type="dt" sz="half" idx="10"/>
          </p:nvPr>
        </p:nvSpPr>
        <p:spPr/>
        <p:txBody>
          <a:bodyPr/>
          <a:lstStyle/>
          <a:p>
            <a:fld id="{79E9087F-8D29-4365-A1D1-C2092CC6B701}" type="datetime3">
              <a:rPr lang="en-US" noProof="0" smtClean="0"/>
              <a:t>13 April 2022</a:t>
            </a:fld>
            <a:endParaRPr lang="en-US" noProof="0"/>
          </a:p>
        </p:txBody>
      </p:sp>
      <p:sp>
        <p:nvSpPr>
          <p:cNvPr id="8" name="Footer Placeholder 7"/>
          <p:cNvSpPr>
            <a:spLocks noGrp="1"/>
          </p:cNvSpPr>
          <p:nvPr>
            <p:ph type="ftr" sz="quarter" idx="11"/>
          </p:nvPr>
        </p:nvSpPr>
        <p:spPr/>
        <p:txBody>
          <a:bodyPr/>
          <a:lstStyle/>
          <a:p>
            <a:r>
              <a:rPr lang="en-US" noProof="0"/>
              <a:t>Confidential  |  © KONE Corporation</a:t>
            </a:r>
          </a:p>
        </p:txBody>
      </p:sp>
      <p:sp>
        <p:nvSpPr>
          <p:cNvPr id="9" name="Slide Number Placeholder 8"/>
          <p:cNvSpPr>
            <a:spLocks noGrp="1"/>
          </p:cNvSpPr>
          <p:nvPr>
            <p:ph type="sldNum" sz="quarter" idx="12"/>
          </p:nvPr>
        </p:nvSpPr>
        <p:spPr/>
        <p:txBody>
          <a:bodyPr/>
          <a:lstStyle/>
          <a:p>
            <a:fld id="{604FC64F-66B6-486E-8EFE-9FD96A66D16B}" type="slidenum">
              <a:rPr lang="en-US" noProof="0" smtClean="0"/>
              <a:pPr/>
              <a:t>‹#›</a:t>
            </a:fld>
            <a:endParaRPr lang="en-US" noProof="0"/>
          </a:p>
        </p:txBody>
      </p:sp>
      <p:sp>
        <p:nvSpPr>
          <p:cNvPr id="12" name="Content Placeholder 11"/>
          <p:cNvSpPr>
            <a:spLocks noGrp="1"/>
          </p:cNvSpPr>
          <p:nvPr>
            <p:ph sz="quarter" idx="13"/>
          </p:nvPr>
        </p:nvSpPr>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403448264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X charts">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1BFB89F5-DBA0-4421-915B-BC0360003281}" type="datetime3">
              <a:rPr lang="en-US" noProof="0" smtClean="0"/>
              <a:t>13 April 2022</a:t>
            </a:fld>
            <a:endParaRPr lang="en-US" noProof="0"/>
          </a:p>
        </p:txBody>
      </p:sp>
      <p:sp>
        <p:nvSpPr>
          <p:cNvPr id="12" name="Footer Placeholder 11"/>
          <p:cNvSpPr>
            <a:spLocks noGrp="1"/>
          </p:cNvSpPr>
          <p:nvPr>
            <p:ph type="ftr" sz="quarter" idx="15"/>
          </p:nvPr>
        </p:nvSpPr>
        <p:spPr/>
        <p:txBody>
          <a:bodyPr/>
          <a:lstStyle/>
          <a:p>
            <a:r>
              <a:rPr lang="en-US" noProof="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a:t>
            </a:fld>
            <a:endParaRPr lang="en-US" noProof="0"/>
          </a:p>
        </p:txBody>
      </p:sp>
      <p:sp>
        <p:nvSpPr>
          <p:cNvPr id="19" name="Text Placeholder 2"/>
          <p:cNvSpPr>
            <a:spLocks noGrp="1"/>
          </p:cNvSpPr>
          <p:nvPr>
            <p:ph type="body" idx="1"/>
          </p:nvPr>
        </p:nvSpPr>
        <p:spPr>
          <a:xfrm>
            <a:off x="409470" y="1628399"/>
            <a:ext cx="273488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20" name="Text Placeholder 4"/>
          <p:cNvSpPr>
            <a:spLocks noGrp="1"/>
          </p:cNvSpPr>
          <p:nvPr>
            <p:ph type="body" sz="quarter" idx="3"/>
          </p:nvPr>
        </p:nvSpPr>
        <p:spPr>
          <a:xfrm>
            <a:off x="3288340" y="1628399"/>
            <a:ext cx="273566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5" name="Chart Placeholder 4"/>
          <p:cNvSpPr>
            <a:spLocks noGrp="1"/>
          </p:cNvSpPr>
          <p:nvPr>
            <p:ph type="chart" sz="quarter" idx="19"/>
          </p:nvPr>
        </p:nvSpPr>
        <p:spPr>
          <a:xfrm>
            <a:off x="409468" y="1989133"/>
            <a:ext cx="2734890" cy="4246711"/>
          </a:xfrm>
          <a:prstGeom prst="rect">
            <a:avLst/>
          </a:prstGeom>
        </p:spPr>
        <p:txBody>
          <a:bodyPr/>
          <a:lstStyle>
            <a:lvl1pPr marL="0" indent="0">
              <a:buFontTx/>
              <a:buNone/>
              <a:defRPr/>
            </a:lvl1pPr>
          </a:lstStyle>
          <a:p>
            <a:r>
              <a:rPr lang="en-US"/>
              <a:t>Click icon to add chart</a:t>
            </a:r>
            <a:endParaRPr lang="en-GB"/>
          </a:p>
        </p:txBody>
      </p:sp>
      <p:sp>
        <p:nvSpPr>
          <p:cNvPr id="15" name="Chart Placeholder 4"/>
          <p:cNvSpPr>
            <a:spLocks noGrp="1"/>
          </p:cNvSpPr>
          <p:nvPr>
            <p:ph type="chart" sz="quarter" idx="20"/>
          </p:nvPr>
        </p:nvSpPr>
        <p:spPr>
          <a:xfrm>
            <a:off x="3288341" y="1989133"/>
            <a:ext cx="2735669" cy="4246711"/>
          </a:xfrm>
          <a:prstGeom prst="rect">
            <a:avLst/>
          </a:prstGeom>
        </p:spPr>
        <p:txBody>
          <a:bodyPr/>
          <a:lstStyle>
            <a:lvl1pPr marL="0" indent="0">
              <a:buFontTx/>
              <a:buNone/>
              <a:defRPr/>
            </a:lvl1pPr>
          </a:lstStyle>
          <a:p>
            <a:r>
              <a:rPr lang="en-US"/>
              <a:t>Click icon to add chart</a:t>
            </a:r>
            <a:endParaRPr lang="en-GB"/>
          </a:p>
        </p:txBody>
      </p:sp>
      <p:sp>
        <p:nvSpPr>
          <p:cNvPr id="17"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29" name="Text Placeholder 2"/>
          <p:cNvSpPr>
            <a:spLocks noGrp="1"/>
          </p:cNvSpPr>
          <p:nvPr>
            <p:ph type="body" idx="21"/>
          </p:nvPr>
        </p:nvSpPr>
        <p:spPr>
          <a:xfrm>
            <a:off x="6167992" y="1628399"/>
            <a:ext cx="273488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30" name="Text Placeholder 4"/>
          <p:cNvSpPr>
            <a:spLocks noGrp="1"/>
          </p:cNvSpPr>
          <p:nvPr>
            <p:ph type="body" sz="quarter" idx="22"/>
          </p:nvPr>
        </p:nvSpPr>
        <p:spPr>
          <a:xfrm>
            <a:off x="9046862" y="1628399"/>
            <a:ext cx="2735669"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31" name="Chart Placeholder 4"/>
          <p:cNvSpPr>
            <a:spLocks noGrp="1"/>
          </p:cNvSpPr>
          <p:nvPr>
            <p:ph type="chart" sz="quarter" idx="23"/>
          </p:nvPr>
        </p:nvSpPr>
        <p:spPr>
          <a:xfrm>
            <a:off x="6167991" y="1989133"/>
            <a:ext cx="2734890" cy="4246711"/>
          </a:xfrm>
          <a:prstGeom prst="rect">
            <a:avLst/>
          </a:prstGeom>
        </p:spPr>
        <p:txBody>
          <a:bodyPr/>
          <a:lstStyle>
            <a:lvl1pPr marL="0" indent="0">
              <a:buFontTx/>
              <a:buNone/>
              <a:defRPr/>
            </a:lvl1pPr>
          </a:lstStyle>
          <a:p>
            <a:r>
              <a:rPr lang="en-US"/>
              <a:t>Click icon to add chart</a:t>
            </a:r>
            <a:endParaRPr lang="en-GB"/>
          </a:p>
        </p:txBody>
      </p:sp>
      <p:sp>
        <p:nvSpPr>
          <p:cNvPr id="32" name="Chart Placeholder 4"/>
          <p:cNvSpPr>
            <a:spLocks noGrp="1"/>
          </p:cNvSpPr>
          <p:nvPr>
            <p:ph type="chart" sz="quarter" idx="24"/>
          </p:nvPr>
        </p:nvSpPr>
        <p:spPr>
          <a:xfrm>
            <a:off x="9046863" y="1989133"/>
            <a:ext cx="2735669" cy="4246711"/>
          </a:xfrm>
          <a:prstGeom prst="rect">
            <a:avLst/>
          </a:prstGeom>
        </p:spPr>
        <p:txBody>
          <a:bodyPr/>
          <a:lstStyle>
            <a:lvl1pPr marL="0" indent="0">
              <a:buFontTx/>
              <a:buNone/>
              <a:defRPr/>
            </a:lvl1pPr>
          </a:lstStyle>
          <a:p>
            <a:r>
              <a:rPr lang="en-US"/>
              <a:t>Click icon to add chart</a:t>
            </a:r>
            <a:endParaRPr lang="en-GB"/>
          </a:p>
        </p:txBody>
      </p:sp>
      <p:sp>
        <p:nvSpPr>
          <p:cNvPr id="33" name="Text Placeholder 9"/>
          <p:cNvSpPr>
            <a:spLocks noGrp="1"/>
          </p:cNvSpPr>
          <p:nvPr>
            <p:ph type="body" sz="quarter" idx="25"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a:t>Add source</a:t>
            </a:r>
          </a:p>
        </p:txBody>
      </p:sp>
      <p:sp>
        <p:nvSpPr>
          <p:cNvPr id="3" name="Title 2"/>
          <p:cNvSpPr>
            <a:spLocks noGrp="1"/>
          </p:cNvSpPr>
          <p:nvPr>
            <p:ph type="title"/>
          </p:nvPr>
        </p:nvSpPr>
        <p:spPr>
          <a:xfrm>
            <a:off x="407988" y="404813"/>
            <a:ext cx="10367962" cy="503238"/>
          </a:xfrm>
        </p:spPr>
        <p:txBody>
          <a:bodyPr/>
          <a:lstStyle/>
          <a:p>
            <a:r>
              <a:rPr lang="en-US"/>
              <a:t>Click to edit Master title style</a:t>
            </a:r>
            <a:endParaRPr lang="en-GB"/>
          </a:p>
        </p:txBody>
      </p:sp>
    </p:spTree>
    <p:extLst>
      <p:ext uri="{BB962C8B-B14F-4D97-AF65-F5344CB8AC3E}">
        <p14:creationId xmlns:p14="http://schemas.microsoft.com/office/powerpoint/2010/main" val="196655396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Char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12BA7C74-9AC5-4B08-B621-41A362A1160A}" type="datetime3">
              <a:rPr lang="en-US" noProof="0" smtClean="0"/>
              <a:t>13 April 2022</a:t>
            </a:fld>
            <a:endParaRPr lang="en-US" noProof="0"/>
          </a:p>
        </p:txBody>
      </p:sp>
      <p:sp>
        <p:nvSpPr>
          <p:cNvPr id="12" name="Footer Placeholder 11"/>
          <p:cNvSpPr>
            <a:spLocks noGrp="1"/>
          </p:cNvSpPr>
          <p:nvPr>
            <p:ph type="ftr" sz="quarter" idx="15"/>
          </p:nvPr>
        </p:nvSpPr>
        <p:spPr/>
        <p:txBody>
          <a:bodyPr/>
          <a:lstStyle/>
          <a:p>
            <a:r>
              <a:rPr lang="en-US" noProof="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a:t>
            </a:fld>
            <a:endParaRPr lang="en-US" noProof="0"/>
          </a:p>
        </p:txBody>
      </p:sp>
      <p:sp>
        <p:nvSpPr>
          <p:cNvPr id="19" name="Text Placeholder 2"/>
          <p:cNvSpPr>
            <a:spLocks noGrp="1"/>
          </p:cNvSpPr>
          <p:nvPr>
            <p:ph type="body" idx="1"/>
          </p:nvPr>
        </p:nvSpPr>
        <p:spPr>
          <a:xfrm>
            <a:off x="409469" y="1628399"/>
            <a:ext cx="11373062"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5" name="Chart Placeholder 4"/>
          <p:cNvSpPr>
            <a:spLocks noGrp="1"/>
          </p:cNvSpPr>
          <p:nvPr>
            <p:ph type="chart" sz="quarter" idx="19"/>
          </p:nvPr>
        </p:nvSpPr>
        <p:spPr>
          <a:xfrm>
            <a:off x="409468" y="1989133"/>
            <a:ext cx="11373063" cy="4246711"/>
          </a:xfrm>
          <a:prstGeom prst="rect">
            <a:avLst/>
          </a:prstGeom>
        </p:spPr>
        <p:txBody>
          <a:bodyPr/>
          <a:lstStyle>
            <a:lvl1pPr marL="0" indent="0">
              <a:buFontTx/>
              <a:buNone/>
              <a:defRPr/>
            </a:lvl1pPr>
          </a:lstStyle>
          <a:p>
            <a:r>
              <a:rPr lang="en-US"/>
              <a:t>Click icon to add chart</a:t>
            </a:r>
            <a:endParaRPr lang="en-GB"/>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15"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a:t>Add source</a:t>
            </a:r>
          </a:p>
        </p:txBody>
      </p:sp>
      <p:sp>
        <p:nvSpPr>
          <p:cNvPr id="3" name="Title 2"/>
          <p:cNvSpPr>
            <a:spLocks noGrp="1"/>
          </p:cNvSpPr>
          <p:nvPr>
            <p:ph type="title"/>
          </p:nvPr>
        </p:nvSpPr>
        <p:spPr>
          <a:xfrm>
            <a:off x="407988" y="404813"/>
            <a:ext cx="10367962" cy="503238"/>
          </a:xfrm>
        </p:spPr>
        <p:txBody>
          <a:bodyPr/>
          <a:lstStyle/>
          <a:p>
            <a:r>
              <a:rPr lang="en-US"/>
              <a:t>Click to edit Master title style</a:t>
            </a:r>
            <a:endParaRPr lang="en-GB"/>
          </a:p>
        </p:txBody>
      </p:sp>
    </p:spTree>
    <p:extLst>
      <p:ext uri="{BB962C8B-B14F-4D97-AF65-F5344CB8AC3E}">
        <p14:creationId xmlns:p14="http://schemas.microsoft.com/office/powerpoint/2010/main" val="336049448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 and Content">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F2A177A9-CDEC-42F2-A14D-6C396451C9F3}" type="datetime3">
              <a:rPr lang="en-US" noProof="0" smtClean="0"/>
              <a:t>13 April 2022</a:t>
            </a:fld>
            <a:endParaRPr lang="en-US" noProof="0"/>
          </a:p>
        </p:txBody>
      </p:sp>
      <p:sp>
        <p:nvSpPr>
          <p:cNvPr id="12" name="Footer Placeholder 11"/>
          <p:cNvSpPr>
            <a:spLocks noGrp="1"/>
          </p:cNvSpPr>
          <p:nvPr>
            <p:ph type="ftr" sz="quarter" idx="15"/>
          </p:nvPr>
        </p:nvSpPr>
        <p:spPr/>
        <p:txBody>
          <a:bodyPr/>
          <a:lstStyle/>
          <a:p>
            <a:r>
              <a:rPr lang="en-US" noProof="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a:t>
            </a:fld>
            <a:endParaRPr lang="en-US" noProof="0"/>
          </a:p>
        </p:txBody>
      </p:sp>
      <p:sp>
        <p:nvSpPr>
          <p:cNvPr id="19" name="Text Placeholder 2"/>
          <p:cNvSpPr>
            <a:spLocks noGrp="1"/>
          </p:cNvSpPr>
          <p:nvPr>
            <p:ph type="body" idx="1"/>
          </p:nvPr>
        </p:nvSpPr>
        <p:spPr>
          <a:xfrm>
            <a:off x="409469" y="1628399"/>
            <a:ext cx="8710164" cy="360735"/>
          </a:xfrm>
          <a:prstGeom prst="rect">
            <a:avLst/>
          </a:prstGeom>
        </p:spPr>
        <p:txBody>
          <a:bodyPr anchor="t" anchorCtr="0"/>
          <a:lstStyle>
            <a:lvl1pPr marL="0" indent="0">
              <a:lnSpc>
                <a:spcPct val="100000"/>
              </a:lnSpc>
              <a:spcBef>
                <a:spcPts val="0"/>
              </a:spcBef>
              <a:buNone/>
              <a:defRPr sz="16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5" name="Chart Placeholder 4"/>
          <p:cNvSpPr>
            <a:spLocks noGrp="1"/>
          </p:cNvSpPr>
          <p:nvPr>
            <p:ph type="chart" sz="quarter" idx="19"/>
          </p:nvPr>
        </p:nvSpPr>
        <p:spPr>
          <a:xfrm>
            <a:off x="409468" y="1989133"/>
            <a:ext cx="8710165" cy="4246711"/>
          </a:xfrm>
          <a:prstGeom prst="rect">
            <a:avLst/>
          </a:prstGeom>
        </p:spPr>
        <p:txBody>
          <a:bodyPr/>
          <a:lstStyle>
            <a:lvl1pPr marL="0" indent="0">
              <a:buFontTx/>
              <a:buNone/>
              <a:defRPr/>
            </a:lvl1pPr>
          </a:lstStyle>
          <a:p>
            <a:r>
              <a:rPr lang="en-US"/>
              <a:t>Click icon to add chart</a:t>
            </a:r>
            <a:endParaRPr lang="en-GB"/>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cxnSp>
        <p:nvCxnSpPr>
          <p:cNvPr id="16" name="Straight Connector 15"/>
          <p:cNvCxnSpPr/>
          <p:nvPr userDrawn="1"/>
        </p:nvCxnSpPr>
        <p:spPr>
          <a:xfrm>
            <a:off x="9263615" y="1628399"/>
            <a:ext cx="0" cy="4607446"/>
          </a:xfrm>
          <a:prstGeom prst="line">
            <a:avLst/>
          </a:prstGeom>
          <a:ln w="31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2"/>
          <p:cNvSpPr>
            <a:spLocks noGrp="1"/>
          </p:cNvSpPr>
          <p:nvPr>
            <p:ph type="body" sz="quarter" idx="25"/>
          </p:nvPr>
        </p:nvSpPr>
        <p:spPr>
          <a:xfrm>
            <a:off x="9407597" y="1628399"/>
            <a:ext cx="2374935" cy="4607446"/>
          </a:xfrm>
          <a:prstGeom prst="rect">
            <a:avLst/>
          </a:prstGeom>
        </p:spPr>
        <p:txBody>
          <a:bodyPr/>
          <a:lstStyle>
            <a:lvl1pPr marL="0" indent="0">
              <a:lnSpc>
                <a:spcPct val="100000"/>
              </a:lnSpc>
              <a:spcBef>
                <a:spcPts val="400"/>
              </a:spcBef>
              <a:spcAft>
                <a:spcPts val="800"/>
              </a:spcAft>
              <a:buFontTx/>
              <a:buNone/>
              <a:defRPr sz="1800"/>
            </a:lvl1pPr>
            <a:lvl2pPr marL="266620" indent="-266620">
              <a:lnSpc>
                <a:spcPct val="100000"/>
              </a:lnSpc>
              <a:spcBef>
                <a:spcPts val="400"/>
              </a:spcBef>
              <a:buFont typeface="Wingdings" pitchFamily="2" charset="2"/>
              <a:buChar char="§"/>
              <a:defRPr sz="1600"/>
            </a:lvl2pPr>
            <a:lvl3pPr marL="539588" indent="-272968">
              <a:lnSpc>
                <a:spcPct val="100000"/>
              </a:lnSpc>
              <a:spcBef>
                <a:spcPts val="400"/>
              </a:spcBef>
              <a:defRPr/>
            </a:lvl3pPr>
            <a:lvl4pPr marL="806208" indent="-266620">
              <a:lnSpc>
                <a:spcPct val="100000"/>
              </a:lnSpc>
              <a:spcBef>
                <a:spcPts val="400"/>
              </a:spcBef>
              <a:defRPr/>
            </a:lvl4pPr>
            <a:lvl5pPr marL="1071242" indent="-265033">
              <a:lnSpc>
                <a:spcPct val="100000"/>
              </a:lnSpc>
              <a:spcBef>
                <a:spcPts val="400"/>
              </a:spcBef>
              <a:defRPr/>
            </a:lvl5pPr>
            <a:lvl6pPr marL="1345796" indent="-274556">
              <a:defRPr/>
            </a:lvl6pPr>
            <a:lvl7pPr marL="1612416" indent="-266620">
              <a:defRPr/>
            </a:lvl7pPr>
            <a:lvl8pPr marL="1877450" indent="-265033">
              <a:defRPr/>
            </a:lvl8pPr>
            <a:lvl9pPr marL="2152004" indent="-274556">
              <a:defRPr/>
            </a:lvl9pPr>
          </a:lstStyle>
          <a:p>
            <a:pPr lvl="0"/>
            <a:r>
              <a:rPr lang="en-US"/>
              <a:t>Edit Master text styles</a:t>
            </a:r>
          </a:p>
          <a:p>
            <a:pPr lvl="1"/>
            <a:r>
              <a:rPr lang="en-US"/>
              <a:t>Second level</a:t>
            </a:r>
          </a:p>
        </p:txBody>
      </p:sp>
      <p:sp>
        <p:nvSpPr>
          <p:cNvPr id="18" name="Text Placeholder 9"/>
          <p:cNvSpPr>
            <a:spLocks noGrp="1"/>
          </p:cNvSpPr>
          <p:nvPr>
            <p:ph type="body" sz="quarter" idx="22" hasCustomPrompt="1"/>
          </p:nvPr>
        </p:nvSpPr>
        <p:spPr>
          <a:xfrm>
            <a:off x="409468" y="6289185"/>
            <a:ext cx="453532" cy="91543"/>
          </a:xfrm>
          <a:prstGeom prst="rect">
            <a:avLst/>
          </a:prstGeom>
        </p:spPr>
        <p:txBody>
          <a:bodyPr wrap="none" anchor="b" anchorCtr="0">
            <a:spAutoFit/>
          </a:bodyPr>
          <a:lstStyle>
            <a:lvl1pPr marL="0" indent="0">
              <a:lnSpc>
                <a:spcPct val="85000"/>
              </a:lnSpc>
              <a:spcBef>
                <a:spcPts val="0"/>
              </a:spcBef>
              <a:buFontTx/>
              <a:buNone/>
              <a:defRPr sz="700" baseline="0">
                <a:solidFill>
                  <a:schemeClr val="bg2"/>
                </a:solidFill>
              </a:defRPr>
            </a:lvl1pPr>
            <a:lvl2pPr marL="266620" indent="0">
              <a:lnSpc>
                <a:spcPct val="100000"/>
              </a:lnSpc>
              <a:spcBef>
                <a:spcPts val="0"/>
              </a:spcBef>
              <a:buFontTx/>
              <a:buNone/>
              <a:defRPr sz="700">
                <a:solidFill>
                  <a:schemeClr val="bg2"/>
                </a:solidFill>
              </a:defRPr>
            </a:lvl2pPr>
            <a:lvl3pPr marL="539588" indent="0">
              <a:lnSpc>
                <a:spcPct val="100000"/>
              </a:lnSpc>
              <a:spcBef>
                <a:spcPts val="0"/>
              </a:spcBef>
              <a:buFontTx/>
              <a:buNone/>
              <a:defRPr sz="700">
                <a:solidFill>
                  <a:schemeClr val="bg2"/>
                </a:solidFill>
              </a:defRPr>
            </a:lvl3pPr>
            <a:lvl4pPr marL="806208" indent="0">
              <a:lnSpc>
                <a:spcPct val="100000"/>
              </a:lnSpc>
              <a:spcBef>
                <a:spcPts val="0"/>
              </a:spcBef>
              <a:buFontTx/>
              <a:buNone/>
              <a:defRPr sz="700">
                <a:solidFill>
                  <a:schemeClr val="bg2"/>
                </a:solidFill>
              </a:defRPr>
            </a:lvl4pPr>
            <a:lvl5pPr marL="1071241" indent="0">
              <a:lnSpc>
                <a:spcPct val="100000"/>
              </a:lnSpc>
              <a:spcBef>
                <a:spcPts val="0"/>
              </a:spcBef>
              <a:buFontTx/>
              <a:buNone/>
              <a:defRPr sz="700">
                <a:solidFill>
                  <a:schemeClr val="bg2"/>
                </a:solidFill>
              </a:defRPr>
            </a:lvl5pPr>
          </a:lstStyle>
          <a:p>
            <a:pPr lvl="0"/>
            <a:r>
              <a:rPr lang="en-US"/>
              <a:t>Add source</a:t>
            </a:r>
          </a:p>
        </p:txBody>
      </p:sp>
      <p:sp>
        <p:nvSpPr>
          <p:cNvPr id="3" name="Title 2"/>
          <p:cNvSpPr>
            <a:spLocks noGrp="1"/>
          </p:cNvSpPr>
          <p:nvPr>
            <p:ph type="title"/>
          </p:nvPr>
        </p:nvSpPr>
        <p:spPr>
          <a:xfrm>
            <a:off x="407988" y="404813"/>
            <a:ext cx="10367962" cy="503238"/>
          </a:xfrm>
        </p:spPr>
        <p:txBody>
          <a:bodyPr/>
          <a:lstStyle/>
          <a:p>
            <a:r>
              <a:rPr lang="en-US"/>
              <a:t>Click to edit Master title style</a:t>
            </a:r>
            <a:endParaRPr lang="en-GB"/>
          </a:p>
        </p:txBody>
      </p:sp>
    </p:spTree>
    <p:extLst>
      <p:ext uri="{BB962C8B-B14F-4D97-AF65-F5344CB8AC3E}">
        <p14:creationId xmlns:p14="http://schemas.microsoft.com/office/powerpoint/2010/main" val="343090283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Picture 1/2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77333ED9-C92A-4BF3-B488-A00FFEBA1EA4}" type="datetime3">
              <a:rPr lang="en-US" noProof="0" smtClean="0"/>
              <a:t>13 April 2022</a:t>
            </a:fld>
            <a:endParaRPr lang="en-US" noProof="0"/>
          </a:p>
        </p:txBody>
      </p:sp>
      <p:sp>
        <p:nvSpPr>
          <p:cNvPr id="9" name="Footer Placeholder 8"/>
          <p:cNvSpPr>
            <a:spLocks noGrp="1"/>
          </p:cNvSpPr>
          <p:nvPr>
            <p:ph type="ftr" sz="quarter" idx="11"/>
          </p:nvPr>
        </p:nvSpPr>
        <p:spPr/>
        <p:txBody>
          <a:bodyPr/>
          <a:lstStyle/>
          <a:p>
            <a:r>
              <a:rPr lang="en-US" noProof="0"/>
              <a:t>Confidential  |  © KONE Corporation</a:t>
            </a:r>
          </a:p>
        </p:txBody>
      </p:sp>
      <p:sp>
        <p:nvSpPr>
          <p:cNvPr id="10" name="Slide Number Placeholder 9"/>
          <p:cNvSpPr>
            <a:spLocks noGrp="1"/>
          </p:cNvSpPr>
          <p:nvPr>
            <p:ph type="sldNum" sz="quarter" idx="12"/>
          </p:nvPr>
        </p:nvSpPr>
        <p:spPr/>
        <p:txBody>
          <a:bodyPr/>
          <a:lstStyle/>
          <a:p>
            <a:fld id="{604FC64F-66B6-486E-8EFE-9FD96A66D16B}" type="slidenum">
              <a:rPr lang="en-US" noProof="0" smtClean="0"/>
              <a:pPr/>
              <a:t>‹#›</a:t>
            </a:fld>
            <a:endParaRPr lang="en-US" noProof="0"/>
          </a:p>
        </p:txBody>
      </p:sp>
      <p:sp>
        <p:nvSpPr>
          <p:cNvPr id="11" name="Content Placeholder 2"/>
          <p:cNvSpPr>
            <a:spLocks noGrp="1"/>
          </p:cNvSpPr>
          <p:nvPr>
            <p:ph idx="1"/>
          </p:nvPr>
        </p:nvSpPr>
        <p:spPr>
          <a:xfrm>
            <a:off x="409468" y="1628398"/>
            <a:ext cx="6262461" cy="460744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Picture Placeholder 5"/>
          <p:cNvSpPr>
            <a:spLocks noGrp="1"/>
          </p:cNvSpPr>
          <p:nvPr>
            <p:ph type="pic" sz="quarter" idx="13"/>
          </p:nvPr>
        </p:nvSpPr>
        <p:spPr>
          <a:xfrm>
            <a:off x="7031886" y="1628398"/>
            <a:ext cx="5160114" cy="4607446"/>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t>Click icon to add picture</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0434870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Picture 1/4">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598E6C25-B19D-4AF7-A5CA-2B12E0282906}" type="datetime3">
              <a:rPr lang="en-US" noProof="0" smtClean="0"/>
              <a:t>13 April 2022</a:t>
            </a:fld>
            <a:endParaRPr lang="en-US" noProof="0"/>
          </a:p>
        </p:txBody>
      </p:sp>
      <p:sp>
        <p:nvSpPr>
          <p:cNvPr id="9" name="Footer Placeholder 8"/>
          <p:cNvSpPr>
            <a:spLocks noGrp="1"/>
          </p:cNvSpPr>
          <p:nvPr>
            <p:ph type="ftr" sz="quarter" idx="11"/>
          </p:nvPr>
        </p:nvSpPr>
        <p:spPr/>
        <p:txBody>
          <a:bodyPr/>
          <a:lstStyle/>
          <a:p>
            <a:r>
              <a:rPr lang="en-US" noProof="0"/>
              <a:t>Confidential  |  © KONE Corporation</a:t>
            </a:r>
          </a:p>
        </p:txBody>
      </p:sp>
      <p:sp>
        <p:nvSpPr>
          <p:cNvPr id="10" name="Slide Number Placeholder 9"/>
          <p:cNvSpPr>
            <a:spLocks noGrp="1"/>
          </p:cNvSpPr>
          <p:nvPr>
            <p:ph type="sldNum" sz="quarter" idx="12"/>
          </p:nvPr>
        </p:nvSpPr>
        <p:spPr/>
        <p:txBody>
          <a:bodyPr/>
          <a:lstStyle/>
          <a:p>
            <a:fld id="{604FC64F-66B6-486E-8EFE-9FD96A66D16B}" type="slidenum">
              <a:rPr lang="en-US" noProof="0" smtClean="0"/>
              <a:pPr/>
              <a:t>‹#›</a:t>
            </a:fld>
            <a:endParaRPr lang="en-US" noProof="0"/>
          </a:p>
        </p:txBody>
      </p:sp>
      <p:sp>
        <p:nvSpPr>
          <p:cNvPr id="12" name="Content Placeholder 2"/>
          <p:cNvSpPr>
            <a:spLocks noGrp="1"/>
          </p:cNvSpPr>
          <p:nvPr>
            <p:ph idx="1"/>
          </p:nvPr>
        </p:nvSpPr>
        <p:spPr>
          <a:xfrm>
            <a:off x="3144359" y="1628398"/>
            <a:ext cx="8638173" cy="460744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4" name="Picture Placeholder 5"/>
          <p:cNvSpPr>
            <a:spLocks noGrp="1"/>
          </p:cNvSpPr>
          <p:nvPr>
            <p:ph type="pic" sz="quarter" idx="15"/>
          </p:nvPr>
        </p:nvSpPr>
        <p:spPr>
          <a:xfrm>
            <a:off x="0" y="1628398"/>
            <a:ext cx="2783750" cy="4607446"/>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t>Click icon to add picture</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0987885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Picture 1/4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A701A36A-6B99-4D19-B0EC-894F87E9BB55}" type="datetime3">
              <a:rPr lang="en-US" noProof="0" smtClean="0"/>
              <a:t>13 April 2022</a:t>
            </a:fld>
            <a:endParaRPr lang="en-US" noProof="0"/>
          </a:p>
        </p:txBody>
      </p:sp>
      <p:sp>
        <p:nvSpPr>
          <p:cNvPr id="9" name="Footer Placeholder 8"/>
          <p:cNvSpPr>
            <a:spLocks noGrp="1"/>
          </p:cNvSpPr>
          <p:nvPr>
            <p:ph type="ftr" sz="quarter" idx="11"/>
          </p:nvPr>
        </p:nvSpPr>
        <p:spPr/>
        <p:txBody>
          <a:bodyPr/>
          <a:lstStyle/>
          <a:p>
            <a:r>
              <a:rPr lang="en-US" noProof="0"/>
              <a:t>Confidential  |  © KONE Corporation</a:t>
            </a:r>
          </a:p>
        </p:txBody>
      </p:sp>
      <p:sp>
        <p:nvSpPr>
          <p:cNvPr id="10" name="Slide Number Placeholder 9"/>
          <p:cNvSpPr>
            <a:spLocks noGrp="1"/>
          </p:cNvSpPr>
          <p:nvPr>
            <p:ph type="sldNum" sz="quarter" idx="12"/>
          </p:nvPr>
        </p:nvSpPr>
        <p:spPr/>
        <p:txBody>
          <a:bodyPr/>
          <a:lstStyle/>
          <a:p>
            <a:fld id="{604FC64F-66B6-486E-8EFE-9FD96A66D16B}" type="slidenum">
              <a:rPr lang="en-US" noProof="0" smtClean="0"/>
              <a:pPr/>
              <a:t>‹#›</a:t>
            </a:fld>
            <a:endParaRPr lang="en-US" noProof="0"/>
          </a:p>
        </p:txBody>
      </p:sp>
      <p:sp>
        <p:nvSpPr>
          <p:cNvPr id="11" name="Content Placeholder 2"/>
          <p:cNvSpPr>
            <a:spLocks noGrp="1"/>
          </p:cNvSpPr>
          <p:nvPr>
            <p:ph idx="1"/>
          </p:nvPr>
        </p:nvSpPr>
        <p:spPr>
          <a:xfrm>
            <a:off x="409469" y="1628398"/>
            <a:ext cx="8638172" cy="460744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5" name="Picture Placeholder 5"/>
          <p:cNvSpPr>
            <a:spLocks noGrp="1"/>
          </p:cNvSpPr>
          <p:nvPr>
            <p:ph type="pic" sz="quarter" idx="14"/>
          </p:nvPr>
        </p:nvSpPr>
        <p:spPr>
          <a:xfrm>
            <a:off x="9408250" y="1628398"/>
            <a:ext cx="2783750" cy="4607446"/>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t>Click icon to add picture</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76886917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Highlight 1/4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D7CCD3EE-C862-403E-88DF-5B9F5A9BD29B}" type="datetime3">
              <a:rPr lang="en-US" noProof="0" smtClean="0"/>
              <a:t>13 April 2022</a:t>
            </a:fld>
            <a:endParaRPr lang="en-US" noProof="0"/>
          </a:p>
        </p:txBody>
      </p:sp>
      <p:sp>
        <p:nvSpPr>
          <p:cNvPr id="9" name="Footer Placeholder 8"/>
          <p:cNvSpPr>
            <a:spLocks noGrp="1"/>
          </p:cNvSpPr>
          <p:nvPr>
            <p:ph type="ftr" sz="quarter" idx="11"/>
          </p:nvPr>
        </p:nvSpPr>
        <p:spPr/>
        <p:txBody>
          <a:bodyPr/>
          <a:lstStyle/>
          <a:p>
            <a:r>
              <a:rPr lang="en-US" noProof="0"/>
              <a:t>Confidential  |  © KONE Corporation</a:t>
            </a:r>
          </a:p>
        </p:txBody>
      </p:sp>
      <p:sp>
        <p:nvSpPr>
          <p:cNvPr id="10" name="Slide Number Placeholder 9"/>
          <p:cNvSpPr>
            <a:spLocks noGrp="1"/>
          </p:cNvSpPr>
          <p:nvPr>
            <p:ph type="sldNum" sz="quarter" idx="12"/>
          </p:nvPr>
        </p:nvSpPr>
        <p:spPr/>
        <p:txBody>
          <a:bodyPr/>
          <a:lstStyle/>
          <a:p>
            <a:fld id="{604FC64F-66B6-486E-8EFE-9FD96A66D16B}" type="slidenum">
              <a:rPr lang="en-US" noProof="0" smtClean="0"/>
              <a:pPr/>
              <a:t>‹#›</a:t>
            </a:fld>
            <a:endParaRPr lang="en-US" noProof="0"/>
          </a:p>
        </p:txBody>
      </p:sp>
      <p:sp>
        <p:nvSpPr>
          <p:cNvPr id="11" name="Content Placeholder 2"/>
          <p:cNvSpPr>
            <a:spLocks noGrp="1"/>
          </p:cNvSpPr>
          <p:nvPr>
            <p:ph idx="1"/>
          </p:nvPr>
        </p:nvSpPr>
        <p:spPr>
          <a:xfrm>
            <a:off x="409469" y="1628398"/>
            <a:ext cx="8638172" cy="460744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2" name="Text Placeholder 3"/>
          <p:cNvSpPr>
            <a:spLocks noGrp="1"/>
          </p:cNvSpPr>
          <p:nvPr>
            <p:ph type="body" sz="quarter" idx="13" hasCustomPrompt="1"/>
          </p:nvPr>
        </p:nvSpPr>
        <p:spPr>
          <a:xfrm>
            <a:off x="9408250" y="1628398"/>
            <a:ext cx="2374282" cy="971071"/>
          </a:xfrm>
          <a:prstGeom prst="rect">
            <a:avLst/>
          </a:prstGeom>
          <a:solidFill>
            <a:srgbClr val="BFDCEE"/>
          </a:solidFill>
        </p:spPr>
        <p:txBody>
          <a:bodyPr lIns="179946" tIns="107968" rIns="179946" bIns="107968">
            <a:spAutoFit/>
          </a:bodyPr>
          <a:lstStyle>
            <a:lvl1pPr marL="0" indent="0">
              <a:spcBef>
                <a:spcPts val="400"/>
              </a:spcBef>
              <a:buNone/>
              <a:tabLst/>
              <a:defRPr>
                <a:solidFill>
                  <a:schemeClr val="tx2"/>
                </a:solidFill>
              </a:defRPr>
            </a:lvl1pPr>
            <a:lvl2pPr marL="266620" indent="-266620">
              <a:spcBef>
                <a:spcPts val="400"/>
              </a:spcBef>
              <a:buFont typeface="Wingdings" pitchFamily="2" charset="2"/>
              <a:buChar char="§"/>
              <a:defRPr>
                <a:solidFill>
                  <a:schemeClr val="tx2"/>
                </a:solidFill>
              </a:defRPr>
            </a:lvl2pPr>
            <a:lvl3pPr marL="539588" indent="0">
              <a:spcBef>
                <a:spcPts val="400"/>
              </a:spcBef>
              <a:buNone/>
              <a:defRPr>
                <a:solidFill>
                  <a:schemeClr val="tx2"/>
                </a:solidFill>
              </a:defRPr>
            </a:lvl3pPr>
          </a:lstStyle>
          <a:p>
            <a:pPr lvl="0"/>
            <a:r>
              <a:rPr lang="en-US"/>
              <a:t>Add Highlight</a:t>
            </a:r>
          </a:p>
          <a:p>
            <a:pPr lvl="1"/>
            <a:r>
              <a:rPr lang="en-US"/>
              <a:t>Second level</a:t>
            </a:r>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3650587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Highlight 1/3 R">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5D281166-5695-467D-80A9-59BA50F62302}" type="datetime3">
              <a:rPr lang="en-US" noProof="0" smtClean="0"/>
              <a:t>13 April 2022</a:t>
            </a:fld>
            <a:endParaRPr lang="en-US" noProof="0"/>
          </a:p>
        </p:txBody>
      </p:sp>
      <p:sp>
        <p:nvSpPr>
          <p:cNvPr id="9" name="Footer Placeholder 8"/>
          <p:cNvSpPr>
            <a:spLocks noGrp="1"/>
          </p:cNvSpPr>
          <p:nvPr>
            <p:ph type="ftr" sz="quarter" idx="11"/>
          </p:nvPr>
        </p:nvSpPr>
        <p:spPr/>
        <p:txBody>
          <a:bodyPr/>
          <a:lstStyle/>
          <a:p>
            <a:r>
              <a:rPr lang="en-US" noProof="0"/>
              <a:t>Confidential  |  © KONE Corporation</a:t>
            </a:r>
          </a:p>
        </p:txBody>
      </p:sp>
      <p:sp>
        <p:nvSpPr>
          <p:cNvPr id="10" name="Slide Number Placeholder 9"/>
          <p:cNvSpPr>
            <a:spLocks noGrp="1"/>
          </p:cNvSpPr>
          <p:nvPr>
            <p:ph type="sldNum" sz="quarter" idx="12"/>
          </p:nvPr>
        </p:nvSpPr>
        <p:spPr/>
        <p:txBody>
          <a:bodyPr/>
          <a:lstStyle/>
          <a:p>
            <a:fld id="{604FC64F-66B6-486E-8EFE-9FD96A66D16B}" type="slidenum">
              <a:rPr lang="en-US" noProof="0" smtClean="0"/>
              <a:pPr/>
              <a:t>‹#›</a:t>
            </a:fld>
            <a:endParaRPr lang="en-US" noProof="0"/>
          </a:p>
        </p:txBody>
      </p:sp>
      <p:sp>
        <p:nvSpPr>
          <p:cNvPr id="11" name="Content Placeholder 2"/>
          <p:cNvSpPr>
            <a:spLocks noGrp="1"/>
          </p:cNvSpPr>
          <p:nvPr>
            <p:ph idx="1"/>
          </p:nvPr>
        </p:nvSpPr>
        <p:spPr>
          <a:xfrm>
            <a:off x="409468" y="1628398"/>
            <a:ext cx="7414321" cy="460744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3" name="Text Placeholder 3"/>
          <p:cNvSpPr>
            <a:spLocks noGrp="1"/>
          </p:cNvSpPr>
          <p:nvPr>
            <p:ph type="body" sz="quarter" idx="14" hasCustomPrompt="1"/>
          </p:nvPr>
        </p:nvSpPr>
        <p:spPr>
          <a:xfrm>
            <a:off x="8183469" y="1628396"/>
            <a:ext cx="3599063" cy="971071"/>
          </a:xfrm>
          <a:prstGeom prst="rect">
            <a:avLst/>
          </a:prstGeom>
          <a:solidFill>
            <a:srgbClr val="BFDCEE"/>
          </a:solidFill>
        </p:spPr>
        <p:txBody>
          <a:bodyPr lIns="179946" tIns="107968" rIns="179946" bIns="107968">
            <a:spAutoFit/>
          </a:bodyPr>
          <a:lstStyle>
            <a:lvl1pPr marL="0" indent="0">
              <a:spcBef>
                <a:spcPts val="400"/>
              </a:spcBef>
              <a:buNone/>
              <a:tabLst/>
              <a:defRPr>
                <a:solidFill>
                  <a:schemeClr val="tx2"/>
                </a:solidFill>
              </a:defRPr>
            </a:lvl1pPr>
            <a:lvl2pPr marL="266620" indent="-266620">
              <a:spcBef>
                <a:spcPts val="400"/>
              </a:spcBef>
              <a:buFont typeface="Wingdings" pitchFamily="2" charset="2"/>
              <a:buChar char="§"/>
              <a:defRPr>
                <a:solidFill>
                  <a:schemeClr val="tx2"/>
                </a:solidFill>
              </a:defRPr>
            </a:lvl2pPr>
            <a:lvl3pPr marL="539588" indent="0">
              <a:spcBef>
                <a:spcPts val="400"/>
              </a:spcBef>
              <a:buNone/>
              <a:defRPr>
                <a:solidFill>
                  <a:schemeClr val="tx2"/>
                </a:solidFill>
              </a:defRPr>
            </a:lvl3pPr>
          </a:lstStyle>
          <a:p>
            <a:pPr lvl="0"/>
            <a:r>
              <a:rPr lang="en-US"/>
              <a:t>Add Highlight</a:t>
            </a:r>
          </a:p>
          <a:p>
            <a:pPr lvl="1"/>
            <a:r>
              <a:rPr lang="en-US"/>
              <a:t>Second level</a:t>
            </a:r>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3317745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ent with Half Picture">
    <p:spTree>
      <p:nvGrpSpPr>
        <p:cNvPr id="1" name=""/>
        <p:cNvGrpSpPr/>
        <p:nvPr/>
      </p:nvGrpSpPr>
      <p:grpSpPr>
        <a:xfrm>
          <a:off x="0" y="0"/>
          <a:ext cx="0" cy="0"/>
          <a:chOff x="0" y="0"/>
          <a:chExt cx="0" cy="0"/>
        </a:xfrm>
      </p:grpSpPr>
      <p:sp>
        <p:nvSpPr>
          <p:cNvPr id="5" name="Footer Placeholder 4"/>
          <p:cNvSpPr>
            <a:spLocks noGrp="1"/>
          </p:cNvSpPr>
          <p:nvPr>
            <p:ph type="ftr" sz="quarter" idx="15"/>
          </p:nvPr>
        </p:nvSpPr>
        <p:spPr/>
        <p:txBody>
          <a:bodyPr/>
          <a:lstStyle>
            <a:lvl1pPr>
              <a:defRPr>
                <a:noFill/>
              </a:defRPr>
            </a:lvl1pPr>
          </a:lstStyle>
          <a:p>
            <a:r>
              <a:rPr lang="en-US"/>
              <a:t>Confidential  |  © KONE Corporation</a:t>
            </a:r>
          </a:p>
        </p:txBody>
      </p:sp>
      <p:sp>
        <p:nvSpPr>
          <p:cNvPr id="6" name="Picture Placeholder 5" title="for lifts only"/>
          <p:cNvSpPr>
            <a:spLocks noGrp="1"/>
          </p:cNvSpPr>
          <p:nvPr>
            <p:ph type="pic" sz="quarter" idx="13"/>
          </p:nvPr>
        </p:nvSpPr>
        <p:spPr>
          <a:xfrm>
            <a:off x="6096001" y="0"/>
            <a:ext cx="6096000"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t>Click icon to add picture</a:t>
            </a:r>
            <a:endParaRPr lang="en-GB"/>
          </a:p>
        </p:txBody>
      </p:sp>
      <p:sp>
        <p:nvSpPr>
          <p:cNvPr id="11" name="Title 10"/>
          <p:cNvSpPr>
            <a:spLocks noGrp="1"/>
          </p:cNvSpPr>
          <p:nvPr>
            <p:ph type="title"/>
          </p:nvPr>
        </p:nvSpPr>
        <p:spPr>
          <a:xfrm>
            <a:off x="409469" y="404719"/>
            <a:ext cx="5470507" cy="504001"/>
          </a:xfrm>
          <a:prstGeom prst="rect">
            <a:avLst/>
          </a:prstGeom>
        </p:spPr>
        <p:txBody>
          <a:bodyPr/>
          <a:lstStyle/>
          <a:p>
            <a:r>
              <a:rPr lang="en-US"/>
              <a:t>Click to edit Master title style</a:t>
            </a:r>
            <a:endParaRPr lang="en-GB"/>
          </a:p>
        </p:txBody>
      </p:sp>
      <p:sp>
        <p:nvSpPr>
          <p:cNvPr id="13" name="Content Placeholder 2"/>
          <p:cNvSpPr>
            <a:spLocks noGrp="1"/>
          </p:cNvSpPr>
          <p:nvPr>
            <p:ph idx="1"/>
          </p:nvPr>
        </p:nvSpPr>
        <p:spPr>
          <a:xfrm>
            <a:off x="409469" y="1628398"/>
            <a:ext cx="5470506" cy="460744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3" name="Date Placeholder 2"/>
          <p:cNvSpPr>
            <a:spLocks noGrp="1"/>
          </p:cNvSpPr>
          <p:nvPr>
            <p:ph type="dt" sz="half" idx="14"/>
          </p:nvPr>
        </p:nvSpPr>
        <p:spPr/>
        <p:txBody>
          <a:bodyPr/>
          <a:lstStyle/>
          <a:p>
            <a:fld id="{682A85A7-57AB-493D-B3F0-663807043AA0}" type="datetime3">
              <a:rPr lang="en-US" smtClean="0"/>
              <a:t>13 April 2022</a:t>
            </a:fld>
            <a:endParaRPr lang="en-US"/>
          </a:p>
        </p:txBody>
      </p:sp>
      <p:sp>
        <p:nvSpPr>
          <p:cNvPr id="7" name="Slide Number Placeholder 6"/>
          <p:cNvSpPr>
            <a:spLocks noGrp="1"/>
          </p:cNvSpPr>
          <p:nvPr>
            <p:ph type="sldNum" sz="quarter" idx="16"/>
          </p:nvPr>
        </p:nvSpPr>
        <p:spPr/>
        <p:txBody>
          <a:bodyPr/>
          <a:lstStyle/>
          <a:p>
            <a:fld id="{604FC64F-66B6-486E-8EFE-9FD96A66D16B}" type="slidenum">
              <a:rPr lang="en-US" smtClean="0"/>
              <a:pPr/>
              <a:t>‹#›</a:t>
            </a:fld>
            <a:endParaRPr lang="en-US"/>
          </a:p>
        </p:txBody>
      </p:sp>
      <p:sp>
        <p:nvSpPr>
          <p:cNvPr id="8" name="Text Placeholder 2"/>
          <p:cNvSpPr>
            <a:spLocks noGrp="1"/>
          </p:cNvSpPr>
          <p:nvPr>
            <p:ph type="body" idx="17"/>
          </p:nvPr>
        </p:nvSpPr>
        <p:spPr>
          <a:xfrm>
            <a:off x="409469" y="909233"/>
            <a:ext cx="5470508"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Tree>
    <p:extLst>
      <p:ext uri="{BB962C8B-B14F-4D97-AF65-F5344CB8AC3E}">
        <p14:creationId xmlns:p14="http://schemas.microsoft.com/office/powerpoint/2010/main" val="333927991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Content with Half Picture">
    <p:spTree>
      <p:nvGrpSpPr>
        <p:cNvPr id="1" name=""/>
        <p:cNvGrpSpPr/>
        <p:nvPr/>
      </p:nvGrpSpPr>
      <p:grpSpPr>
        <a:xfrm>
          <a:off x="0" y="0"/>
          <a:ext cx="0" cy="0"/>
          <a:chOff x="0" y="0"/>
          <a:chExt cx="0" cy="0"/>
        </a:xfrm>
      </p:grpSpPr>
      <p:sp>
        <p:nvSpPr>
          <p:cNvPr id="5" name="Footer Placeholder 4"/>
          <p:cNvSpPr>
            <a:spLocks noGrp="1"/>
          </p:cNvSpPr>
          <p:nvPr>
            <p:ph type="ftr" sz="quarter" idx="15"/>
          </p:nvPr>
        </p:nvSpPr>
        <p:spPr/>
        <p:txBody>
          <a:bodyPr/>
          <a:lstStyle>
            <a:lvl1pPr>
              <a:defRPr>
                <a:noFill/>
              </a:defRPr>
            </a:lvl1pPr>
          </a:lstStyle>
          <a:p>
            <a:r>
              <a:rPr lang="en-US"/>
              <a:t>Confidential  |  © KONE Corporation</a:t>
            </a:r>
          </a:p>
        </p:txBody>
      </p:sp>
      <p:sp>
        <p:nvSpPr>
          <p:cNvPr id="6" name="Picture Placeholder 5" title="for lifts only"/>
          <p:cNvSpPr>
            <a:spLocks noGrp="1"/>
          </p:cNvSpPr>
          <p:nvPr>
            <p:ph type="pic" sz="quarter" idx="13"/>
          </p:nvPr>
        </p:nvSpPr>
        <p:spPr>
          <a:xfrm>
            <a:off x="7029539" y="0"/>
            <a:ext cx="5162461"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t>Click icon to add picture</a:t>
            </a:r>
            <a:endParaRPr lang="en-GB"/>
          </a:p>
        </p:txBody>
      </p:sp>
      <p:sp>
        <p:nvSpPr>
          <p:cNvPr id="11" name="Title 10"/>
          <p:cNvSpPr>
            <a:spLocks noGrp="1"/>
          </p:cNvSpPr>
          <p:nvPr>
            <p:ph type="title"/>
          </p:nvPr>
        </p:nvSpPr>
        <p:spPr>
          <a:xfrm>
            <a:off x="409469" y="404719"/>
            <a:ext cx="6262462" cy="863400"/>
          </a:xfrm>
          <a:prstGeom prst="rect">
            <a:avLst/>
          </a:prstGeom>
        </p:spPr>
        <p:txBody>
          <a:bodyPr/>
          <a:lstStyle/>
          <a:p>
            <a:r>
              <a:rPr lang="en-US"/>
              <a:t>Click to edit Master title style</a:t>
            </a:r>
            <a:endParaRPr lang="en-GB"/>
          </a:p>
        </p:txBody>
      </p:sp>
      <p:sp>
        <p:nvSpPr>
          <p:cNvPr id="13" name="Content Placeholder 2"/>
          <p:cNvSpPr>
            <a:spLocks noGrp="1"/>
          </p:cNvSpPr>
          <p:nvPr>
            <p:ph idx="1"/>
          </p:nvPr>
        </p:nvSpPr>
        <p:spPr>
          <a:xfrm>
            <a:off x="409468" y="1628398"/>
            <a:ext cx="6262461" cy="460744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3" name="Date Placeholder 2"/>
          <p:cNvSpPr>
            <a:spLocks noGrp="1"/>
          </p:cNvSpPr>
          <p:nvPr>
            <p:ph type="dt" sz="half" idx="14"/>
          </p:nvPr>
        </p:nvSpPr>
        <p:spPr/>
        <p:txBody>
          <a:bodyPr/>
          <a:lstStyle/>
          <a:p>
            <a:fld id="{5C8EA09C-74A4-4EEE-B3E9-D46C36BDC8BF}" type="datetime3">
              <a:rPr lang="en-US" smtClean="0"/>
              <a:t>13 April 2022</a:t>
            </a:fld>
            <a:endParaRPr lang="en-US"/>
          </a:p>
        </p:txBody>
      </p:sp>
      <p:sp>
        <p:nvSpPr>
          <p:cNvPr id="7" name="Slide Number Placeholder 6"/>
          <p:cNvSpPr>
            <a:spLocks noGrp="1"/>
          </p:cNvSpPr>
          <p:nvPr>
            <p:ph type="sldNum" sz="quarter" idx="16"/>
          </p:nvPr>
        </p:nvSpPr>
        <p:spPr/>
        <p:txBody>
          <a:bodyPr/>
          <a:lstStyle/>
          <a:p>
            <a:fld id="{604FC64F-66B6-486E-8EFE-9FD96A66D16B}" type="slidenum">
              <a:rPr lang="en-US" smtClean="0"/>
              <a:pPr/>
              <a:t>‹#›</a:t>
            </a:fld>
            <a:endParaRPr lang="en-US"/>
          </a:p>
        </p:txBody>
      </p:sp>
    </p:spTree>
    <p:extLst>
      <p:ext uri="{BB962C8B-B14F-4D97-AF65-F5344CB8AC3E}">
        <p14:creationId xmlns:p14="http://schemas.microsoft.com/office/powerpoint/2010/main" val="121033661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with Sub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09468" y="1628398"/>
            <a:ext cx="10365265" cy="4607446"/>
          </a:xfrm>
          <a:prstGeom prst="rect">
            <a:avLst/>
          </a:prstGeom>
        </p:spPr>
        <p:txBody>
          <a:bodyPr/>
          <a:lstStyle>
            <a:lvl1pPr>
              <a:lnSpc>
                <a:spcPct val="120000"/>
              </a:lnSpc>
              <a:defRPr/>
            </a:lvl1pPr>
            <a:lvl2pPr>
              <a:lnSpc>
                <a:spcPct val="120000"/>
              </a:lnSpc>
              <a:defRPr/>
            </a:lvl2pPr>
            <a:lvl3pPr>
              <a:lnSpc>
                <a:spcPct val="120000"/>
              </a:lnSpc>
              <a:defRPr/>
            </a:lvl3pPr>
            <a:lvl4pPr>
              <a:lnSpc>
                <a:spcPct val="120000"/>
              </a:lnSpc>
              <a:defRPr/>
            </a:lvl4pPr>
            <a:lvl5pPr>
              <a:lnSpc>
                <a:spcPct val="12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p:cNvSpPr>
            <a:spLocks noGrp="1"/>
          </p:cNvSpPr>
          <p:nvPr>
            <p:ph type="dt" sz="half" idx="10"/>
          </p:nvPr>
        </p:nvSpPr>
        <p:spPr/>
        <p:txBody>
          <a:bodyPr/>
          <a:lstStyle/>
          <a:p>
            <a:fld id="{D3DC21D2-B669-477A-AC5A-45A80FB3B66E}" type="datetime3">
              <a:rPr lang="en-US" noProof="0" smtClean="0"/>
              <a:t>13 April 2022</a:t>
            </a:fld>
            <a:endParaRPr lang="en-US" noProof="0"/>
          </a:p>
        </p:txBody>
      </p:sp>
      <p:sp>
        <p:nvSpPr>
          <p:cNvPr id="8" name="Footer Placeholder 7"/>
          <p:cNvSpPr>
            <a:spLocks noGrp="1"/>
          </p:cNvSpPr>
          <p:nvPr>
            <p:ph type="ftr" sz="quarter" idx="11"/>
          </p:nvPr>
        </p:nvSpPr>
        <p:spPr/>
        <p:txBody>
          <a:bodyPr/>
          <a:lstStyle/>
          <a:p>
            <a:r>
              <a:rPr lang="en-US" noProof="0"/>
              <a:t>Confidential  |  © KONE Corporation</a:t>
            </a:r>
          </a:p>
        </p:txBody>
      </p:sp>
      <p:sp>
        <p:nvSpPr>
          <p:cNvPr id="9" name="Slide Number Placeholder 8"/>
          <p:cNvSpPr>
            <a:spLocks noGrp="1"/>
          </p:cNvSpPr>
          <p:nvPr>
            <p:ph type="sldNum" sz="quarter" idx="12"/>
          </p:nvPr>
        </p:nvSpPr>
        <p:spPr/>
        <p:txBody>
          <a:bodyPr/>
          <a:lstStyle/>
          <a:p>
            <a:fld id="{604FC64F-66B6-486E-8EFE-9FD96A66D16B}" type="slidenum">
              <a:rPr lang="en-US" noProof="0" smtClean="0"/>
              <a:pPr/>
              <a:t>‹#›</a:t>
            </a:fld>
            <a:endParaRPr lang="en-US" noProof="0"/>
          </a:p>
        </p:txBody>
      </p:sp>
      <p:sp>
        <p:nvSpPr>
          <p:cNvPr id="10" name="Text Placeholder 2"/>
          <p:cNvSpPr>
            <a:spLocks noGrp="1"/>
          </p:cNvSpPr>
          <p:nvPr>
            <p:ph type="body" idx="13"/>
          </p:nvPr>
        </p:nvSpPr>
        <p:spPr>
          <a:xfrm>
            <a:off x="409468" y="909233"/>
            <a:ext cx="10364951" cy="431960"/>
          </a:xfrm>
          <a:prstGeom prst="rect">
            <a:avLst/>
          </a:prstGeom>
        </p:spPr>
        <p:txBody>
          <a:bodyPr lIns="0" tIns="0" rIns="0" bIns="0" anchor="t" anchorCtr="0">
            <a:noAutofit/>
          </a:bodyPr>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2" name="Title 1"/>
          <p:cNvSpPr>
            <a:spLocks noGrp="1"/>
          </p:cNvSpPr>
          <p:nvPr>
            <p:ph type="title"/>
          </p:nvPr>
        </p:nvSpPr>
        <p:spPr>
          <a:xfrm>
            <a:off x="409469" y="404720"/>
            <a:ext cx="10365264" cy="504514"/>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345594656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ent with 1/3 Picture">
    <p:spTree>
      <p:nvGrpSpPr>
        <p:cNvPr id="1" name=""/>
        <p:cNvGrpSpPr/>
        <p:nvPr/>
      </p:nvGrpSpPr>
      <p:grpSpPr>
        <a:xfrm>
          <a:off x="0" y="0"/>
          <a:ext cx="0" cy="0"/>
          <a:chOff x="0" y="0"/>
          <a:chExt cx="0" cy="0"/>
        </a:xfrm>
      </p:grpSpPr>
      <p:sp>
        <p:nvSpPr>
          <p:cNvPr id="5" name="Footer Placeholder 4"/>
          <p:cNvSpPr>
            <a:spLocks noGrp="1"/>
          </p:cNvSpPr>
          <p:nvPr>
            <p:ph type="ftr" sz="quarter" idx="15"/>
          </p:nvPr>
        </p:nvSpPr>
        <p:spPr/>
        <p:txBody>
          <a:bodyPr/>
          <a:lstStyle>
            <a:lvl1pPr>
              <a:defRPr>
                <a:noFill/>
              </a:defRPr>
            </a:lvl1pPr>
          </a:lstStyle>
          <a:p>
            <a:r>
              <a:rPr lang="en-US"/>
              <a:t>Confidential  |  © KONE Corporation</a:t>
            </a:r>
          </a:p>
        </p:txBody>
      </p:sp>
      <p:sp>
        <p:nvSpPr>
          <p:cNvPr id="6" name="Picture Placeholder 5" title="for lifts only"/>
          <p:cNvSpPr>
            <a:spLocks noGrp="1"/>
          </p:cNvSpPr>
          <p:nvPr>
            <p:ph type="pic" sz="quarter" idx="13"/>
          </p:nvPr>
        </p:nvSpPr>
        <p:spPr>
          <a:xfrm>
            <a:off x="8327446" y="0"/>
            <a:ext cx="3864555" cy="6858000"/>
          </a:xfrm>
          <a:prstGeom prst="rect">
            <a:avLst/>
          </a:prstGeom>
          <a:solidFill>
            <a:schemeClr val="bg1">
              <a:lumMod val="75000"/>
            </a:schemeClr>
          </a:solidFill>
        </p:spPr>
        <p:txBody>
          <a:bodyPr/>
          <a:lstStyle>
            <a:lvl1pPr marL="0" marR="0" indent="0" algn="l"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t>Click icon to add picture</a:t>
            </a:r>
            <a:endParaRPr lang="en-GB"/>
          </a:p>
        </p:txBody>
      </p:sp>
      <p:sp>
        <p:nvSpPr>
          <p:cNvPr id="11" name="Title 10"/>
          <p:cNvSpPr>
            <a:spLocks noGrp="1"/>
          </p:cNvSpPr>
          <p:nvPr>
            <p:ph type="title"/>
          </p:nvPr>
        </p:nvSpPr>
        <p:spPr>
          <a:xfrm>
            <a:off x="409469" y="404719"/>
            <a:ext cx="7558304" cy="863400"/>
          </a:xfrm>
          <a:prstGeom prst="rect">
            <a:avLst/>
          </a:prstGeom>
        </p:spPr>
        <p:txBody>
          <a:bodyPr/>
          <a:lstStyle/>
          <a:p>
            <a:r>
              <a:rPr lang="en-US"/>
              <a:t>Click to edit Master title style</a:t>
            </a:r>
            <a:endParaRPr lang="en-GB"/>
          </a:p>
        </p:txBody>
      </p:sp>
      <p:sp>
        <p:nvSpPr>
          <p:cNvPr id="13" name="Content Placeholder 2"/>
          <p:cNvSpPr>
            <a:spLocks noGrp="1"/>
          </p:cNvSpPr>
          <p:nvPr>
            <p:ph idx="1"/>
          </p:nvPr>
        </p:nvSpPr>
        <p:spPr>
          <a:xfrm>
            <a:off x="409469" y="1628398"/>
            <a:ext cx="7558303" cy="460744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3" name="Date Placeholder 2"/>
          <p:cNvSpPr>
            <a:spLocks noGrp="1"/>
          </p:cNvSpPr>
          <p:nvPr>
            <p:ph type="dt" sz="half" idx="14"/>
          </p:nvPr>
        </p:nvSpPr>
        <p:spPr/>
        <p:txBody>
          <a:bodyPr/>
          <a:lstStyle/>
          <a:p>
            <a:fld id="{518DF5AB-27AA-4295-AA54-95A971AAB68E}" type="datetime3">
              <a:rPr lang="en-US" smtClean="0"/>
              <a:t>13 April 2022</a:t>
            </a:fld>
            <a:endParaRPr lang="en-US"/>
          </a:p>
        </p:txBody>
      </p:sp>
      <p:sp>
        <p:nvSpPr>
          <p:cNvPr id="7" name="Slide Number Placeholder 6"/>
          <p:cNvSpPr>
            <a:spLocks noGrp="1"/>
          </p:cNvSpPr>
          <p:nvPr>
            <p:ph type="sldNum" sz="quarter" idx="16"/>
          </p:nvPr>
        </p:nvSpPr>
        <p:spPr/>
        <p:txBody>
          <a:bodyPr/>
          <a:lstStyle/>
          <a:p>
            <a:fld id="{604FC64F-66B6-486E-8EFE-9FD96A66D16B}" type="slidenum">
              <a:rPr lang="en-US" smtClean="0"/>
              <a:pPr/>
              <a:t>‹#›</a:t>
            </a:fld>
            <a:endParaRPr lang="en-US"/>
          </a:p>
        </p:txBody>
      </p:sp>
    </p:spTree>
    <p:extLst>
      <p:ext uri="{BB962C8B-B14F-4D97-AF65-F5344CB8AC3E}">
        <p14:creationId xmlns:p14="http://schemas.microsoft.com/office/powerpoint/2010/main" val="383988277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fld id="{02B319C7-3C29-49CD-94E8-40E162129E55}" type="datetime3">
              <a:rPr lang="en-US" noProof="0" smtClean="0"/>
              <a:t>13 April 2022</a:t>
            </a:fld>
            <a:endParaRPr lang="en-US" noProof="0"/>
          </a:p>
        </p:txBody>
      </p:sp>
      <p:sp>
        <p:nvSpPr>
          <p:cNvPr id="7" name="Footer Placeholder 6"/>
          <p:cNvSpPr>
            <a:spLocks noGrp="1"/>
          </p:cNvSpPr>
          <p:nvPr>
            <p:ph type="ftr" sz="quarter" idx="11"/>
          </p:nvPr>
        </p:nvSpPr>
        <p:spPr/>
        <p:txBody>
          <a:bodyPr/>
          <a:lstStyle/>
          <a:p>
            <a:r>
              <a:rPr lang="en-US" noProof="0"/>
              <a:t>Confidential  |  © KONE Corporation</a:t>
            </a:r>
          </a:p>
        </p:txBody>
      </p:sp>
      <p:sp>
        <p:nvSpPr>
          <p:cNvPr id="8" name="Slide Number Placeholder 7"/>
          <p:cNvSpPr>
            <a:spLocks noGrp="1"/>
          </p:cNvSpPr>
          <p:nvPr>
            <p:ph type="sldNum" sz="quarter" idx="12"/>
          </p:nvPr>
        </p:nvSpPr>
        <p:spPr/>
        <p:txBody>
          <a:bodyPr/>
          <a:lstStyle/>
          <a:p>
            <a:fld id="{604FC64F-66B6-486E-8EFE-9FD96A66D16B}" type="slidenum">
              <a:rPr lang="en-US" noProof="0" smtClean="0"/>
              <a:pPr/>
              <a:t>‹#›</a:t>
            </a:fld>
            <a:endParaRPr lang="en-US" noProof="0"/>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24700968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hort Text">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409469" y="2635708"/>
            <a:ext cx="11373063" cy="1727840"/>
          </a:xfrm>
          <a:prstGeom prst="rect">
            <a:avLst/>
          </a:prstGeom>
        </p:spPr>
        <p:txBody>
          <a:bodyPr anchor="ctr" anchorCtr="0"/>
          <a:lstStyle>
            <a:lvl1pPr algn="ctr">
              <a:defRPr sz="4600" cap="none" spc="-50" baseline="0">
                <a:solidFill>
                  <a:schemeClr val="tx2"/>
                </a:solidFill>
                <a:effectLst/>
              </a:defRPr>
            </a:lvl1pPr>
          </a:lstStyle>
          <a:p>
            <a:pPr lvl="0"/>
            <a:r>
              <a:rPr lang="en-US" noProof="0"/>
              <a:t>Click to edit Master title style</a:t>
            </a:r>
          </a:p>
        </p:txBody>
      </p:sp>
      <p:sp>
        <p:nvSpPr>
          <p:cNvPr id="2" name="Date Placeholder 1"/>
          <p:cNvSpPr>
            <a:spLocks noGrp="1"/>
          </p:cNvSpPr>
          <p:nvPr>
            <p:ph type="dt" sz="half" idx="14"/>
          </p:nvPr>
        </p:nvSpPr>
        <p:spPr/>
        <p:txBody>
          <a:bodyPr/>
          <a:lstStyle>
            <a:lvl1pPr>
              <a:defRPr>
                <a:solidFill>
                  <a:schemeClr val="bg1"/>
                </a:solidFill>
              </a:defRPr>
            </a:lvl1pPr>
          </a:lstStyle>
          <a:p>
            <a:fld id="{A1069F7E-7680-4D9D-89EC-AC6D49A9E816}" type="datetime3">
              <a:rPr lang="en-US" smtClean="0"/>
              <a:t>13 April 2022</a:t>
            </a:fld>
            <a:endParaRPr lang="en-US"/>
          </a:p>
        </p:txBody>
      </p:sp>
      <p:sp>
        <p:nvSpPr>
          <p:cNvPr id="3" name="Footer Placeholder 2"/>
          <p:cNvSpPr>
            <a:spLocks noGrp="1"/>
          </p:cNvSpPr>
          <p:nvPr>
            <p:ph type="ftr" sz="quarter" idx="15"/>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6"/>
          </p:nvPr>
        </p:nvSpPr>
        <p:spPr/>
        <p:txBody>
          <a:bodyPr/>
          <a:lstStyle>
            <a:lvl1pPr>
              <a:defRPr>
                <a:solidFill>
                  <a:schemeClr val="bg1"/>
                </a:solidFill>
              </a:defRPr>
            </a:lvl1pPr>
          </a:lstStyle>
          <a:p>
            <a:fld id="{604FC64F-66B6-486E-8EFE-9FD96A66D16B}" type="slidenum">
              <a:rPr lang="en-US" smtClean="0"/>
              <a:pPr/>
              <a:t>‹#›</a:t>
            </a:fld>
            <a:endParaRPr lang="en-US"/>
          </a:p>
        </p:txBody>
      </p:sp>
    </p:spTree>
    <p:extLst>
      <p:ext uri="{BB962C8B-B14F-4D97-AF65-F5344CB8AC3E}">
        <p14:creationId xmlns:p14="http://schemas.microsoft.com/office/powerpoint/2010/main" val="170474552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hort Text Blue">
    <p:bg>
      <p:bgPr>
        <a:solidFill>
          <a:schemeClr val="tx2"/>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409468" y="2635708"/>
            <a:ext cx="11373064" cy="1727840"/>
          </a:xfrm>
          <a:prstGeom prst="rect">
            <a:avLst/>
          </a:prstGeom>
        </p:spPr>
        <p:txBody>
          <a:bodyPr anchor="ctr" anchorCtr="0"/>
          <a:lstStyle>
            <a:lvl1pPr algn="ctr">
              <a:defRPr sz="4600" cap="none" spc="-50" baseline="0">
                <a:solidFill>
                  <a:schemeClr val="bg1"/>
                </a:solidFill>
                <a:effectLst/>
              </a:defRPr>
            </a:lvl1pPr>
          </a:lstStyle>
          <a:p>
            <a:pPr lvl="0"/>
            <a:r>
              <a:rPr lang="en-US" noProof="0"/>
              <a:t>Click to edit Master title style</a:t>
            </a:r>
          </a:p>
        </p:txBody>
      </p:sp>
      <p:sp>
        <p:nvSpPr>
          <p:cNvPr id="2" name="Date Placeholder 1"/>
          <p:cNvSpPr>
            <a:spLocks noGrp="1"/>
          </p:cNvSpPr>
          <p:nvPr>
            <p:ph type="dt" sz="half" idx="14"/>
          </p:nvPr>
        </p:nvSpPr>
        <p:spPr/>
        <p:txBody>
          <a:bodyPr/>
          <a:lstStyle>
            <a:lvl1pPr>
              <a:defRPr>
                <a:solidFill>
                  <a:schemeClr val="tx2"/>
                </a:solidFill>
              </a:defRPr>
            </a:lvl1pPr>
          </a:lstStyle>
          <a:p>
            <a:fld id="{E686105E-130F-43C5-84DE-A2AD6AA4C054}" type="datetime3">
              <a:rPr lang="en-US" smtClean="0"/>
              <a:t>13 April 2022</a:t>
            </a:fld>
            <a:endParaRPr lang="en-US"/>
          </a:p>
        </p:txBody>
      </p:sp>
      <p:sp>
        <p:nvSpPr>
          <p:cNvPr id="3" name="Footer Placeholder 2"/>
          <p:cNvSpPr>
            <a:spLocks noGrp="1"/>
          </p:cNvSpPr>
          <p:nvPr>
            <p:ph type="ftr" sz="quarter" idx="15"/>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6"/>
          </p:nvPr>
        </p:nvSpPr>
        <p:spPr/>
        <p:txBody>
          <a:bodyPr/>
          <a:lstStyle>
            <a:lvl1pPr>
              <a:defRPr>
                <a:solidFill>
                  <a:schemeClr val="tx2"/>
                </a:solidFill>
              </a:defRPr>
            </a:lvl1pPr>
          </a:lstStyle>
          <a:p>
            <a:fld id="{604FC64F-66B6-486E-8EFE-9FD96A66D16B}" type="slidenum">
              <a:rPr lang="en-US" smtClean="0"/>
              <a:pPr/>
              <a:t>‹#›</a:t>
            </a:fld>
            <a:endParaRPr lang="en-US"/>
          </a:p>
        </p:txBody>
      </p:sp>
    </p:spTree>
    <p:extLst>
      <p:ext uri="{BB962C8B-B14F-4D97-AF65-F5344CB8AC3E}">
        <p14:creationId xmlns:p14="http://schemas.microsoft.com/office/powerpoint/2010/main" val="412004576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68284C2D-E391-47F2-AF2B-58C4C6912878}" type="datetime3">
              <a:rPr lang="en-US" noProof="0" smtClean="0"/>
              <a:t>13 April 2022</a:t>
            </a:fld>
            <a:endParaRPr lang="en-US" noProof="0"/>
          </a:p>
        </p:txBody>
      </p:sp>
      <p:sp>
        <p:nvSpPr>
          <p:cNvPr id="6" name="Footer Placeholder 5"/>
          <p:cNvSpPr>
            <a:spLocks noGrp="1"/>
          </p:cNvSpPr>
          <p:nvPr>
            <p:ph type="ftr" sz="quarter" idx="11"/>
          </p:nvPr>
        </p:nvSpPr>
        <p:spPr/>
        <p:txBody>
          <a:bodyPr/>
          <a:lstStyle/>
          <a:p>
            <a:r>
              <a:rPr lang="en-US" noProof="0"/>
              <a:t>Confidential  |  © KONE Corporation</a:t>
            </a:r>
          </a:p>
        </p:txBody>
      </p:sp>
      <p:sp>
        <p:nvSpPr>
          <p:cNvPr id="7" name="Slide Number Placeholder 6"/>
          <p:cNvSpPr>
            <a:spLocks noGrp="1"/>
          </p:cNvSpPr>
          <p:nvPr>
            <p:ph type="sldNum" sz="quarter" idx="12"/>
          </p:nvPr>
        </p:nvSpPr>
        <p:spPr/>
        <p:txBody>
          <a:bodyPr/>
          <a:lstStyle/>
          <a:p>
            <a:fld id="{604FC64F-66B6-486E-8EFE-9FD96A66D16B}" type="slidenum">
              <a:rPr lang="en-US" noProof="0" smtClean="0"/>
              <a:pPr/>
              <a:t>‹#›</a:t>
            </a:fld>
            <a:endParaRPr lang="en-US" noProof="0"/>
          </a:p>
        </p:txBody>
      </p:sp>
    </p:spTree>
    <p:extLst>
      <p:ext uri="{BB962C8B-B14F-4D97-AF65-F5344CB8AC3E}">
        <p14:creationId xmlns:p14="http://schemas.microsoft.com/office/powerpoint/2010/main" val="264669153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logan">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noFill/>
              </a:defRPr>
            </a:lvl1pPr>
          </a:lstStyle>
          <a:p>
            <a:fld id="{D0524FF3-2589-471B-A4AC-D84E4C449E3E}" type="datetime3">
              <a:rPr lang="en-US" smtClean="0"/>
              <a:t>13 April 2022</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Confidential  |  © KONE Corporation</a:t>
            </a:r>
          </a:p>
        </p:txBody>
      </p:sp>
      <p:sp>
        <p:nvSpPr>
          <p:cNvPr id="7" name="Slide Number Placeholder 6"/>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grpSp>
        <p:nvGrpSpPr>
          <p:cNvPr id="16" name="Group 15"/>
          <p:cNvGrpSpPr>
            <a:grpSpLocks noChangeAspect="1"/>
          </p:cNvGrpSpPr>
          <p:nvPr userDrawn="1"/>
        </p:nvGrpSpPr>
        <p:grpSpPr>
          <a:xfrm>
            <a:off x="3497262" y="2997994"/>
            <a:ext cx="5197475" cy="719137"/>
            <a:chOff x="3216275" y="1773238"/>
            <a:chExt cx="5197475" cy="719137"/>
          </a:xfrm>
        </p:grpSpPr>
        <p:sp>
          <p:nvSpPr>
            <p:cNvPr id="17" name="Freeform 6"/>
            <p:cNvSpPr>
              <a:spLocks noEditPoints="1"/>
            </p:cNvSpPr>
            <p:nvPr userDrawn="1"/>
          </p:nvSpPr>
          <p:spPr bwMode="auto">
            <a:xfrm>
              <a:off x="3216275" y="2025650"/>
              <a:ext cx="3502025" cy="315912"/>
            </a:xfrm>
            <a:custGeom>
              <a:avLst/>
              <a:gdLst>
                <a:gd name="T0" fmla="*/ 8470 w 8823"/>
                <a:gd name="T1" fmla="*/ 193 h 795"/>
                <a:gd name="T2" fmla="*/ 8033 w 8823"/>
                <a:gd name="T3" fmla="*/ 193 h 795"/>
                <a:gd name="T4" fmla="*/ 7865 w 8823"/>
                <a:gd name="T5" fmla="*/ 536 h 795"/>
                <a:gd name="T6" fmla="*/ 7695 w 8823"/>
                <a:gd name="T7" fmla="*/ 390 h 795"/>
                <a:gd name="T8" fmla="*/ 7951 w 8823"/>
                <a:gd name="T9" fmla="*/ 485 h 795"/>
                <a:gd name="T10" fmla="*/ 7628 w 8823"/>
                <a:gd name="T11" fmla="*/ 307 h 795"/>
                <a:gd name="T12" fmla="*/ 7508 w 8823"/>
                <a:gd name="T13" fmla="*/ 10 h 795"/>
                <a:gd name="T14" fmla="*/ 7135 w 8823"/>
                <a:gd name="T15" fmla="*/ 610 h 795"/>
                <a:gd name="T16" fmla="*/ 6577 w 8823"/>
                <a:gd name="T17" fmla="*/ 234 h 795"/>
                <a:gd name="T18" fmla="*/ 6692 w 8823"/>
                <a:gd name="T19" fmla="*/ 528 h 795"/>
                <a:gd name="T20" fmla="*/ 6486 w 8823"/>
                <a:gd name="T21" fmla="*/ 586 h 795"/>
                <a:gd name="T22" fmla="*/ 6717 w 8823"/>
                <a:gd name="T23" fmla="*/ 200 h 795"/>
                <a:gd name="T24" fmla="*/ 6267 w 8823"/>
                <a:gd name="T25" fmla="*/ 23 h 795"/>
                <a:gd name="T26" fmla="*/ 5944 w 8823"/>
                <a:gd name="T27" fmla="*/ 253 h 795"/>
                <a:gd name="T28" fmla="*/ 5908 w 8823"/>
                <a:gd name="T29" fmla="*/ 193 h 795"/>
                <a:gd name="T30" fmla="*/ 6136 w 8823"/>
                <a:gd name="T31" fmla="*/ 547 h 795"/>
                <a:gd name="T32" fmla="*/ 5636 w 8823"/>
                <a:gd name="T33" fmla="*/ 543 h 795"/>
                <a:gd name="T34" fmla="*/ 5473 w 8823"/>
                <a:gd name="T35" fmla="*/ 347 h 795"/>
                <a:gd name="T36" fmla="*/ 5730 w 8823"/>
                <a:gd name="T37" fmla="*/ 460 h 795"/>
                <a:gd name="T38" fmla="*/ 5402 w 8823"/>
                <a:gd name="T39" fmla="*/ 332 h 795"/>
                <a:gd name="T40" fmla="*/ 5122 w 8823"/>
                <a:gd name="T41" fmla="*/ 234 h 795"/>
                <a:gd name="T42" fmla="*/ 5236 w 8823"/>
                <a:gd name="T43" fmla="*/ 528 h 795"/>
                <a:gd name="T44" fmla="*/ 5031 w 8823"/>
                <a:gd name="T45" fmla="*/ 586 h 795"/>
                <a:gd name="T46" fmla="*/ 5262 w 8823"/>
                <a:gd name="T47" fmla="*/ 200 h 795"/>
                <a:gd name="T48" fmla="*/ 4830 w 8823"/>
                <a:gd name="T49" fmla="*/ 290 h 795"/>
                <a:gd name="T50" fmla="*/ 4894 w 8823"/>
                <a:gd name="T51" fmla="*/ 101 h 795"/>
                <a:gd name="T52" fmla="*/ 4649 w 8823"/>
                <a:gd name="T53" fmla="*/ 610 h 795"/>
                <a:gd name="T54" fmla="*/ 4163 w 8823"/>
                <a:gd name="T55" fmla="*/ 244 h 795"/>
                <a:gd name="T56" fmla="*/ 4153 w 8823"/>
                <a:gd name="T57" fmla="*/ 175 h 795"/>
                <a:gd name="T58" fmla="*/ 4106 w 8823"/>
                <a:gd name="T59" fmla="*/ 619 h 795"/>
                <a:gd name="T60" fmla="*/ 3678 w 8823"/>
                <a:gd name="T61" fmla="*/ 250 h 795"/>
                <a:gd name="T62" fmla="*/ 3753 w 8823"/>
                <a:gd name="T63" fmla="*/ 250 h 795"/>
                <a:gd name="T64" fmla="*/ 3681 w 8823"/>
                <a:gd name="T65" fmla="*/ 542 h 795"/>
                <a:gd name="T66" fmla="*/ 3118 w 8823"/>
                <a:gd name="T67" fmla="*/ 526 h 795"/>
                <a:gd name="T68" fmla="*/ 3355 w 8823"/>
                <a:gd name="T69" fmla="*/ 612 h 795"/>
                <a:gd name="T70" fmla="*/ 3030 w 8823"/>
                <a:gd name="T71" fmla="*/ 393 h 795"/>
                <a:gd name="T72" fmla="*/ 2857 w 8823"/>
                <a:gd name="T73" fmla="*/ 271 h 795"/>
                <a:gd name="T74" fmla="*/ 2740 w 8823"/>
                <a:gd name="T75" fmla="*/ 553 h 795"/>
                <a:gd name="T76" fmla="*/ 2858 w 8823"/>
                <a:gd name="T77" fmla="*/ 611 h 795"/>
                <a:gd name="T78" fmla="*/ 2707 w 8823"/>
                <a:gd name="T79" fmla="*/ 182 h 795"/>
                <a:gd name="T80" fmla="*/ 2316 w 8823"/>
                <a:gd name="T81" fmla="*/ 250 h 795"/>
                <a:gd name="T82" fmla="*/ 2431 w 8823"/>
                <a:gd name="T83" fmla="*/ 512 h 795"/>
                <a:gd name="T84" fmla="*/ 2358 w 8823"/>
                <a:gd name="T85" fmla="*/ 526 h 795"/>
                <a:gd name="T86" fmla="*/ 2127 w 8823"/>
                <a:gd name="T87" fmla="*/ 529 h 795"/>
                <a:gd name="T88" fmla="*/ 1904 w 8823"/>
                <a:gd name="T89" fmla="*/ 464 h 795"/>
                <a:gd name="T90" fmla="*/ 2006 w 8823"/>
                <a:gd name="T91" fmla="*/ 252 h 795"/>
                <a:gd name="T92" fmla="*/ 2176 w 8823"/>
                <a:gd name="T93" fmla="*/ 190 h 795"/>
                <a:gd name="T94" fmla="*/ 1624 w 8823"/>
                <a:gd name="T95" fmla="*/ 552 h 795"/>
                <a:gd name="T96" fmla="*/ 1745 w 8823"/>
                <a:gd name="T97" fmla="*/ 611 h 795"/>
                <a:gd name="T98" fmla="*/ 1594 w 8823"/>
                <a:gd name="T99" fmla="*/ 182 h 795"/>
                <a:gd name="T100" fmla="*/ 1746 w 8823"/>
                <a:gd name="T101" fmla="*/ 260 h 795"/>
                <a:gd name="T102" fmla="*/ 1394 w 8823"/>
                <a:gd name="T103" fmla="*/ 606 h 795"/>
                <a:gd name="T104" fmla="*/ 1101 w 8823"/>
                <a:gd name="T105" fmla="*/ 267 h 795"/>
                <a:gd name="T106" fmla="*/ 1022 w 8823"/>
                <a:gd name="T107" fmla="*/ 558 h 795"/>
                <a:gd name="T108" fmla="*/ 1124 w 8823"/>
                <a:gd name="T109" fmla="*/ 600 h 795"/>
                <a:gd name="T110" fmla="*/ 883 w 8823"/>
                <a:gd name="T111" fmla="*/ 245 h 795"/>
                <a:gd name="T112" fmla="*/ 651 w 8823"/>
                <a:gd name="T113" fmla="*/ 238 h 795"/>
                <a:gd name="T114" fmla="*/ 672 w 8823"/>
                <a:gd name="T115" fmla="*/ 552 h 795"/>
                <a:gd name="T116" fmla="*/ 533 w 8823"/>
                <a:gd name="T117" fmla="*/ 610 h 795"/>
                <a:gd name="T118" fmla="*/ 680 w 8823"/>
                <a:gd name="T119" fmla="*/ 179 h 795"/>
                <a:gd name="T120" fmla="*/ 262 w 8823"/>
                <a:gd name="T121" fmla="*/ 504 h 795"/>
                <a:gd name="T122" fmla="*/ 1 w 8823"/>
                <a:gd name="T123" fmla="*/ 45 h 795"/>
                <a:gd name="T124" fmla="*/ 324 w 8823"/>
                <a:gd name="T125" fmla="*/ 54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23" h="795">
                  <a:moveTo>
                    <a:pt x="8715" y="42"/>
                  </a:moveTo>
                  <a:lnTo>
                    <a:pt x="8715" y="163"/>
                  </a:lnTo>
                  <a:lnTo>
                    <a:pt x="8699" y="167"/>
                  </a:lnTo>
                  <a:lnTo>
                    <a:pt x="8697" y="4"/>
                  </a:lnTo>
                  <a:lnTo>
                    <a:pt x="8715" y="0"/>
                  </a:lnTo>
                  <a:lnTo>
                    <a:pt x="8760" y="92"/>
                  </a:lnTo>
                  <a:lnTo>
                    <a:pt x="8797" y="4"/>
                  </a:lnTo>
                  <a:lnTo>
                    <a:pt x="8817" y="0"/>
                  </a:lnTo>
                  <a:lnTo>
                    <a:pt x="8823" y="163"/>
                  </a:lnTo>
                  <a:lnTo>
                    <a:pt x="8805" y="167"/>
                  </a:lnTo>
                  <a:lnTo>
                    <a:pt x="8799" y="42"/>
                  </a:lnTo>
                  <a:lnTo>
                    <a:pt x="8769" y="114"/>
                  </a:lnTo>
                  <a:lnTo>
                    <a:pt x="8750" y="117"/>
                  </a:lnTo>
                  <a:lnTo>
                    <a:pt x="8715" y="42"/>
                  </a:lnTo>
                  <a:close/>
                  <a:moveTo>
                    <a:pt x="8670" y="0"/>
                  </a:moveTo>
                  <a:lnTo>
                    <a:pt x="8674" y="17"/>
                  </a:lnTo>
                  <a:lnTo>
                    <a:pt x="8636" y="19"/>
                  </a:lnTo>
                  <a:lnTo>
                    <a:pt x="8636" y="163"/>
                  </a:lnTo>
                  <a:lnTo>
                    <a:pt x="8618" y="167"/>
                  </a:lnTo>
                  <a:lnTo>
                    <a:pt x="8614" y="19"/>
                  </a:lnTo>
                  <a:lnTo>
                    <a:pt x="8579" y="19"/>
                  </a:lnTo>
                  <a:lnTo>
                    <a:pt x="8577" y="3"/>
                  </a:lnTo>
                  <a:lnTo>
                    <a:pt x="8670" y="0"/>
                  </a:lnTo>
                  <a:close/>
                  <a:moveTo>
                    <a:pt x="8422" y="508"/>
                  </a:moveTo>
                  <a:lnTo>
                    <a:pt x="8470" y="193"/>
                  </a:lnTo>
                  <a:lnTo>
                    <a:pt x="8474" y="182"/>
                  </a:lnTo>
                  <a:lnTo>
                    <a:pt x="8477" y="180"/>
                  </a:lnTo>
                  <a:lnTo>
                    <a:pt x="8481" y="180"/>
                  </a:lnTo>
                  <a:lnTo>
                    <a:pt x="8530" y="180"/>
                  </a:lnTo>
                  <a:lnTo>
                    <a:pt x="8538" y="182"/>
                  </a:lnTo>
                  <a:lnTo>
                    <a:pt x="8539" y="186"/>
                  </a:lnTo>
                  <a:lnTo>
                    <a:pt x="8539" y="193"/>
                  </a:lnTo>
                  <a:lnTo>
                    <a:pt x="8474" y="600"/>
                  </a:lnTo>
                  <a:lnTo>
                    <a:pt x="8472" y="606"/>
                  </a:lnTo>
                  <a:lnTo>
                    <a:pt x="8470" y="610"/>
                  </a:lnTo>
                  <a:lnTo>
                    <a:pt x="8467" y="612"/>
                  </a:lnTo>
                  <a:lnTo>
                    <a:pt x="8463" y="612"/>
                  </a:lnTo>
                  <a:lnTo>
                    <a:pt x="8392" y="612"/>
                  </a:lnTo>
                  <a:lnTo>
                    <a:pt x="8384" y="610"/>
                  </a:lnTo>
                  <a:lnTo>
                    <a:pt x="8379" y="600"/>
                  </a:lnTo>
                  <a:lnTo>
                    <a:pt x="8285" y="290"/>
                  </a:lnTo>
                  <a:lnTo>
                    <a:pt x="8196" y="600"/>
                  </a:lnTo>
                  <a:lnTo>
                    <a:pt x="8193" y="606"/>
                  </a:lnTo>
                  <a:lnTo>
                    <a:pt x="8189" y="610"/>
                  </a:lnTo>
                  <a:lnTo>
                    <a:pt x="8183" y="612"/>
                  </a:lnTo>
                  <a:lnTo>
                    <a:pt x="8178" y="612"/>
                  </a:lnTo>
                  <a:lnTo>
                    <a:pt x="8119" y="612"/>
                  </a:lnTo>
                  <a:lnTo>
                    <a:pt x="8112" y="610"/>
                  </a:lnTo>
                  <a:lnTo>
                    <a:pt x="8108" y="600"/>
                  </a:lnTo>
                  <a:lnTo>
                    <a:pt x="8033" y="193"/>
                  </a:lnTo>
                  <a:lnTo>
                    <a:pt x="8033" y="186"/>
                  </a:lnTo>
                  <a:lnTo>
                    <a:pt x="8035" y="182"/>
                  </a:lnTo>
                  <a:lnTo>
                    <a:pt x="8038" y="180"/>
                  </a:lnTo>
                  <a:lnTo>
                    <a:pt x="8043" y="180"/>
                  </a:lnTo>
                  <a:lnTo>
                    <a:pt x="8097" y="180"/>
                  </a:lnTo>
                  <a:lnTo>
                    <a:pt x="8106" y="182"/>
                  </a:lnTo>
                  <a:lnTo>
                    <a:pt x="8108" y="186"/>
                  </a:lnTo>
                  <a:lnTo>
                    <a:pt x="8109" y="193"/>
                  </a:lnTo>
                  <a:lnTo>
                    <a:pt x="8165" y="511"/>
                  </a:lnTo>
                  <a:lnTo>
                    <a:pt x="8249" y="209"/>
                  </a:lnTo>
                  <a:lnTo>
                    <a:pt x="8252" y="203"/>
                  </a:lnTo>
                  <a:lnTo>
                    <a:pt x="8256" y="199"/>
                  </a:lnTo>
                  <a:lnTo>
                    <a:pt x="8261" y="197"/>
                  </a:lnTo>
                  <a:lnTo>
                    <a:pt x="8267" y="197"/>
                  </a:lnTo>
                  <a:lnTo>
                    <a:pt x="8316" y="197"/>
                  </a:lnTo>
                  <a:lnTo>
                    <a:pt x="8326" y="199"/>
                  </a:lnTo>
                  <a:lnTo>
                    <a:pt x="8330" y="203"/>
                  </a:lnTo>
                  <a:lnTo>
                    <a:pt x="8333" y="209"/>
                  </a:lnTo>
                  <a:lnTo>
                    <a:pt x="8422" y="508"/>
                  </a:lnTo>
                  <a:close/>
                  <a:moveTo>
                    <a:pt x="7796" y="558"/>
                  </a:moveTo>
                  <a:lnTo>
                    <a:pt x="7823" y="557"/>
                  </a:lnTo>
                  <a:lnTo>
                    <a:pt x="7843" y="552"/>
                  </a:lnTo>
                  <a:lnTo>
                    <a:pt x="7852" y="548"/>
                  </a:lnTo>
                  <a:lnTo>
                    <a:pt x="7859" y="543"/>
                  </a:lnTo>
                  <a:lnTo>
                    <a:pt x="7865" y="536"/>
                  </a:lnTo>
                  <a:lnTo>
                    <a:pt x="7870" y="528"/>
                  </a:lnTo>
                  <a:lnTo>
                    <a:pt x="7877" y="507"/>
                  </a:lnTo>
                  <a:lnTo>
                    <a:pt x="7881" y="480"/>
                  </a:lnTo>
                  <a:lnTo>
                    <a:pt x="7883" y="445"/>
                  </a:lnTo>
                  <a:lnTo>
                    <a:pt x="7884" y="401"/>
                  </a:lnTo>
                  <a:lnTo>
                    <a:pt x="7883" y="354"/>
                  </a:lnTo>
                  <a:lnTo>
                    <a:pt x="7881" y="316"/>
                  </a:lnTo>
                  <a:lnTo>
                    <a:pt x="7876" y="287"/>
                  </a:lnTo>
                  <a:lnTo>
                    <a:pt x="7867" y="265"/>
                  </a:lnTo>
                  <a:lnTo>
                    <a:pt x="7862" y="256"/>
                  </a:lnTo>
                  <a:lnTo>
                    <a:pt x="7856" y="249"/>
                  </a:lnTo>
                  <a:lnTo>
                    <a:pt x="7847" y="244"/>
                  </a:lnTo>
                  <a:lnTo>
                    <a:pt x="7838" y="240"/>
                  </a:lnTo>
                  <a:lnTo>
                    <a:pt x="7814" y="234"/>
                  </a:lnTo>
                  <a:lnTo>
                    <a:pt x="7783" y="233"/>
                  </a:lnTo>
                  <a:lnTo>
                    <a:pt x="7757" y="234"/>
                  </a:lnTo>
                  <a:lnTo>
                    <a:pt x="7736" y="240"/>
                  </a:lnTo>
                  <a:lnTo>
                    <a:pt x="7728" y="244"/>
                  </a:lnTo>
                  <a:lnTo>
                    <a:pt x="7720" y="249"/>
                  </a:lnTo>
                  <a:lnTo>
                    <a:pt x="7714" y="256"/>
                  </a:lnTo>
                  <a:lnTo>
                    <a:pt x="7710" y="264"/>
                  </a:lnTo>
                  <a:lnTo>
                    <a:pt x="7703" y="285"/>
                  </a:lnTo>
                  <a:lnTo>
                    <a:pt x="7698" y="312"/>
                  </a:lnTo>
                  <a:lnTo>
                    <a:pt x="7696" y="347"/>
                  </a:lnTo>
                  <a:lnTo>
                    <a:pt x="7695" y="390"/>
                  </a:lnTo>
                  <a:lnTo>
                    <a:pt x="7696" y="438"/>
                  </a:lnTo>
                  <a:lnTo>
                    <a:pt x="7698" y="476"/>
                  </a:lnTo>
                  <a:lnTo>
                    <a:pt x="7704" y="505"/>
                  </a:lnTo>
                  <a:lnTo>
                    <a:pt x="7712" y="527"/>
                  </a:lnTo>
                  <a:lnTo>
                    <a:pt x="7717" y="535"/>
                  </a:lnTo>
                  <a:lnTo>
                    <a:pt x="7725" y="543"/>
                  </a:lnTo>
                  <a:lnTo>
                    <a:pt x="7733" y="548"/>
                  </a:lnTo>
                  <a:lnTo>
                    <a:pt x="7742" y="552"/>
                  </a:lnTo>
                  <a:lnTo>
                    <a:pt x="7766" y="557"/>
                  </a:lnTo>
                  <a:lnTo>
                    <a:pt x="7796" y="558"/>
                  </a:lnTo>
                  <a:close/>
                  <a:moveTo>
                    <a:pt x="7790" y="173"/>
                  </a:moveTo>
                  <a:lnTo>
                    <a:pt x="7836" y="175"/>
                  </a:lnTo>
                  <a:lnTo>
                    <a:pt x="7873" y="182"/>
                  </a:lnTo>
                  <a:lnTo>
                    <a:pt x="7888" y="188"/>
                  </a:lnTo>
                  <a:lnTo>
                    <a:pt x="7902" y="197"/>
                  </a:lnTo>
                  <a:lnTo>
                    <a:pt x="7914" y="206"/>
                  </a:lnTo>
                  <a:lnTo>
                    <a:pt x="7924" y="218"/>
                  </a:lnTo>
                  <a:lnTo>
                    <a:pt x="7932" y="231"/>
                  </a:lnTo>
                  <a:lnTo>
                    <a:pt x="7939" y="248"/>
                  </a:lnTo>
                  <a:lnTo>
                    <a:pt x="7945" y="266"/>
                  </a:lnTo>
                  <a:lnTo>
                    <a:pt x="7949" y="288"/>
                  </a:lnTo>
                  <a:lnTo>
                    <a:pt x="7954" y="337"/>
                  </a:lnTo>
                  <a:lnTo>
                    <a:pt x="7956" y="399"/>
                  </a:lnTo>
                  <a:lnTo>
                    <a:pt x="7953" y="460"/>
                  </a:lnTo>
                  <a:lnTo>
                    <a:pt x="7951" y="485"/>
                  </a:lnTo>
                  <a:lnTo>
                    <a:pt x="7947" y="508"/>
                  </a:lnTo>
                  <a:lnTo>
                    <a:pt x="7942" y="529"/>
                  </a:lnTo>
                  <a:lnTo>
                    <a:pt x="7936" y="547"/>
                  </a:lnTo>
                  <a:lnTo>
                    <a:pt x="7928" y="563"/>
                  </a:lnTo>
                  <a:lnTo>
                    <a:pt x="7919" y="575"/>
                  </a:lnTo>
                  <a:lnTo>
                    <a:pt x="7908" y="587"/>
                  </a:lnTo>
                  <a:lnTo>
                    <a:pt x="7896" y="596"/>
                  </a:lnTo>
                  <a:lnTo>
                    <a:pt x="7883" y="605"/>
                  </a:lnTo>
                  <a:lnTo>
                    <a:pt x="7867" y="610"/>
                  </a:lnTo>
                  <a:lnTo>
                    <a:pt x="7851" y="614"/>
                  </a:lnTo>
                  <a:lnTo>
                    <a:pt x="7833" y="617"/>
                  </a:lnTo>
                  <a:lnTo>
                    <a:pt x="7790" y="619"/>
                  </a:lnTo>
                  <a:lnTo>
                    <a:pt x="7743" y="617"/>
                  </a:lnTo>
                  <a:lnTo>
                    <a:pt x="7707" y="610"/>
                  </a:lnTo>
                  <a:lnTo>
                    <a:pt x="7691" y="604"/>
                  </a:lnTo>
                  <a:lnTo>
                    <a:pt x="7677" y="595"/>
                  </a:lnTo>
                  <a:lnTo>
                    <a:pt x="7666" y="586"/>
                  </a:lnTo>
                  <a:lnTo>
                    <a:pt x="7656" y="574"/>
                  </a:lnTo>
                  <a:lnTo>
                    <a:pt x="7647" y="561"/>
                  </a:lnTo>
                  <a:lnTo>
                    <a:pt x="7641" y="544"/>
                  </a:lnTo>
                  <a:lnTo>
                    <a:pt x="7630" y="505"/>
                  </a:lnTo>
                  <a:lnTo>
                    <a:pt x="7625" y="455"/>
                  </a:lnTo>
                  <a:lnTo>
                    <a:pt x="7624" y="393"/>
                  </a:lnTo>
                  <a:lnTo>
                    <a:pt x="7626" y="332"/>
                  </a:lnTo>
                  <a:lnTo>
                    <a:pt x="7628" y="307"/>
                  </a:lnTo>
                  <a:lnTo>
                    <a:pt x="7632" y="284"/>
                  </a:lnTo>
                  <a:lnTo>
                    <a:pt x="7637" y="263"/>
                  </a:lnTo>
                  <a:lnTo>
                    <a:pt x="7644" y="245"/>
                  </a:lnTo>
                  <a:lnTo>
                    <a:pt x="7652" y="229"/>
                  </a:lnTo>
                  <a:lnTo>
                    <a:pt x="7661" y="216"/>
                  </a:lnTo>
                  <a:lnTo>
                    <a:pt x="7671" y="205"/>
                  </a:lnTo>
                  <a:lnTo>
                    <a:pt x="7684" y="196"/>
                  </a:lnTo>
                  <a:lnTo>
                    <a:pt x="7697" y="188"/>
                  </a:lnTo>
                  <a:lnTo>
                    <a:pt x="7712" y="182"/>
                  </a:lnTo>
                  <a:lnTo>
                    <a:pt x="7748" y="175"/>
                  </a:lnTo>
                  <a:lnTo>
                    <a:pt x="7790" y="173"/>
                  </a:lnTo>
                  <a:close/>
                  <a:moveTo>
                    <a:pt x="7521" y="600"/>
                  </a:moveTo>
                  <a:lnTo>
                    <a:pt x="7520" y="606"/>
                  </a:lnTo>
                  <a:lnTo>
                    <a:pt x="7518" y="610"/>
                  </a:lnTo>
                  <a:lnTo>
                    <a:pt x="7514" y="612"/>
                  </a:lnTo>
                  <a:lnTo>
                    <a:pt x="7509" y="612"/>
                  </a:lnTo>
                  <a:lnTo>
                    <a:pt x="7458" y="612"/>
                  </a:lnTo>
                  <a:lnTo>
                    <a:pt x="7450" y="610"/>
                  </a:lnTo>
                  <a:lnTo>
                    <a:pt x="7447" y="606"/>
                  </a:lnTo>
                  <a:lnTo>
                    <a:pt x="7446" y="600"/>
                  </a:lnTo>
                  <a:lnTo>
                    <a:pt x="7446" y="23"/>
                  </a:lnTo>
                  <a:lnTo>
                    <a:pt x="7450" y="12"/>
                  </a:lnTo>
                  <a:lnTo>
                    <a:pt x="7453" y="11"/>
                  </a:lnTo>
                  <a:lnTo>
                    <a:pt x="7458" y="10"/>
                  </a:lnTo>
                  <a:lnTo>
                    <a:pt x="7508" y="10"/>
                  </a:lnTo>
                  <a:lnTo>
                    <a:pt x="7513" y="11"/>
                  </a:lnTo>
                  <a:lnTo>
                    <a:pt x="7517" y="12"/>
                  </a:lnTo>
                  <a:lnTo>
                    <a:pt x="7520" y="16"/>
                  </a:lnTo>
                  <a:lnTo>
                    <a:pt x="7521" y="23"/>
                  </a:lnTo>
                  <a:lnTo>
                    <a:pt x="7521" y="600"/>
                  </a:lnTo>
                  <a:close/>
                  <a:moveTo>
                    <a:pt x="7375" y="38"/>
                  </a:moveTo>
                  <a:lnTo>
                    <a:pt x="7379" y="38"/>
                  </a:lnTo>
                  <a:lnTo>
                    <a:pt x="7382" y="40"/>
                  </a:lnTo>
                  <a:lnTo>
                    <a:pt x="7384" y="48"/>
                  </a:lnTo>
                  <a:lnTo>
                    <a:pt x="7384" y="96"/>
                  </a:lnTo>
                  <a:lnTo>
                    <a:pt x="7382" y="102"/>
                  </a:lnTo>
                  <a:lnTo>
                    <a:pt x="7375" y="104"/>
                  </a:lnTo>
                  <a:lnTo>
                    <a:pt x="7138" y="104"/>
                  </a:lnTo>
                  <a:lnTo>
                    <a:pt x="7138" y="319"/>
                  </a:lnTo>
                  <a:lnTo>
                    <a:pt x="7323" y="319"/>
                  </a:lnTo>
                  <a:lnTo>
                    <a:pt x="7327" y="319"/>
                  </a:lnTo>
                  <a:lnTo>
                    <a:pt x="7330" y="321"/>
                  </a:lnTo>
                  <a:lnTo>
                    <a:pt x="7332" y="329"/>
                  </a:lnTo>
                  <a:lnTo>
                    <a:pt x="7332" y="377"/>
                  </a:lnTo>
                  <a:lnTo>
                    <a:pt x="7330" y="384"/>
                  </a:lnTo>
                  <a:lnTo>
                    <a:pt x="7323" y="385"/>
                  </a:lnTo>
                  <a:lnTo>
                    <a:pt x="7138" y="385"/>
                  </a:lnTo>
                  <a:lnTo>
                    <a:pt x="7138" y="600"/>
                  </a:lnTo>
                  <a:lnTo>
                    <a:pt x="7137" y="606"/>
                  </a:lnTo>
                  <a:lnTo>
                    <a:pt x="7135" y="610"/>
                  </a:lnTo>
                  <a:lnTo>
                    <a:pt x="7130" y="612"/>
                  </a:lnTo>
                  <a:lnTo>
                    <a:pt x="7126" y="612"/>
                  </a:lnTo>
                  <a:lnTo>
                    <a:pt x="7075" y="612"/>
                  </a:lnTo>
                  <a:lnTo>
                    <a:pt x="7065" y="610"/>
                  </a:lnTo>
                  <a:lnTo>
                    <a:pt x="7063" y="606"/>
                  </a:lnTo>
                  <a:lnTo>
                    <a:pt x="7062" y="600"/>
                  </a:lnTo>
                  <a:lnTo>
                    <a:pt x="7062" y="51"/>
                  </a:lnTo>
                  <a:lnTo>
                    <a:pt x="7063" y="45"/>
                  </a:lnTo>
                  <a:lnTo>
                    <a:pt x="7065" y="40"/>
                  </a:lnTo>
                  <a:lnTo>
                    <a:pt x="7070" y="38"/>
                  </a:lnTo>
                  <a:lnTo>
                    <a:pt x="7075" y="38"/>
                  </a:lnTo>
                  <a:lnTo>
                    <a:pt x="7375" y="38"/>
                  </a:lnTo>
                  <a:close/>
                  <a:moveTo>
                    <a:pt x="6515" y="347"/>
                  </a:moveTo>
                  <a:lnTo>
                    <a:pt x="6694" y="347"/>
                  </a:lnTo>
                  <a:lnTo>
                    <a:pt x="6692" y="316"/>
                  </a:lnTo>
                  <a:lnTo>
                    <a:pt x="6689" y="291"/>
                  </a:lnTo>
                  <a:lnTo>
                    <a:pt x="6682" y="271"/>
                  </a:lnTo>
                  <a:lnTo>
                    <a:pt x="6677" y="263"/>
                  </a:lnTo>
                  <a:lnTo>
                    <a:pt x="6673" y="255"/>
                  </a:lnTo>
                  <a:lnTo>
                    <a:pt x="6667" y="250"/>
                  </a:lnTo>
                  <a:lnTo>
                    <a:pt x="6660" y="245"/>
                  </a:lnTo>
                  <a:lnTo>
                    <a:pt x="6643" y="238"/>
                  </a:lnTo>
                  <a:lnTo>
                    <a:pt x="6623" y="234"/>
                  </a:lnTo>
                  <a:lnTo>
                    <a:pt x="6600" y="233"/>
                  </a:lnTo>
                  <a:lnTo>
                    <a:pt x="6577" y="234"/>
                  </a:lnTo>
                  <a:lnTo>
                    <a:pt x="6559" y="239"/>
                  </a:lnTo>
                  <a:lnTo>
                    <a:pt x="6545" y="245"/>
                  </a:lnTo>
                  <a:lnTo>
                    <a:pt x="6534" y="256"/>
                  </a:lnTo>
                  <a:lnTo>
                    <a:pt x="6526" y="271"/>
                  </a:lnTo>
                  <a:lnTo>
                    <a:pt x="6521" y="291"/>
                  </a:lnTo>
                  <a:lnTo>
                    <a:pt x="6516" y="316"/>
                  </a:lnTo>
                  <a:lnTo>
                    <a:pt x="6515" y="347"/>
                  </a:lnTo>
                  <a:close/>
                  <a:moveTo>
                    <a:pt x="6515" y="412"/>
                  </a:moveTo>
                  <a:lnTo>
                    <a:pt x="6516" y="453"/>
                  </a:lnTo>
                  <a:lnTo>
                    <a:pt x="6517" y="470"/>
                  </a:lnTo>
                  <a:lnTo>
                    <a:pt x="6520" y="486"/>
                  </a:lnTo>
                  <a:lnTo>
                    <a:pt x="6525" y="511"/>
                  </a:lnTo>
                  <a:lnTo>
                    <a:pt x="6533" y="531"/>
                  </a:lnTo>
                  <a:lnTo>
                    <a:pt x="6540" y="539"/>
                  </a:lnTo>
                  <a:lnTo>
                    <a:pt x="6546" y="545"/>
                  </a:lnTo>
                  <a:lnTo>
                    <a:pt x="6554" y="549"/>
                  </a:lnTo>
                  <a:lnTo>
                    <a:pt x="6564" y="553"/>
                  </a:lnTo>
                  <a:lnTo>
                    <a:pt x="6587" y="557"/>
                  </a:lnTo>
                  <a:lnTo>
                    <a:pt x="6616" y="558"/>
                  </a:lnTo>
                  <a:lnTo>
                    <a:pt x="6635" y="558"/>
                  </a:lnTo>
                  <a:lnTo>
                    <a:pt x="6652" y="556"/>
                  </a:lnTo>
                  <a:lnTo>
                    <a:pt x="6664" y="552"/>
                  </a:lnTo>
                  <a:lnTo>
                    <a:pt x="6676" y="546"/>
                  </a:lnTo>
                  <a:lnTo>
                    <a:pt x="6684" y="539"/>
                  </a:lnTo>
                  <a:lnTo>
                    <a:pt x="6692" y="528"/>
                  </a:lnTo>
                  <a:lnTo>
                    <a:pt x="6702" y="500"/>
                  </a:lnTo>
                  <a:lnTo>
                    <a:pt x="6705" y="493"/>
                  </a:lnTo>
                  <a:lnTo>
                    <a:pt x="6709" y="489"/>
                  </a:lnTo>
                  <a:lnTo>
                    <a:pt x="6714" y="488"/>
                  </a:lnTo>
                  <a:lnTo>
                    <a:pt x="6719" y="488"/>
                  </a:lnTo>
                  <a:lnTo>
                    <a:pt x="6758" y="495"/>
                  </a:lnTo>
                  <a:lnTo>
                    <a:pt x="6764" y="496"/>
                  </a:lnTo>
                  <a:lnTo>
                    <a:pt x="6768" y="500"/>
                  </a:lnTo>
                  <a:lnTo>
                    <a:pt x="6770" y="505"/>
                  </a:lnTo>
                  <a:lnTo>
                    <a:pt x="6770" y="511"/>
                  </a:lnTo>
                  <a:lnTo>
                    <a:pt x="6764" y="533"/>
                  </a:lnTo>
                  <a:lnTo>
                    <a:pt x="6756" y="553"/>
                  </a:lnTo>
                  <a:lnTo>
                    <a:pt x="6744" y="571"/>
                  </a:lnTo>
                  <a:lnTo>
                    <a:pt x="6737" y="579"/>
                  </a:lnTo>
                  <a:lnTo>
                    <a:pt x="6729" y="588"/>
                  </a:lnTo>
                  <a:lnTo>
                    <a:pt x="6709" y="600"/>
                  </a:lnTo>
                  <a:lnTo>
                    <a:pt x="6683" y="611"/>
                  </a:lnTo>
                  <a:lnTo>
                    <a:pt x="6668" y="615"/>
                  </a:lnTo>
                  <a:lnTo>
                    <a:pt x="6650" y="617"/>
                  </a:lnTo>
                  <a:lnTo>
                    <a:pt x="6610" y="619"/>
                  </a:lnTo>
                  <a:lnTo>
                    <a:pt x="6564" y="617"/>
                  </a:lnTo>
                  <a:lnTo>
                    <a:pt x="6527" y="610"/>
                  </a:lnTo>
                  <a:lnTo>
                    <a:pt x="6511" y="604"/>
                  </a:lnTo>
                  <a:lnTo>
                    <a:pt x="6498" y="595"/>
                  </a:lnTo>
                  <a:lnTo>
                    <a:pt x="6486" y="586"/>
                  </a:lnTo>
                  <a:lnTo>
                    <a:pt x="6475" y="574"/>
                  </a:lnTo>
                  <a:lnTo>
                    <a:pt x="6467" y="561"/>
                  </a:lnTo>
                  <a:lnTo>
                    <a:pt x="6460" y="544"/>
                  </a:lnTo>
                  <a:lnTo>
                    <a:pt x="6450" y="505"/>
                  </a:lnTo>
                  <a:lnTo>
                    <a:pt x="6445" y="455"/>
                  </a:lnTo>
                  <a:lnTo>
                    <a:pt x="6443" y="393"/>
                  </a:lnTo>
                  <a:lnTo>
                    <a:pt x="6445" y="332"/>
                  </a:lnTo>
                  <a:lnTo>
                    <a:pt x="6448" y="307"/>
                  </a:lnTo>
                  <a:lnTo>
                    <a:pt x="6452" y="284"/>
                  </a:lnTo>
                  <a:lnTo>
                    <a:pt x="6457" y="263"/>
                  </a:lnTo>
                  <a:lnTo>
                    <a:pt x="6464" y="245"/>
                  </a:lnTo>
                  <a:lnTo>
                    <a:pt x="6471" y="229"/>
                  </a:lnTo>
                  <a:lnTo>
                    <a:pt x="6481" y="216"/>
                  </a:lnTo>
                  <a:lnTo>
                    <a:pt x="6491" y="205"/>
                  </a:lnTo>
                  <a:lnTo>
                    <a:pt x="6504" y="196"/>
                  </a:lnTo>
                  <a:lnTo>
                    <a:pt x="6516" y="188"/>
                  </a:lnTo>
                  <a:lnTo>
                    <a:pt x="6532" y="182"/>
                  </a:lnTo>
                  <a:lnTo>
                    <a:pt x="6568" y="175"/>
                  </a:lnTo>
                  <a:lnTo>
                    <a:pt x="6610" y="173"/>
                  </a:lnTo>
                  <a:lnTo>
                    <a:pt x="6633" y="174"/>
                  </a:lnTo>
                  <a:lnTo>
                    <a:pt x="6654" y="176"/>
                  </a:lnTo>
                  <a:lnTo>
                    <a:pt x="6673" y="179"/>
                  </a:lnTo>
                  <a:lnTo>
                    <a:pt x="6690" y="184"/>
                  </a:lnTo>
                  <a:lnTo>
                    <a:pt x="6704" y="191"/>
                  </a:lnTo>
                  <a:lnTo>
                    <a:pt x="6717" y="200"/>
                  </a:lnTo>
                  <a:lnTo>
                    <a:pt x="6728" y="209"/>
                  </a:lnTo>
                  <a:lnTo>
                    <a:pt x="6738" y="221"/>
                  </a:lnTo>
                  <a:lnTo>
                    <a:pt x="6745" y="233"/>
                  </a:lnTo>
                  <a:lnTo>
                    <a:pt x="6752" y="248"/>
                  </a:lnTo>
                  <a:lnTo>
                    <a:pt x="6757" y="264"/>
                  </a:lnTo>
                  <a:lnTo>
                    <a:pt x="6761" y="281"/>
                  </a:lnTo>
                  <a:lnTo>
                    <a:pt x="6763" y="301"/>
                  </a:lnTo>
                  <a:lnTo>
                    <a:pt x="6765" y="320"/>
                  </a:lnTo>
                  <a:lnTo>
                    <a:pt x="6766" y="367"/>
                  </a:lnTo>
                  <a:lnTo>
                    <a:pt x="6766" y="396"/>
                  </a:lnTo>
                  <a:lnTo>
                    <a:pt x="6765" y="403"/>
                  </a:lnTo>
                  <a:lnTo>
                    <a:pt x="6763" y="407"/>
                  </a:lnTo>
                  <a:lnTo>
                    <a:pt x="6758" y="411"/>
                  </a:lnTo>
                  <a:lnTo>
                    <a:pt x="6750" y="412"/>
                  </a:lnTo>
                  <a:lnTo>
                    <a:pt x="6515" y="412"/>
                  </a:lnTo>
                  <a:close/>
                  <a:moveTo>
                    <a:pt x="6340" y="600"/>
                  </a:moveTo>
                  <a:lnTo>
                    <a:pt x="6340" y="606"/>
                  </a:lnTo>
                  <a:lnTo>
                    <a:pt x="6337" y="610"/>
                  </a:lnTo>
                  <a:lnTo>
                    <a:pt x="6334" y="612"/>
                  </a:lnTo>
                  <a:lnTo>
                    <a:pt x="6329" y="612"/>
                  </a:lnTo>
                  <a:lnTo>
                    <a:pt x="6277" y="612"/>
                  </a:lnTo>
                  <a:lnTo>
                    <a:pt x="6269" y="610"/>
                  </a:lnTo>
                  <a:lnTo>
                    <a:pt x="6267" y="606"/>
                  </a:lnTo>
                  <a:lnTo>
                    <a:pt x="6267" y="600"/>
                  </a:lnTo>
                  <a:lnTo>
                    <a:pt x="6267" y="23"/>
                  </a:lnTo>
                  <a:lnTo>
                    <a:pt x="6269" y="12"/>
                  </a:lnTo>
                  <a:lnTo>
                    <a:pt x="6272" y="11"/>
                  </a:lnTo>
                  <a:lnTo>
                    <a:pt x="6277" y="10"/>
                  </a:lnTo>
                  <a:lnTo>
                    <a:pt x="6329" y="10"/>
                  </a:lnTo>
                  <a:lnTo>
                    <a:pt x="6333" y="11"/>
                  </a:lnTo>
                  <a:lnTo>
                    <a:pt x="6337" y="12"/>
                  </a:lnTo>
                  <a:lnTo>
                    <a:pt x="6339" y="16"/>
                  </a:lnTo>
                  <a:lnTo>
                    <a:pt x="6340" y="23"/>
                  </a:lnTo>
                  <a:lnTo>
                    <a:pt x="6340" y="600"/>
                  </a:lnTo>
                  <a:close/>
                  <a:moveTo>
                    <a:pt x="6090" y="401"/>
                  </a:moveTo>
                  <a:lnTo>
                    <a:pt x="6089" y="354"/>
                  </a:lnTo>
                  <a:lnTo>
                    <a:pt x="6086" y="316"/>
                  </a:lnTo>
                  <a:lnTo>
                    <a:pt x="6081" y="287"/>
                  </a:lnTo>
                  <a:lnTo>
                    <a:pt x="6072" y="265"/>
                  </a:lnTo>
                  <a:lnTo>
                    <a:pt x="6067" y="256"/>
                  </a:lnTo>
                  <a:lnTo>
                    <a:pt x="6061" y="249"/>
                  </a:lnTo>
                  <a:lnTo>
                    <a:pt x="6055" y="244"/>
                  </a:lnTo>
                  <a:lnTo>
                    <a:pt x="6046" y="240"/>
                  </a:lnTo>
                  <a:lnTo>
                    <a:pt x="6028" y="234"/>
                  </a:lnTo>
                  <a:lnTo>
                    <a:pt x="6006" y="233"/>
                  </a:lnTo>
                  <a:lnTo>
                    <a:pt x="5977" y="235"/>
                  </a:lnTo>
                  <a:lnTo>
                    <a:pt x="5964" y="240"/>
                  </a:lnTo>
                  <a:lnTo>
                    <a:pt x="5959" y="242"/>
                  </a:lnTo>
                  <a:lnTo>
                    <a:pt x="5954" y="245"/>
                  </a:lnTo>
                  <a:lnTo>
                    <a:pt x="5944" y="253"/>
                  </a:lnTo>
                  <a:lnTo>
                    <a:pt x="5933" y="265"/>
                  </a:lnTo>
                  <a:lnTo>
                    <a:pt x="5908" y="297"/>
                  </a:lnTo>
                  <a:lnTo>
                    <a:pt x="5908" y="544"/>
                  </a:lnTo>
                  <a:lnTo>
                    <a:pt x="5931" y="551"/>
                  </a:lnTo>
                  <a:lnTo>
                    <a:pt x="5951" y="555"/>
                  </a:lnTo>
                  <a:lnTo>
                    <a:pt x="5972" y="558"/>
                  </a:lnTo>
                  <a:lnTo>
                    <a:pt x="5994" y="558"/>
                  </a:lnTo>
                  <a:lnTo>
                    <a:pt x="6021" y="557"/>
                  </a:lnTo>
                  <a:lnTo>
                    <a:pt x="6042" y="552"/>
                  </a:lnTo>
                  <a:lnTo>
                    <a:pt x="6051" y="548"/>
                  </a:lnTo>
                  <a:lnTo>
                    <a:pt x="6059" y="543"/>
                  </a:lnTo>
                  <a:lnTo>
                    <a:pt x="6066" y="536"/>
                  </a:lnTo>
                  <a:lnTo>
                    <a:pt x="6071" y="528"/>
                  </a:lnTo>
                  <a:lnTo>
                    <a:pt x="6081" y="507"/>
                  </a:lnTo>
                  <a:lnTo>
                    <a:pt x="6086" y="480"/>
                  </a:lnTo>
                  <a:lnTo>
                    <a:pt x="6089" y="445"/>
                  </a:lnTo>
                  <a:lnTo>
                    <a:pt x="6090" y="401"/>
                  </a:lnTo>
                  <a:close/>
                  <a:moveTo>
                    <a:pt x="5834" y="193"/>
                  </a:moveTo>
                  <a:lnTo>
                    <a:pt x="5836" y="182"/>
                  </a:lnTo>
                  <a:lnTo>
                    <a:pt x="5840" y="180"/>
                  </a:lnTo>
                  <a:lnTo>
                    <a:pt x="5846" y="180"/>
                  </a:lnTo>
                  <a:lnTo>
                    <a:pt x="5896" y="180"/>
                  </a:lnTo>
                  <a:lnTo>
                    <a:pt x="5904" y="182"/>
                  </a:lnTo>
                  <a:lnTo>
                    <a:pt x="5908" y="186"/>
                  </a:lnTo>
                  <a:lnTo>
                    <a:pt x="5908" y="193"/>
                  </a:lnTo>
                  <a:lnTo>
                    <a:pt x="5908" y="231"/>
                  </a:lnTo>
                  <a:lnTo>
                    <a:pt x="5933" y="203"/>
                  </a:lnTo>
                  <a:lnTo>
                    <a:pt x="5944" y="193"/>
                  </a:lnTo>
                  <a:lnTo>
                    <a:pt x="5957" y="184"/>
                  </a:lnTo>
                  <a:lnTo>
                    <a:pt x="5972" y="179"/>
                  </a:lnTo>
                  <a:lnTo>
                    <a:pt x="5986" y="175"/>
                  </a:lnTo>
                  <a:lnTo>
                    <a:pt x="6003" y="173"/>
                  </a:lnTo>
                  <a:lnTo>
                    <a:pt x="6022" y="172"/>
                  </a:lnTo>
                  <a:lnTo>
                    <a:pt x="6058" y="174"/>
                  </a:lnTo>
                  <a:lnTo>
                    <a:pt x="6087" y="181"/>
                  </a:lnTo>
                  <a:lnTo>
                    <a:pt x="6100" y="187"/>
                  </a:lnTo>
                  <a:lnTo>
                    <a:pt x="6111" y="196"/>
                  </a:lnTo>
                  <a:lnTo>
                    <a:pt x="6122" y="205"/>
                  </a:lnTo>
                  <a:lnTo>
                    <a:pt x="6130" y="217"/>
                  </a:lnTo>
                  <a:lnTo>
                    <a:pt x="6139" y="230"/>
                  </a:lnTo>
                  <a:lnTo>
                    <a:pt x="6145" y="247"/>
                  </a:lnTo>
                  <a:lnTo>
                    <a:pt x="6150" y="266"/>
                  </a:lnTo>
                  <a:lnTo>
                    <a:pt x="6154" y="287"/>
                  </a:lnTo>
                  <a:lnTo>
                    <a:pt x="6161" y="337"/>
                  </a:lnTo>
                  <a:lnTo>
                    <a:pt x="6163" y="399"/>
                  </a:lnTo>
                  <a:lnTo>
                    <a:pt x="6162" y="432"/>
                  </a:lnTo>
                  <a:lnTo>
                    <a:pt x="6160" y="460"/>
                  </a:lnTo>
                  <a:lnTo>
                    <a:pt x="6151" y="508"/>
                  </a:lnTo>
                  <a:lnTo>
                    <a:pt x="6144" y="528"/>
                  </a:lnTo>
                  <a:lnTo>
                    <a:pt x="6136" y="547"/>
                  </a:lnTo>
                  <a:lnTo>
                    <a:pt x="6127" y="562"/>
                  </a:lnTo>
                  <a:lnTo>
                    <a:pt x="6116" y="575"/>
                  </a:lnTo>
                  <a:lnTo>
                    <a:pt x="6104" y="587"/>
                  </a:lnTo>
                  <a:lnTo>
                    <a:pt x="6090" y="596"/>
                  </a:lnTo>
                  <a:lnTo>
                    <a:pt x="6076" y="604"/>
                  </a:lnTo>
                  <a:lnTo>
                    <a:pt x="6059" y="609"/>
                  </a:lnTo>
                  <a:lnTo>
                    <a:pt x="6021" y="616"/>
                  </a:lnTo>
                  <a:lnTo>
                    <a:pt x="5979" y="618"/>
                  </a:lnTo>
                  <a:lnTo>
                    <a:pt x="5943" y="616"/>
                  </a:lnTo>
                  <a:lnTo>
                    <a:pt x="5908" y="608"/>
                  </a:lnTo>
                  <a:lnTo>
                    <a:pt x="5908" y="783"/>
                  </a:lnTo>
                  <a:lnTo>
                    <a:pt x="5908" y="789"/>
                  </a:lnTo>
                  <a:lnTo>
                    <a:pt x="5905" y="793"/>
                  </a:lnTo>
                  <a:lnTo>
                    <a:pt x="5897" y="795"/>
                  </a:lnTo>
                  <a:lnTo>
                    <a:pt x="5846" y="795"/>
                  </a:lnTo>
                  <a:lnTo>
                    <a:pt x="5840" y="795"/>
                  </a:lnTo>
                  <a:lnTo>
                    <a:pt x="5836" y="793"/>
                  </a:lnTo>
                  <a:lnTo>
                    <a:pt x="5835" y="789"/>
                  </a:lnTo>
                  <a:lnTo>
                    <a:pt x="5834" y="783"/>
                  </a:lnTo>
                  <a:lnTo>
                    <a:pt x="5834" y="193"/>
                  </a:lnTo>
                  <a:close/>
                  <a:moveTo>
                    <a:pt x="5573" y="558"/>
                  </a:moveTo>
                  <a:lnTo>
                    <a:pt x="5600" y="557"/>
                  </a:lnTo>
                  <a:lnTo>
                    <a:pt x="5620" y="552"/>
                  </a:lnTo>
                  <a:lnTo>
                    <a:pt x="5628" y="548"/>
                  </a:lnTo>
                  <a:lnTo>
                    <a:pt x="5636" y="543"/>
                  </a:lnTo>
                  <a:lnTo>
                    <a:pt x="5642" y="536"/>
                  </a:lnTo>
                  <a:lnTo>
                    <a:pt x="5646" y="528"/>
                  </a:lnTo>
                  <a:lnTo>
                    <a:pt x="5654" y="507"/>
                  </a:lnTo>
                  <a:lnTo>
                    <a:pt x="5658" y="480"/>
                  </a:lnTo>
                  <a:lnTo>
                    <a:pt x="5660" y="445"/>
                  </a:lnTo>
                  <a:lnTo>
                    <a:pt x="5660" y="401"/>
                  </a:lnTo>
                  <a:lnTo>
                    <a:pt x="5660" y="354"/>
                  </a:lnTo>
                  <a:lnTo>
                    <a:pt x="5658" y="316"/>
                  </a:lnTo>
                  <a:lnTo>
                    <a:pt x="5653" y="287"/>
                  </a:lnTo>
                  <a:lnTo>
                    <a:pt x="5644" y="265"/>
                  </a:lnTo>
                  <a:lnTo>
                    <a:pt x="5639" y="256"/>
                  </a:lnTo>
                  <a:lnTo>
                    <a:pt x="5632" y="249"/>
                  </a:lnTo>
                  <a:lnTo>
                    <a:pt x="5624" y="244"/>
                  </a:lnTo>
                  <a:lnTo>
                    <a:pt x="5615" y="240"/>
                  </a:lnTo>
                  <a:lnTo>
                    <a:pt x="5591" y="234"/>
                  </a:lnTo>
                  <a:lnTo>
                    <a:pt x="5560" y="233"/>
                  </a:lnTo>
                  <a:lnTo>
                    <a:pt x="5534" y="234"/>
                  </a:lnTo>
                  <a:lnTo>
                    <a:pt x="5513" y="240"/>
                  </a:lnTo>
                  <a:lnTo>
                    <a:pt x="5505" y="244"/>
                  </a:lnTo>
                  <a:lnTo>
                    <a:pt x="5497" y="249"/>
                  </a:lnTo>
                  <a:lnTo>
                    <a:pt x="5491" y="256"/>
                  </a:lnTo>
                  <a:lnTo>
                    <a:pt x="5486" y="264"/>
                  </a:lnTo>
                  <a:lnTo>
                    <a:pt x="5479" y="285"/>
                  </a:lnTo>
                  <a:lnTo>
                    <a:pt x="5475" y="312"/>
                  </a:lnTo>
                  <a:lnTo>
                    <a:pt x="5473" y="347"/>
                  </a:lnTo>
                  <a:lnTo>
                    <a:pt x="5472" y="390"/>
                  </a:lnTo>
                  <a:lnTo>
                    <a:pt x="5473" y="438"/>
                  </a:lnTo>
                  <a:lnTo>
                    <a:pt x="5475" y="476"/>
                  </a:lnTo>
                  <a:lnTo>
                    <a:pt x="5480" y="505"/>
                  </a:lnTo>
                  <a:lnTo>
                    <a:pt x="5489" y="527"/>
                  </a:lnTo>
                  <a:lnTo>
                    <a:pt x="5494" y="535"/>
                  </a:lnTo>
                  <a:lnTo>
                    <a:pt x="5501" y="543"/>
                  </a:lnTo>
                  <a:lnTo>
                    <a:pt x="5509" y="548"/>
                  </a:lnTo>
                  <a:lnTo>
                    <a:pt x="5519" y="552"/>
                  </a:lnTo>
                  <a:lnTo>
                    <a:pt x="5542" y="557"/>
                  </a:lnTo>
                  <a:lnTo>
                    <a:pt x="5573" y="558"/>
                  </a:lnTo>
                  <a:close/>
                  <a:moveTo>
                    <a:pt x="5566" y="173"/>
                  </a:moveTo>
                  <a:lnTo>
                    <a:pt x="5613" y="175"/>
                  </a:lnTo>
                  <a:lnTo>
                    <a:pt x="5649" y="182"/>
                  </a:lnTo>
                  <a:lnTo>
                    <a:pt x="5665" y="188"/>
                  </a:lnTo>
                  <a:lnTo>
                    <a:pt x="5679" y="197"/>
                  </a:lnTo>
                  <a:lnTo>
                    <a:pt x="5690" y="206"/>
                  </a:lnTo>
                  <a:lnTo>
                    <a:pt x="5701" y="218"/>
                  </a:lnTo>
                  <a:lnTo>
                    <a:pt x="5709" y="231"/>
                  </a:lnTo>
                  <a:lnTo>
                    <a:pt x="5716" y="248"/>
                  </a:lnTo>
                  <a:lnTo>
                    <a:pt x="5721" y="266"/>
                  </a:lnTo>
                  <a:lnTo>
                    <a:pt x="5726" y="288"/>
                  </a:lnTo>
                  <a:lnTo>
                    <a:pt x="5731" y="337"/>
                  </a:lnTo>
                  <a:lnTo>
                    <a:pt x="5732" y="399"/>
                  </a:lnTo>
                  <a:lnTo>
                    <a:pt x="5730" y="460"/>
                  </a:lnTo>
                  <a:lnTo>
                    <a:pt x="5727" y="485"/>
                  </a:lnTo>
                  <a:lnTo>
                    <a:pt x="5724" y="508"/>
                  </a:lnTo>
                  <a:lnTo>
                    <a:pt x="5719" y="529"/>
                  </a:lnTo>
                  <a:lnTo>
                    <a:pt x="5712" y="547"/>
                  </a:lnTo>
                  <a:lnTo>
                    <a:pt x="5704" y="563"/>
                  </a:lnTo>
                  <a:lnTo>
                    <a:pt x="5696" y="575"/>
                  </a:lnTo>
                  <a:lnTo>
                    <a:pt x="5685" y="587"/>
                  </a:lnTo>
                  <a:lnTo>
                    <a:pt x="5672" y="596"/>
                  </a:lnTo>
                  <a:lnTo>
                    <a:pt x="5659" y="605"/>
                  </a:lnTo>
                  <a:lnTo>
                    <a:pt x="5644" y="610"/>
                  </a:lnTo>
                  <a:lnTo>
                    <a:pt x="5627" y="614"/>
                  </a:lnTo>
                  <a:lnTo>
                    <a:pt x="5608" y="617"/>
                  </a:lnTo>
                  <a:lnTo>
                    <a:pt x="5566" y="619"/>
                  </a:lnTo>
                  <a:lnTo>
                    <a:pt x="5520" y="617"/>
                  </a:lnTo>
                  <a:lnTo>
                    <a:pt x="5484" y="610"/>
                  </a:lnTo>
                  <a:lnTo>
                    <a:pt x="5468" y="604"/>
                  </a:lnTo>
                  <a:lnTo>
                    <a:pt x="5454" y="595"/>
                  </a:lnTo>
                  <a:lnTo>
                    <a:pt x="5443" y="586"/>
                  </a:lnTo>
                  <a:lnTo>
                    <a:pt x="5432" y="574"/>
                  </a:lnTo>
                  <a:lnTo>
                    <a:pt x="5424" y="561"/>
                  </a:lnTo>
                  <a:lnTo>
                    <a:pt x="5417" y="544"/>
                  </a:lnTo>
                  <a:lnTo>
                    <a:pt x="5407" y="505"/>
                  </a:lnTo>
                  <a:lnTo>
                    <a:pt x="5402" y="455"/>
                  </a:lnTo>
                  <a:lnTo>
                    <a:pt x="5400" y="393"/>
                  </a:lnTo>
                  <a:lnTo>
                    <a:pt x="5402" y="332"/>
                  </a:lnTo>
                  <a:lnTo>
                    <a:pt x="5405" y="307"/>
                  </a:lnTo>
                  <a:lnTo>
                    <a:pt x="5409" y="284"/>
                  </a:lnTo>
                  <a:lnTo>
                    <a:pt x="5414" y="263"/>
                  </a:lnTo>
                  <a:lnTo>
                    <a:pt x="5421" y="245"/>
                  </a:lnTo>
                  <a:lnTo>
                    <a:pt x="5428" y="229"/>
                  </a:lnTo>
                  <a:lnTo>
                    <a:pt x="5437" y="216"/>
                  </a:lnTo>
                  <a:lnTo>
                    <a:pt x="5448" y="205"/>
                  </a:lnTo>
                  <a:lnTo>
                    <a:pt x="5460" y="196"/>
                  </a:lnTo>
                  <a:lnTo>
                    <a:pt x="5474" y="188"/>
                  </a:lnTo>
                  <a:lnTo>
                    <a:pt x="5489" y="182"/>
                  </a:lnTo>
                  <a:lnTo>
                    <a:pt x="5524" y="175"/>
                  </a:lnTo>
                  <a:lnTo>
                    <a:pt x="5566" y="173"/>
                  </a:lnTo>
                  <a:close/>
                  <a:moveTo>
                    <a:pt x="5061" y="347"/>
                  </a:moveTo>
                  <a:lnTo>
                    <a:pt x="5239" y="347"/>
                  </a:lnTo>
                  <a:lnTo>
                    <a:pt x="5237" y="316"/>
                  </a:lnTo>
                  <a:lnTo>
                    <a:pt x="5234" y="291"/>
                  </a:lnTo>
                  <a:lnTo>
                    <a:pt x="5226" y="271"/>
                  </a:lnTo>
                  <a:lnTo>
                    <a:pt x="5222" y="263"/>
                  </a:lnTo>
                  <a:lnTo>
                    <a:pt x="5218" y="255"/>
                  </a:lnTo>
                  <a:lnTo>
                    <a:pt x="5212" y="250"/>
                  </a:lnTo>
                  <a:lnTo>
                    <a:pt x="5205" y="245"/>
                  </a:lnTo>
                  <a:lnTo>
                    <a:pt x="5189" y="238"/>
                  </a:lnTo>
                  <a:lnTo>
                    <a:pt x="5169" y="234"/>
                  </a:lnTo>
                  <a:lnTo>
                    <a:pt x="5144" y="233"/>
                  </a:lnTo>
                  <a:lnTo>
                    <a:pt x="5122" y="234"/>
                  </a:lnTo>
                  <a:lnTo>
                    <a:pt x="5105" y="239"/>
                  </a:lnTo>
                  <a:lnTo>
                    <a:pt x="5090" y="245"/>
                  </a:lnTo>
                  <a:lnTo>
                    <a:pt x="5078" y="256"/>
                  </a:lnTo>
                  <a:lnTo>
                    <a:pt x="5071" y="271"/>
                  </a:lnTo>
                  <a:lnTo>
                    <a:pt x="5066" y="291"/>
                  </a:lnTo>
                  <a:lnTo>
                    <a:pt x="5062" y="316"/>
                  </a:lnTo>
                  <a:lnTo>
                    <a:pt x="5061" y="347"/>
                  </a:lnTo>
                  <a:close/>
                  <a:moveTo>
                    <a:pt x="5061" y="412"/>
                  </a:moveTo>
                  <a:lnTo>
                    <a:pt x="5062" y="453"/>
                  </a:lnTo>
                  <a:lnTo>
                    <a:pt x="5063" y="470"/>
                  </a:lnTo>
                  <a:lnTo>
                    <a:pt x="5064" y="486"/>
                  </a:lnTo>
                  <a:lnTo>
                    <a:pt x="5070" y="511"/>
                  </a:lnTo>
                  <a:lnTo>
                    <a:pt x="5078" y="531"/>
                  </a:lnTo>
                  <a:lnTo>
                    <a:pt x="5085" y="539"/>
                  </a:lnTo>
                  <a:lnTo>
                    <a:pt x="5091" y="545"/>
                  </a:lnTo>
                  <a:lnTo>
                    <a:pt x="5099" y="549"/>
                  </a:lnTo>
                  <a:lnTo>
                    <a:pt x="5109" y="553"/>
                  </a:lnTo>
                  <a:lnTo>
                    <a:pt x="5132" y="557"/>
                  </a:lnTo>
                  <a:lnTo>
                    <a:pt x="5161" y="558"/>
                  </a:lnTo>
                  <a:lnTo>
                    <a:pt x="5180" y="558"/>
                  </a:lnTo>
                  <a:lnTo>
                    <a:pt x="5197" y="556"/>
                  </a:lnTo>
                  <a:lnTo>
                    <a:pt x="5210" y="552"/>
                  </a:lnTo>
                  <a:lnTo>
                    <a:pt x="5220" y="546"/>
                  </a:lnTo>
                  <a:lnTo>
                    <a:pt x="5230" y="539"/>
                  </a:lnTo>
                  <a:lnTo>
                    <a:pt x="5236" y="528"/>
                  </a:lnTo>
                  <a:lnTo>
                    <a:pt x="5247" y="500"/>
                  </a:lnTo>
                  <a:lnTo>
                    <a:pt x="5249" y="493"/>
                  </a:lnTo>
                  <a:lnTo>
                    <a:pt x="5254" y="489"/>
                  </a:lnTo>
                  <a:lnTo>
                    <a:pt x="5258" y="488"/>
                  </a:lnTo>
                  <a:lnTo>
                    <a:pt x="5264" y="488"/>
                  </a:lnTo>
                  <a:lnTo>
                    <a:pt x="5303" y="495"/>
                  </a:lnTo>
                  <a:lnTo>
                    <a:pt x="5309" y="496"/>
                  </a:lnTo>
                  <a:lnTo>
                    <a:pt x="5313" y="500"/>
                  </a:lnTo>
                  <a:lnTo>
                    <a:pt x="5316" y="505"/>
                  </a:lnTo>
                  <a:lnTo>
                    <a:pt x="5316" y="511"/>
                  </a:lnTo>
                  <a:lnTo>
                    <a:pt x="5309" y="533"/>
                  </a:lnTo>
                  <a:lnTo>
                    <a:pt x="5301" y="553"/>
                  </a:lnTo>
                  <a:lnTo>
                    <a:pt x="5289" y="571"/>
                  </a:lnTo>
                  <a:lnTo>
                    <a:pt x="5282" y="579"/>
                  </a:lnTo>
                  <a:lnTo>
                    <a:pt x="5274" y="588"/>
                  </a:lnTo>
                  <a:lnTo>
                    <a:pt x="5254" y="600"/>
                  </a:lnTo>
                  <a:lnTo>
                    <a:pt x="5227" y="611"/>
                  </a:lnTo>
                  <a:lnTo>
                    <a:pt x="5213" y="615"/>
                  </a:lnTo>
                  <a:lnTo>
                    <a:pt x="5195" y="617"/>
                  </a:lnTo>
                  <a:lnTo>
                    <a:pt x="5155" y="619"/>
                  </a:lnTo>
                  <a:lnTo>
                    <a:pt x="5109" y="617"/>
                  </a:lnTo>
                  <a:lnTo>
                    <a:pt x="5071" y="610"/>
                  </a:lnTo>
                  <a:lnTo>
                    <a:pt x="5056" y="604"/>
                  </a:lnTo>
                  <a:lnTo>
                    <a:pt x="5043" y="595"/>
                  </a:lnTo>
                  <a:lnTo>
                    <a:pt x="5031" y="586"/>
                  </a:lnTo>
                  <a:lnTo>
                    <a:pt x="5021" y="574"/>
                  </a:lnTo>
                  <a:lnTo>
                    <a:pt x="5012" y="561"/>
                  </a:lnTo>
                  <a:lnTo>
                    <a:pt x="5005" y="544"/>
                  </a:lnTo>
                  <a:lnTo>
                    <a:pt x="4995" y="505"/>
                  </a:lnTo>
                  <a:lnTo>
                    <a:pt x="4989" y="455"/>
                  </a:lnTo>
                  <a:lnTo>
                    <a:pt x="4988" y="393"/>
                  </a:lnTo>
                  <a:lnTo>
                    <a:pt x="4990" y="332"/>
                  </a:lnTo>
                  <a:lnTo>
                    <a:pt x="4993" y="307"/>
                  </a:lnTo>
                  <a:lnTo>
                    <a:pt x="4996" y="284"/>
                  </a:lnTo>
                  <a:lnTo>
                    <a:pt x="5002" y="263"/>
                  </a:lnTo>
                  <a:lnTo>
                    <a:pt x="5009" y="245"/>
                  </a:lnTo>
                  <a:lnTo>
                    <a:pt x="5016" y="229"/>
                  </a:lnTo>
                  <a:lnTo>
                    <a:pt x="5026" y="216"/>
                  </a:lnTo>
                  <a:lnTo>
                    <a:pt x="5036" y="205"/>
                  </a:lnTo>
                  <a:lnTo>
                    <a:pt x="5048" y="196"/>
                  </a:lnTo>
                  <a:lnTo>
                    <a:pt x="5062" y="188"/>
                  </a:lnTo>
                  <a:lnTo>
                    <a:pt x="5077" y="182"/>
                  </a:lnTo>
                  <a:lnTo>
                    <a:pt x="5113" y="175"/>
                  </a:lnTo>
                  <a:lnTo>
                    <a:pt x="5155" y="173"/>
                  </a:lnTo>
                  <a:lnTo>
                    <a:pt x="5178" y="174"/>
                  </a:lnTo>
                  <a:lnTo>
                    <a:pt x="5199" y="176"/>
                  </a:lnTo>
                  <a:lnTo>
                    <a:pt x="5218" y="179"/>
                  </a:lnTo>
                  <a:lnTo>
                    <a:pt x="5235" y="184"/>
                  </a:lnTo>
                  <a:lnTo>
                    <a:pt x="5249" y="191"/>
                  </a:lnTo>
                  <a:lnTo>
                    <a:pt x="5262" y="200"/>
                  </a:lnTo>
                  <a:lnTo>
                    <a:pt x="5274" y="209"/>
                  </a:lnTo>
                  <a:lnTo>
                    <a:pt x="5283" y="221"/>
                  </a:lnTo>
                  <a:lnTo>
                    <a:pt x="5290" y="233"/>
                  </a:lnTo>
                  <a:lnTo>
                    <a:pt x="5297" y="248"/>
                  </a:lnTo>
                  <a:lnTo>
                    <a:pt x="5302" y="264"/>
                  </a:lnTo>
                  <a:lnTo>
                    <a:pt x="5305" y="281"/>
                  </a:lnTo>
                  <a:lnTo>
                    <a:pt x="5308" y="301"/>
                  </a:lnTo>
                  <a:lnTo>
                    <a:pt x="5310" y="320"/>
                  </a:lnTo>
                  <a:lnTo>
                    <a:pt x="5311" y="367"/>
                  </a:lnTo>
                  <a:lnTo>
                    <a:pt x="5311" y="396"/>
                  </a:lnTo>
                  <a:lnTo>
                    <a:pt x="5310" y="403"/>
                  </a:lnTo>
                  <a:lnTo>
                    <a:pt x="5307" y="407"/>
                  </a:lnTo>
                  <a:lnTo>
                    <a:pt x="5303" y="411"/>
                  </a:lnTo>
                  <a:lnTo>
                    <a:pt x="5296" y="412"/>
                  </a:lnTo>
                  <a:lnTo>
                    <a:pt x="5061" y="412"/>
                  </a:lnTo>
                  <a:close/>
                  <a:moveTo>
                    <a:pt x="4760" y="104"/>
                  </a:moveTo>
                  <a:lnTo>
                    <a:pt x="4653" y="104"/>
                  </a:lnTo>
                  <a:lnTo>
                    <a:pt x="4653" y="339"/>
                  </a:lnTo>
                  <a:lnTo>
                    <a:pt x="4736" y="339"/>
                  </a:lnTo>
                  <a:lnTo>
                    <a:pt x="4763" y="337"/>
                  </a:lnTo>
                  <a:lnTo>
                    <a:pt x="4787" y="331"/>
                  </a:lnTo>
                  <a:lnTo>
                    <a:pt x="4796" y="327"/>
                  </a:lnTo>
                  <a:lnTo>
                    <a:pt x="4804" y="321"/>
                  </a:lnTo>
                  <a:lnTo>
                    <a:pt x="4819" y="308"/>
                  </a:lnTo>
                  <a:lnTo>
                    <a:pt x="4830" y="290"/>
                  </a:lnTo>
                  <a:lnTo>
                    <a:pt x="4837" y="268"/>
                  </a:lnTo>
                  <a:lnTo>
                    <a:pt x="4841" y="241"/>
                  </a:lnTo>
                  <a:lnTo>
                    <a:pt x="4842" y="210"/>
                  </a:lnTo>
                  <a:lnTo>
                    <a:pt x="4841" y="186"/>
                  </a:lnTo>
                  <a:lnTo>
                    <a:pt x="4837" y="165"/>
                  </a:lnTo>
                  <a:lnTo>
                    <a:pt x="4831" y="147"/>
                  </a:lnTo>
                  <a:lnTo>
                    <a:pt x="4822" y="133"/>
                  </a:lnTo>
                  <a:lnTo>
                    <a:pt x="4810" y="120"/>
                  </a:lnTo>
                  <a:lnTo>
                    <a:pt x="4796" y="111"/>
                  </a:lnTo>
                  <a:lnTo>
                    <a:pt x="4779" y="105"/>
                  </a:lnTo>
                  <a:lnTo>
                    <a:pt x="4760" y="104"/>
                  </a:lnTo>
                  <a:close/>
                  <a:moveTo>
                    <a:pt x="4577" y="51"/>
                  </a:moveTo>
                  <a:lnTo>
                    <a:pt x="4580" y="40"/>
                  </a:lnTo>
                  <a:lnTo>
                    <a:pt x="4583" y="38"/>
                  </a:lnTo>
                  <a:lnTo>
                    <a:pt x="4588" y="38"/>
                  </a:lnTo>
                  <a:lnTo>
                    <a:pt x="4768" y="38"/>
                  </a:lnTo>
                  <a:lnTo>
                    <a:pt x="4789" y="39"/>
                  </a:lnTo>
                  <a:lnTo>
                    <a:pt x="4808" y="42"/>
                  </a:lnTo>
                  <a:lnTo>
                    <a:pt x="4824" y="46"/>
                  </a:lnTo>
                  <a:lnTo>
                    <a:pt x="4839" y="52"/>
                  </a:lnTo>
                  <a:lnTo>
                    <a:pt x="4853" y="59"/>
                  </a:lnTo>
                  <a:lnTo>
                    <a:pt x="4865" y="68"/>
                  </a:lnTo>
                  <a:lnTo>
                    <a:pt x="4876" y="78"/>
                  </a:lnTo>
                  <a:lnTo>
                    <a:pt x="4885" y="89"/>
                  </a:lnTo>
                  <a:lnTo>
                    <a:pt x="4894" y="101"/>
                  </a:lnTo>
                  <a:lnTo>
                    <a:pt x="4900" y="115"/>
                  </a:lnTo>
                  <a:lnTo>
                    <a:pt x="4906" y="129"/>
                  </a:lnTo>
                  <a:lnTo>
                    <a:pt x="4910" y="143"/>
                  </a:lnTo>
                  <a:lnTo>
                    <a:pt x="4916" y="176"/>
                  </a:lnTo>
                  <a:lnTo>
                    <a:pt x="4918" y="210"/>
                  </a:lnTo>
                  <a:lnTo>
                    <a:pt x="4917" y="233"/>
                  </a:lnTo>
                  <a:lnTo>
                    <a:pt x="4915" y="255"/>
                  </a:lnTo>
                  <a:lnTo>
                    <a:pt x="4910" y="276"/>
                  </a:lnTo>
                  <a:lnTo>
                    <a:pt x="4905" y="295"/>
                  </a:lnTo>
                  <a:lnTo>
                    <a:pt x="4898" y="313"/>
                  </a:lnTo>
                  <a:lnTo>
                    <a:pt x="4889" y="329"/>
                  </a:lnTo>
                  <a:lnTo>
                    <a:pt x="4879" y="344"/>
                  </a:lnTo>
                  <a:lnTo>
                    <a:pt x="4867" y="356"/>
                  </a:lnTo>
                  <a:lnTo>
                    <a:pt x="4855" y="368"/>
                  </a:lnTo>
                  <a:lnTo>
                    <a:pt x="4841" y="377"/>
                  </a:lnTo>
                  <a:lnTo>
                    <a:pt x="4825" y="385"/>
                  </a:lnTo>
                  <a:lnTo>
                    <a:pt x="4817" y="389"/>
                  </a:lnTo>
                  <a:lnTo>
                    <a:pt x="4809" y="392"/>
                  </a:lnTo>
                  <a:lnTo>
                    <a:pt x="4791" y="397"/>
                  </a:lnTo>
                  <a:lnTo>
                    <a:pt x="4772" y="401"/>
                  </a:lnTo>
                  <a:lnTo>
                    <a:pt x="4730" y="404"/>
                  </a:lnTo>
                  <a:lnTo>
                    <a:pt x="4653" y="404"/>
                  </a:lnTo>
                  <a:lnTo>
                    <a:pt x="4653" y="600"/>
                  </a:lnTo>
                  <a:lnTo>
                    <a:pt x="4652" y="606"/>
                  </a:lnTo>
                  <a:lnTo>
                    <a:pt x="4649" y="610"/>
                  </a:lnTo>
                  <a:lnTo>
                    <a:pt x="4646" y="612"/>
                  </a:lnTo>
                  <a:lnTo>
                    <a:pt x="4642" y="612"/>
                  </a:lnTo>
                  <a:lnTo>
                    <a:pt x="4588" y="612"/>
                  </a:lnTo>
                  <a:lnTo>
                    <a:pt x="4580" y="610"/>
                  </a:lnTo>
                  <a:lnTo>
                    <a:pt x="4578" y="606"/>
                  </a:lnTo>
                  <a:lnTo>
                    <a:pt x="4577" y="600"/>
                  </a:lnTo>
                  <a:lnTo>
                    <a:pt x="4577" y="51"/>
                  </a:lnTo>
                  <a:close/>
                  <a:moveTo>
                    <a:pt x="4113" y="558"/>
                  </a:moveTo>
                  <a:lnTo>
                    <a:pt x="4139" y="557"/>
                  </a:lnTo>
                  <a:lnTo>
                    <a:pt x="4160" y="552"/>
                  </a:lnTo>
                  <a:lnTo>
                    <a:pt x="4168" y="548"/>
                  </a:lnTo>
                  <a:lnTo>
                    <a:pt x="4176" y="543"/>
                  </a:lnTo>
                  <a:lnTo>
                    <a:pt x="4181" y="536"/>
                  </a:lnTo>
                  <a:lnTo>
                    <a:pt x="4186" y="528"/>
                  </a:lnTo>
                  <a:lnTo>
                    <a:pt x="4193" y="507"/>
                  </a:lnTo>
                  <a:lnTo>
                    <a:pt x="4198" y="480"/>
                  </a:lnTo>
                  <a:lnTo>
                    <a:pt x="4200" y="445"/>
                  </a:lnTo>
                  <a:lnTo>
                    <a:pt x="4200" y="401"/>
                  </a:lnTo>
                  <a:lnTo>
                    <a:pt x="4200" y="354"/>
                  </a:lnTo>
                  <a:lnTo>
                    <a:pt x="4197" y="316"/>
                  </a:lnTo>
                  <a:lnTo>
                    <a:pt x="4192" y="287"/>
                  </a:lnTo>
                  <a:lnTo>
                    <a:pt x="4184" y="265"/>
                  </a:lnTo>
                  <a:lnTo>
                    <a:pt x="4179" y="256"/>
                  </a:lnTo>
                  <a:lnTo>
                    <a:pt x="4171" y="249"/>
                  </a:lnTo>
                  <a:lnTo>
                    <a:pt x="4163" y="244"/>
                  </a:lnTo>
                  <a:lnTo>
                    <a:pt x="4154" y="240"/>
                  </a:lnTo>
                  <a:lnTo>
                    <a:pt x="4130" y="234"/>
                  </a:lnTo>
                  <a:lnTo>
                    <a:pt x="4100" y="233"/>
                  </a:lnTo>
                  <a:lnTo>
                    <a:pt x="4073" y="234"/>
                  </a:lnTo>
                  <a:lnTo>
                    <a:pt x="4053" y="240"/>
                  </a:lnTo>
                  <a:lnTo>
                    <a:pt x="4044" y="244"/>
                  </a:lnTo>
                  <a:lnTo>
                    <a:pt x="4037" y="249"/>
                  </a:lnTo>
                  <a:lnTo>
                    <a:pt x="4031" y="256"/>
                  </a:lnTo>
                  <a:lnTo>
                    <a:pt x="4026" y="264"/>
                  </a:lnTo>
                  <a:lnTo>
                    <a:pt x="4018" y="285"/>
                  </a:lnTo>
                  <a:lnTo>
                    <a:pt x="4014" y="312"/>
                  </a:lnTo>
                  <a:lnTo>
                    <a:pt x="4012" y="347"/>
                  </a:lnTo>
                  <a:lnTo>
                    <a:pt x="4012" y="390"/>
                  </a:lnTo>
                  <a:lnTo>
                    <a:pt x="4012" y="438"/>
                  </a:lnTo>
                  <a:lnTo>
                    <a:pt x="4015" y="476"/>
                  </a:lnTo>
                  <a:lnTo>
                    <a:pt x="4019" y="505"/>
                  </a:lnTo>
                  <a:lnTo>
                    <a:pt x="4028" y="527"/>
                  </a:lnTo>
                  <a:lnTo>
                    <a:pt x="4034" y="535"/>
                  </a:lnTo>
                  <a:lnTo>
                    <a:pt x="4040" y="543"/>
                  </a:lnTo>
                  <a:lnTo>
                    <a:pt x="4049" y="548"/>
                  </a:lnTo>
                  <a:lnTo>
                    <a:pt x="4058" y="552"/>
                  </a:lnTo>
                  <a:lnTo>
                    <a:pt x="4082" y="557"/>
                  </a:lnTo>
                  <a:lnTo>
                    <a:pt x="4113" y="558"/>
                  </a:lnTo>
                  <a:close/>
                  <a:moveTo>
                    <a:pt x="4106" y="173"/>
                  </a:moveTo>
                  <a:lnTo>
                    <a:pt x="4153" y="175"/>
                  </a:lnTo>
                  <a:lnTo>
                    <a:pt x="4189" y="182"/>
                  </a:lnTo>
                  <a:lnTo>
                    <a:pt x="4205" y="188"/>
                  </a:lnTo>
                  <a:lnTo>
                    <a:pt x="4219" y="197"/>
                  </a:lnTo>
                  <a:lnTo>
                    <a:pt x="4230" y="206"/>
                  </a:lnTo>
                  <a:lnTo>
                    <a:pt x="4240" y="218"/>
                  </a:lnTo>
                  <a:lnTo>
                    <a:pt x="4248" y="231"/>
                  </a:lnTo>
                  <a:lnTo>
                    <a:pt x="4255" y="248"/>
                  </a:lnTo>
                  <a:lnTo>
                    <a:pt x="4261" y="266"/>
                  </a:lnTo>
                  <a:lnTo>
                    <a:pt x="4265" y="288"/>
                  </a:lnTo>
                  <a:lnTo>
                    <a:pt x="4270" y="337"/>
                  </a:lnTo>
                  <a:lnTo>
                    <a:pt x="4272" y="399"/>
                  </a:lnTo>
                  <a:lnTo>
                    <a:pt x="4270" y="460"/>
                  </a:lnTo>
                  <a:lnTo>
                    <a:pt x="4267" y="485"/>
                  </a:lnTo>
                  <a:lnTo>
                    <a:pt x="4264" y="508"/>
                  </a:lnTo>
                  <a:lnTo>
                    <a:pt x="4259" y="529"/>
                  </a:lnTo>
                  <a:lnTo>
                    <a:pt x="4252" y="547"/>
                  </a:lnTo>
                  <a:lnTo>
                    <a:pt x="4244" y="563"/>
                  </a:lnTo>
                  <a:lnTo>
                    <a:pt x="4235" y="575"/>
                  </a:lnTo>
                  <a:lnTo>
                    <a:pt x="4225" y="587"/>
                  </a:lnTo>
                  <a:lnTo>
                    <a:pt x="4212" y="596"/>
                  </a:lnTo>
                  <a:lnTo>
                    <a:pt x="4199" y="605"/>
                  </a:lnTo>
                  <a:lnTo>
                    <a:pt x="4184" y="610"/>
                  </a:lnTo>
                  <a:lnTo>
                    <a:pt x="4167" y="614"/>
                  </a:lnTo>
                  <a:lnTo>
                    <a:pt x="4148" y="617"/>
                  </a:lnTo>
                  <a:lnTo>
                    <a:pt x="4106" y="619"/>
                  </a:lnTo>
                  <a:lnTo>
                    <a:pt x="4060" y="617"/>
                  </a:lnTo>
                  <a:lnTo>
                    <a:pt x="4023" y="610"/>
                  </a:lnTo>
                  <a:lnTo>
                    <a:pt x="4008" y="604"/>
                  </a:lnTo>
                  <a:lnTo>
                    <a:pt x="3994" y="595"/>
                  </a:lnTo>
                  <a:lnTo>
                    <a:pt x="3982" y="586"/>
                  </a:lnTo>
                  <a:lnTo>
                    <a:pt x="3972" y="574"/>
                  </a:lnTo>
                  <a:lnTo>
                    <a:pt x="3964" y="561"/>
                  </a:lnTo>
                  <a:lnTo>
                    <a:pt x="3956" y="544"/>
                  </a:lnTo>
                  <a:lnTo>
                    <a:pt x="3947" y="505"/>
                  </a:lnTo>
                  <a:lnTo>
                    <a:pt x="3942" y="455"/>
                  </a:lnTo>
                  <a:lnTo>
                    <a:pt x="3939" y="393"/>
                  </a:lnTo>
                  <a:lnTo>
                    <a:pt x="3942" y="332"/>
                  </a:lnTo>
                  <a:lnTo>
                    <a:pt x="3945" y="307"/>
                  </a:lnTo>
                  <a:lnTo>
                    <a:pt x="3949" y="284"/>
                  </a:lnTo>
                  <a:lnTo>
                    <a:pt x="3954" y="263"/>
                  </a:lnTo>
                  <a:lnTo>
                    <a:pt x="3960" y="245"/>
                  </a:lnTo>
                  <a:lnTo>
                    <a:pt x="3968" y="229"/>
                  </a:lnTo>
                  <a:lnTo>
                    <a:pt x="3977" y="216"/>
                  </a:lnTo>
                  <a:lnTo>
                    <a:pt x="3988" y="205"/>
                  </a:lnTo>
                  <a:lnTo>
                    <a:pt x="4000" y="196"/>
                  </a:lnTo>
                  <a:lnTo>
                    <a:pt x="4014" y="188"/>
                  </a:lnTo>
                  <a:lnTo>
                    <a:pt x="4029" y="182"/>
                  </a:lnTo>
                  <a:lnTo>
                    <a:pt x="4064" y="175"/>
                  </a:lnTo>
                  <a:lnTo>
                    <a:pt x="4106" y="173"/>
                  </a:lnTo>
                  <a:close/>
                  <a:moveTo>
                    <a:pt x="3678" y="250"/>
                  </a:moveTo>
                  <a:lnTo>
                    <a:pt x="3636" y="250"/>
                  </a:lnTo>
                  <a:lnTo>
                    <a:pt x="3629" y="248"/>
                  </a:lnTo>
                  <a:lnTo>
                    <a:pt x="3628" y="245"/>
                  </a:lnTo>
                  <a:lnTo>
                    <a:pt x="3627" y="241"/>
                  </a:lnTo>
                  <a:lnTo>
                    <a:pt x="3627" y="196"/>
                  </a:lnTo>
                  <a:lnTo>
                    <a:pt x="3629" y="188"/>
                  </a:lnTo>
                  <a:lnTo>
                    <a:pt x="3636" y="186"/>
                  </a:lnTo>
                  <a:lnTo>
                    <a:pt x="3682" y="186"/>
                  </a:lnTo>
                  <a:lnTo>
                    <a:pt x="3701" y="79"/>
                  </a:lnTo>
                  <a:lnTo>
                    <a:pt x="3706" y="69"/>
                  </a:lnTo>
                  <a:lnTo>
                    <a:pt x="3714" y="66"/>
                  </a:lnTo>
                  <a:lnTo>
                    <a:pt x="3741" y="66"/>
                  </a:lnTo>
                  <a:lnTo>
                    <a:pt x="3746" y="67"/>
                  </a:lnTo>
                  <a:lnTo>
                    <a:pt x="3749" y="69"/>
                  </a:lnTo>
                  <a:lnTo>
                    <a:pt x="3752" y="73"/>
                  </a:lnTo>
                  <a:lnTo>
                    <a:pt x="3753" y="79"/>
                  </a:lnTo>
                  <a:lnTo>
                    <a:pt x="3753" y="186"/>
                  </a:lnTo>
                  <a:lnTo>
                    <a:pt x="3854" y="186"/>
                  </a:lnTo>
                  <a:lnTo>
                    <a:pt x="3859" y="186"/>
                  </a:lnTo>
                  <a:lnTo>
                    <a:pt x="3862" y="188"/>
                  </a:lnTo>
                  <a:lnTo>
                    <a:pt x="3864" y="196"/>
                  </a:lnTo>
                  <a:lnTo>
                    <a:pt x="3864" y="241"/>
                  </a:lnTo>
                  <a:lnTo>
                    <a:pt x="3862" y="248"/>
                  </a:lnTo>
                  <a:lnTo>
                    <a:pt x="3854" y="250"/>
                  </a:lnTo>
                  <a:lnTo>
                    <a:pt x="3753" y="250"/>
                  </a:lnTo>
                  <a:lnTo>
                    <a:pt x="3753" y="512"/>
                  </a:lnTo>
                  <a:lnTo>
                    <a:pt x="3753" y="523"/>
                  </a:lnTo>
                  <a:lnTo>
                    <a:pt x="3756" y="532"/>
                  </a:lnTo>
                  <a:lnTo>
                    <a:pt x="3759" y="540"/>
                  </a:lnTo>
                  <a:lnTo>
                    <a:pt x="3764" y="545"/>
                  </a:lnTo>
                  <a:lnTo>
                    <a:pt x="3781" y="552"/>
                  </a:lnTo>
                  <a:lnTo>
                    <a:pt x="3804" y="554"/>
                  </a:lnTo>
                  <a:lnTo>
                    <a:pt x="3864" y="550"/>
                  </a:lnTo>
                  <a:lnTo>
                    <a:pt x="3867" y="550"/>
                  </a:lnTo>
                  <a:lnTo>
                    <a:pt x="3870" y="552"/>
                  </a:lnTo>
                  <a:lnTo>
                    <a:pt x="3872" y="558"/>
                  </a:lnTo>
                  <a:lnTo>
                    <a:pt x="3872" y="599"/>
                  </a:lnTo>
                  <a:lnTo>
                    <a:pt x="3872" y="604"/>
                  </a:lnTo>
                  <a:lnTo>
                    <a:pt x="3870" y="608"/>
                  </a:lnTo>
                  <a:lnTo>
                    <a:pt x="3862" y="612"/>
                  </a:lnTo>
                  <a:lnTo>
                    <a:pt x="3836" y="614"/>
                  </a:lnTo>
                  <a:lnTo>
                    <a:pt x="3803" y="616"/>
                  </a:lnTo>
                  <a:lnTo>
                    <a:pt x="3778" y="615"/>
                  </a:lnTo>
                  <a:lnTo>
                    <a:pt x="3754" y="612"/>
                  </a:lnTo>
                  <a:lnTo>
                    <a:pt x="3733" y="607"/>
                  </a:lnTo>
                  <a:lnTo>
                    <a:pt x="3723" y="603"/>
                  </a:lnTo>
                  <a:lnTo>
                    <a:pt x="3714" y="597"/>
                  </a:lnTo>
                  <a:lnTo>
                    <a:pt x="3699" y="585"/>
                  </a:lnTo>
                  <a:lnTo>
                    <a:pt x="3688" y="566"/>
                  </a:lnTo>
                  <a:lnTo>
                    <a:pt x="3681" y="542"/>
                  </a:lnTo>
                  <a:lnTo>
                    <a:pt x="3679" y="526"/>
                  </a:lnTo>
                  <a:lnTo>
                    <a:pt x="3678" y="510"/>
                  </a:lnTo>
                  <a:lnTo>
                    <a:pt x="3678" y="250"/>
                  </a:lnTo>
                  <a:close/>
                  <a:moveTo>
                    <a:pt x="3293" y="297"/>
                  </a:moveTo>
                  <a:lnTo>
                    <a:pt x="3269" y="267"/>
                  </a:lnTo>
                  <a:lnTo>
                    <a:pt x="3258" y="255"/>
                  </a:lnTo>
                  <a:lnTo>
                    <a:pt x="3247" y="247"/>
                  </a:lnTo>
                  <a:lnTo>
                    <a:pt x="3235" y="241"/>
                  </a:lnTo>
                  <a:lnTo>
                    <a:pt x="3223" y="237"/>
                  </a:lnTo>
                  <a:lnTo>
                    <a:pt x="3208" y="233"/>
                  </a:lnTo>
                  <a:lnTo>
                    <a:pt x="3191" y="233"/>
                  </a:lnTo>
                  <a:lnTo>
                    <a:pt x="3165" y="234"/>
                  </a:lnTo>
                  <a:lnTo>
                    <a:pt x="3145" y="240"/>
                  </a:lnTo>
                  <a:lnTo>
                    <a:pt x="3136" y="244"/>
                  </a:lnTo>
                  <a:lnTo>
                    <a:pt x="3129" y="249"/>
                  </a:lnTo>
                  <a:lnTo>
                    <a:pt x="3123" y="256"/>
                  </a:lnTo>
                  <a:lnTo>
                    <a:pt x="3118" y="264"/>
                  </a:lnTo>
                  <a:lnTo>
                    <a:pt x="3110" y="285"/>
                  </a:lnTo>
                  <a:lnTo>
                    <a:pt x="3105" y="312"/>
                  </a:lnTo>
                  <a:lnTo>
                    <a:pt x="3103" y="347"/>
                  </a:lnTo>
                  <a:lnTo>
                    <a:pt x="3103" y="390"/>
                  </a:lnTo>
                  <a:lnTo>
                    <a:pt x="3103" y="437"/>
                  </a:lnTo>
                  <a:lnTo>
                    <a:pt x="3105" y="475"/>
                  </a:lnTo>
                  <a:lnTo>
                    <a:pt x="3109" y="504"/>
                  </a:lnTo>
                  <a:lnTo>
                    <a:pt x="3118" y="526"/>
                  </a:lnTo>
                  <a:lnTo>
                    <a:pt x="3122" y="534"/>
                  </a:lnTo>
                  <a:lnTo>
                    <a:pt x="3128" y="542"/>
                  </a:lnTo>
                  <a:lnTo>
                    <a:pt x="3144" y="552"/>
                  </a:lnTo>
                  <a:lnTo>
                    <a:pt x="3165" y="557"/>
                  </a:lnTo>
                  <a:lnTo>
                    <a:pt x="3191" y="558"/>
                  </a:lnTo>
                  <a:lnTo>
                    <a:pt x="3217" y="556"/>
                  </a:lnTo>
                  <a:lnTo>
                    <a:pt x="3241" y="547"/>
                  </a:lnTo>
                  <a:lnTo>
                    <a:pt x="3253" y="539"/>
                  </a:lnTo>
                  <a:lnTo>
                    <a:pt x="3266" y="528"/>
                  </a:lnTo>
                  <a:lnTo>
                    <a:pt x="3293" y="496"/>
                  </a:lnTo>
                  <a:lnTo>
                    <a:pt x="3293" y="297"/>
                  </a:lnTo>
                  <a:close/>
                  <a:moveTo>
                    <a:pt x="3293" y="219"/>
                  </a:moveTo>
                  <a:lnTo>
                    <a:pt x="3293" y="23"/>
                  </a:lnTo>
                  <a:lnTo>
                    <a:pt x="3293" y="16"/>
                  </a:lnTo>
                  <a:lnTo>
                    <a:pt x="3296" y="13"/>
                  </a:lnTo>
                  <a:lnTo>
                    <a:pt x="3299" y="11"/>
                  </a:lnTo>
                  <a:lnTo>
                    <a:pt x="3304" y="10"/>
                  </a:lnTo>
                  <a:lnTo>
                    <a:pt x="3355" y="10"/>
                  </a:lnTo>
                  <a:lnTo>
                    <a:pt x="3364" y="13"/>
                  </a:lnTo>
                  <a:lnTo>
                    <a:pt x="3365" y="16"/>
                  </a:lnTo>
                  <a:lnTo>
                    <a:pt x="3366" y="23"/>
                  </a:lnTo>
                  <a:lnTo>
                    <a:pt x="3366" y="600"/>
                  </a:lnTo>
                  <a:lnTo>
                    <a:pt x="3364" y="610"/>
                  </a:lnTo>
                  <a:lnTo>
                    <a:pt x="3360" y="612"/>
                  </a:lnTo>
                  <a:lnTo>
                    <a:pt x="3355" y="612"/>
                  </a:lnTo>
                  <a:lnTo>
                    <a:pt x="3304" y="612"/>
                  </a:lnTo>
                  <a:lnTo>
                    <a:pt x="3300" y="612"/>
                  </a:lnTo>
                  <a:lnTo>
                    <a:pt x="3296" y="610"/>
                  </a:lnTo>
                  <a:lnTo>
                    <a:pt x="3293" y="607"/>
                  </a:lnTo>
                  <a:lnTo>
                    <a:pt x="3293" y="600"/>
                  </a:lnTo>
                  <a:lnTo>
                    <a:pt x="3293" y="561"/>
                  </a:lnTo>
                  <a:lnTo>
                    <a:pt x="3279" y="576"/>
                  </a:lnTo>
                  <a:lnTo>
                    <a:pt x="3266" y="590"/>
                  </a:lnTo>
                  <a:lnTo>
                    <a:pt x="3252" y="599"/>
                  </a:lnTo>
                  <a:lnTo>
                    <a:pt x="3238" y="608"/>
                  </a:lnTo>
                  <a:lnTo>
                    <a:pt x="3210" y="617"/>
                  </a:lnTo>
                  <a:lnTo>
                    <a:pt x="3183" y="619"/>
                  </a:lnTo>
                  <a:lnTo>
                    <a:pt x="3160" y="619"/>
                  </a:lnTo>
                  <a:lnTo>
                    <a:pt x="3140" y="617"/>
                  </a:lnTo>
                  <a:lnTo>
                    <a:pt x="3121" y="613"/>
                  </a:lnTo>
                  <a:lnTo>
                    <a:pt x="3105" y="608"/>
                  </a:lnTo>
                  <a:lnTo>
                    <a:pt x="3090" y="600"/>
                  </a:lnTo>
                  <a:lnTo>
                    <a:pt x="3078" y="592"/>
                  </a:lnTo>
                  <a:lnTo>
                    <a:pt x="3067" y="582"/>
                  </a:lnTo>
                  <a:lnTo>
                    <a:pt x="3059" y="569"/>
                  </a:lnTo>
                  <a:lnTo>
                    <a:pt x="3050" y="554"/>
                  </a:lnTo>
                  <a:lnTo>
                    <a:pt x="3045" y="537"/>
                  </a:lnTo>
                  <a:lnTo>
                    <a:pt x="3036" y="499"/>
                  </a:lnTo>
                  <a:lnTo>
                    <a:pt x="3031" y="450"/>
                  </a:lnTo>
                  <a:lnTo>
                    <a:pt x="3030" y="393"/>
                  </a:lnTo>
                  <a:lnTo>
                    <a:pt x="3033" y="332"/>
                  </a:lnTo>
                  <a:lnTo>
                    <a:pt x="3036" y="307"/>
                  </a:lnTo>
                  <a:lnTo>
                    <a:pt x="3040" y="284"/>
                  </a:lnTo>
                  <a:lnTo>
                    <a:pt x="3045" y="263"/>
                  </a:lnTo>
                  <a:lnTo>
                    <a:pt x="3051" y="245"/>
                  </a:lnTo>
                  <a:lnTo>
                    <a:pt x="3059" y="229"/>
                  </a:lnTo>
                  <a:lnTo>
                    <a:pt x="3068" y="216"/>
                  </a:lnTo>
                  <a:lnTo>
                    <a:pt x="3080" y="205"/>
                  </a:lnTo>
                  <a:lnTo>
                    <a:pt x="3091" y="196"/>
                  </a:lnTo>
                  <a:lnTo>
                    <a:pt x="3105" y="188"/>
                  </a:lnTo>
                  <a:lnTo>
                    <a:pt x="3121" y="182"/>
                  </a:lnTo>
                  <a:lnTo>
                    <a:pt x="3155" y="175"/>
                  </a:lnTo>
                  <a:lnTo>
                    <a:pt x="3198" y="173"/>
                  </a:lnTo>
                  <a:lnTo>
                    <a:pt x="3214" y="174"/>
                  </a:lnTo>
                  <a:lnTo>
                    <a:pt x="3228" y="176"/>
                  </a:lnTo>
                  <a:lnTo>
                    <a:pt x="3240" y="179"/>
                  </a:lnTo>
                  <a:lnTo>
                    <a:pt x="3252" y="184"/>
                  </a:lnTo>
                  <a:lnTo>
                    <a:pt x="3272" y="198"/>
                  </a:lnTo>
                  <a:lnTo>
                    <a:pt x="3282" y="207"/>
                  </a:lnTo>
                  <a:lnTo>
                    <a:pt x="3293" y="219"/>
                  </a:lnTo>
                  <a:close/>
                  <a:moveTo>
                    <a:pt x="2690" y="347"/>
                  </a:moveTo>
                  <a:lnTo>
                    <a:pt x="2869" y="347"/>
                  </a:lnTo>
                  <a:lnTo>
                    <a:pt x="2868" y="316"/>
                  </a:lnTo>
                  <a:lnTo>
                    <a:pt x="2864" y="291"/>
                  </a:lnTo>
                  <a:lnTo>
                    <a:pt x="2857" y="271"/>
                  </a:lnTo>
                  <a:lnTo>
                    <a:pt x="2853" y="263"/>
                  </a:lnTo>
                  <a:lnTo>
                    <a:pt x="2848" y="255"/>
                  </a:lnTo>
                  <a:lnTo>
                    <a:pt x="2841" y="250"/>
                  </a:lnTo>
                  <a:lnTo>
                    <a:pt x="2835" y="245"/>
                  </a:lnTo>
                  <a:lnTo>
                    <a:pt x="2819" y="238"/>
                  </a:lnTo>
                  <a:lnTo>
                    <a:pt x="2799" y="234"/>
                  </a:lnTo>
                  <a:lnTo>
                    <a:pt x="2775" y="233"/>
                  </a:lnTo>
                  <a:lnTo>
                    <a:pt x="2753" y="234"/>
                  </a:lnTo>
                  <a:lnTo>
                    <a:pt x="2734" y="239"/>
                  </a:lnTo>
                  <a:lnTo>
                    <a:pt x="2720" y="245"/>
                  </a:lnTo>
                  <a:lnTo>
                    <a:pt x="2709" y="256"/>
                  </a:lnTo>
                  <a:lnTo>
                    <a:pt x="2701" y="271"/>
                  </a:lnTo>
                  <a:lnTo>
                    <a:pt x="2696" y="291"/>
                  </a:lnTo>
                  <a:lnTo>
                    <a:pt x="2692" y="316"/>
                  </a:lnTo>
                  <a:lnTo>
                    <a:pt x="2690" y="347"/>
                  </a:lnTo>
                  <a:close/>
                  <a:moveTo>
                    <a:pt x="2690" y="412"/>
                  </a:moveTo>
                  <a:lnTo>
                    <a:pt x="2691" y="453"/>
                  </a:lnTo>
                  <a:lnTo>
                    <a:pt x="2692" y="470"/>
                  </a:lnTo>
                  <a:lnTo>
                    <a:pt x="2695" y="486"/>
                  </a:lnTo>
                  <a:lnTo>
                    <a:pt x="2700" y="511"/>
                  </a:lnTo>
                  <a:lnTo>
                    <a:pt x="2709" y="531"/>
                  </a:lnTo>
                  <a:lnTo>
                    <a:pt x="2714" y="539"/>
                  </a:lnTo>
                  <a:lnTo>
                    <a:pt x="2722" y="545"/>
                  </a:lnTo>
                  <a:lnTo>
                    <a:pt x="2730" y="549"/>
                  </a:lnTo>
                  <a:lnTo>
                    <a:pt x="2740" y="553"/>
                  </a:lnTo>
                  <a:lnTo>
                    <a:pt x="2762" y="557"/>
                  </a:lnTo>
                  <a:lnTo>
                    <a:pt x="2791" y="558"/>
                  </a:lnTo>
                  <a:lnTo>
                    <a:pt x="2811" y="558"/>
                  </a:lnTo>
                  <a:lnTo>
                    <a:pt x="2827" y="556"/>
                  </a:lnTo>
                  <a:lnTo>
                    <a:pt x="2840" y="552"/>
                  </a:lnTo>
                  <a:lnTo>
                    <a:pt x="2851" y="546"/>
                  </a:lnTo>
                  <a:lnTo>
                    <a:pt x="2859" y="539"/>
                  </a:lnTo>
                  <a:lnTo>
                    <a:pt x="2867" y="528"/>
                  </a:lnTo>
                  <a:lnTo>
                    <a:pt x="2878" y="500"/>
                  </a:lnTo>
                  <a:lnTo>
                    <a:pt x="2880" y="493"/>
                  </a:lnTo>
                  <a:lnTo>
                    <a:pt x="2883" y="489"/>
                  </a:lnTo>
                  <a:lnTo>
                    <a:pt x="2889" y="488"/>
                  </a:lnTo>
                  <a:lnTo>
                    <a:pt x="2895" y="488"/>
                  </a:lnTo>
                  <a:lnTo>
                    <a:pt x="2933" y="495"/>
                  </a:lnTo>
                  <a:lnTo>
                    <a:pt x="2939" y="496"/>
                  </a:lnTo>
                  <a:lnTo>
                    <a:pt x="2943" y="500"/>
                  </a:lnTo>
                  <a:lnTo>
                    <a:pt x="2945" y="505"/>
                  </a:lnTo>
                  <a:lnTo>
                    <a:pt x="2945" y="511"/>
                  </a:lnTo>
                  <a:lnTo>
                    <a:pt x="2939" y="533"/>
                  </a:lnTo>
                  <a:lnTo>
                    <a:pt x="2931" y="553"/>
                  </a:lnTo>
                  <a:lnTo>
                    <a:pt x="2920" y="571"/>
                  </a:lnTo>
                  <a:lnTo>
                    <a:pt x="2913" y="579"/>
                  </a:lnTo>
                  <a:lnTo>
                    <a:pt x="2904" y="588"/>
                  </a:lnTo>
                  <a:lnTo>
                    <a:pt x="2885" y="600"/>
                  </a:lnTo>
                  <a:lnTo>
                    <a:pt x="2858" y="611"/>
                  </a:lnTo>
                  <a:lnTo>
                    <a:pt x="2843" y="615"/>
                  </a:lnTo>
                  <a:lnTo>
                    <a:pt x="2826" y="617"/>
                  </a:lnTo>
                  <a:lnTo>
                    <a:pt x="2785" y="619"/>
                  </a:lnTo>
                  <a:lnTo>
                    <a:pt x="2739" y="617"/>
                  </a:lnTo>
                  <a:lnTo>
                    <a:pt x="2702" y="610"/>
                  </a:lnTo>
                  <a:lnTo>
                    <a:pt x="2686" y="604"/>
                  </a:lnTo>
                  <a:lnTo>
                    <a:pt x="2672" y="595"/>
                  </a:lnTo>
                  <a:lnTo>
                    <a:pt x="2661" y="586"/>
                  </a:lnTo>
                  <a:lnTo>
                    <a:pt x="2650" y="574"/>
                  </a:lnTo>
                  <a:lnTo>
                    <a:pt x="2642" y="561"/>
                  </a:lnTo>
                  <a:lnTo>
                    <a:pt x="2636" y="544"/>
                  </a:lnTo>
                  <a:lnTo>
                    <a:pt x="2625" y="505"/>
                  </a:lnTo>
                  <a:lnTo>
                    <a:pt x="2620" y="455"/>
                  </a:lnTo>
                  <a:lnTo>
                    <a:pt x="2618" y="393"/>
                  </a:lnTo>
                  <a:lnTo>
                    <a:pt x="2621" y="332"/>
                  </a:lnTo>
                  <a:lnTo>
                    <a:pt x="2623" y="307"/>
                  </a:lnTo>
                  <a:lnTo>
                    <a:pt x="2627" y="284"/>
                  </a:lnTo>
                  <a:lnTo>
                    <a:pt x="2633" y="263"/>
                  </a:lnTo>
                  <a:lnTo>
                    <a:pt x="2639" y="245"/>
                  </a:lnTo>
                  <a:lnTo>
                    <a:pt x="2646" y="229"/>
                  </a:lnTo>
                  <a:lnTo>
                    <a:pt x="2656" y="216"/>
                  </a:lnTo>
                  <a:lnTo>
                    <a:pt x="2666" y="205"/>
                  </a:lnTo>
                  <a:lnTo>
                    <a:pt x="2679" y="196"/>
                  </a:lnTo>
                  <a:lnTo>
                    <a:pt x="2692" y="188"/>
                  </a:lnTo>
                  <a:lnTo>
                    <a:pt x="2707" y="182"/>
                  </a:lnTo>
                  <a:lnTo>
                    <a:pt x="2743" y="175"/>
                  </a:lnTo>
                  <a:lnTo>
                    <a:pt x="2785" y="173"/>
                  </a:lnTo>
                  <a:lnTo>
                    <a:pt x="2809" y="174"/>
                  </a:lnTo>
                  <a:lnTo>
                    <a:pt x="2830" y="176"/>
                  </a:lnTo>
                  <a:lnTo>
                    <a:pt x="2849" y="179"/>
                  </a:lnTo>
                  <a:lnTo>
                    <a:pt x="2866" y="184"/>
                  </a:lnTo>
                  <a:lnTo>
                    <a:pt x="2880" y="191"/>
                  </a:lnTo>
                  <a:lnTo>
                    <a:pt x="2893" y="200"/>
                  </a:lnTo>
                  <a:lnTo>
                    <a:pt x="2903" y="209"/>
                  </a:lnTo>
                  <a:lnTo>
                    <a:pt x="2913" y="221"/>
                  </a:lnTo>
                  <a:lnTo>
                    <a:pt x="2921" y="233"/>
                  </a:lnTo>
                  <a:lnTo>
                    <a:pt x="2928" y="248"/>
                  </a:lnTo>
                  <a:lnTo>
                    <a:pt x="2932" y="264"/>
                  </a:lnTo>
                  <a:lnTo>
                    <a:pt x="2936" y="281"/>
                  </a:lnTo>
                  <a:lnTo>
                    <a:pt x="2939" y="301"/>
                  </a:lnTo>
                  <a:lnTo>
                    <a:pt x="2940" y="320"/>
                  </a:lnTo>
                  <a:lnTo>
                    <a:pt x="2942" y="367"/>
                  </a:lnTo>
                  <a:lnTo>
                    <a:pt x="2942" y="396"/>
                  </a:lnTo>
                  <a:lnTo>
                    <a:pt x="2941" y="403"/>
                  </a:lnTo>
                  <a:lnTo>
                    <a:pt x="2938" y="407"/>
                  </a:lnTo>
                  <a:lnTo>
                    <a:pt x="2933" y="411"/>
                  </a:lnTo>
                  <a:lnTo>
                    <a:pt x="2925" y="412"/>
                  </a:lnTo>
                  <a:lnTo>
                    <a:pt x="2690" y="412"/>
                  </a:lnTo>
                  <a:close/>
                  <a:moveTo>
                    <a:pt x="2358" y="250"/>
                  </a:moveTo>
                  <a:lnTo>
                    <a:pt x="2316" y="250"/>
                  </a:lnTo>
                  <a:lnTo>
                    <a:pt x="2308" y="248"/>
                  </a:lnTo>
                  <a:lnTo>
                    <a:pt x="2306" y="245"/>
                  </a:lnTo>
                  <a:lnTo>
                    <a:pt x="2305" y="241"/>
                  </a:lnTo>
                  <a:lnTo>
                    <a:pt x="2305" y="196"/>
                  </a:lnTo>
                  <a:lnTo>
                    <a:pt x="2308" y="188"/>
                  </a:lnTo>
                  <a:lnTo>
                    <a:pt x="2316" y="186"/>
                  </a:lnTo>
                  <a:lnTo>
                    <a:pt x="2361" y="186"/>
                  </a:lnTo>
                  <a:lnTo>
                    <a:pt x="2381" y="79"/>
                  </a:lnTo>
                  <a:lnTo>
                    <a:pt x="2385" y="69"/>
                  </a:lnTo>
                  <a:lnTo>
                    <a:pt x="2393" y="66"/>
                  </a:lnTo>
                  <a:lnTo>
                    <a:pt x="2420" y="66"/>
                  </a:lnTo>
                  <a:lnTo>
                    <a:pt x="2425" y="67"/>
                  </a:lnTo>
                  <a:lnTo>
                    <a:pt x="2429" y="69"/>
                  </a:lnTo>
                  <a:lnTo>
                    <a:pt x="2431" y="73"/>
                  </a:lnTo>
                  <a:lnTo>
                    <a:pt x="2431" y="79"/>
                  </a:lnTo>
                  <a:lnTo>
                    <a:pt x="2431" y="186"/>
                  </a:lnTo>
                  <a:lnTo>
                    <a:pt x="2534" y="186"/>
                  </a:lnTo>
                  <a:lnTo>
                    <a:pt x="2538" y="186"/>
                  </a:lnTo>
                  <a:lnTo>
                    <a:pt x="2540" y="188"/>
                  </a:lnTo>
                  <a:lnTo>
                    <a:pt x="2542" y="196"/>
                  </a:lnTo>
                  <a:lnTo>
                    <a:pt x="2542" y="241"/>
                  </a:lnTo>
                  <a:lnTo>
                    <a:pt x="2540" y="248"/>
                  </a:lnTo>
                  <a:lnTo>
                    <a:pt x="2534" y="250"/>
                  </a:lnTo>
                  <a:lnTo>
                    <a:pt x="2431" y="250"/>
                  </a:lnTo>
                  <a:lnTo>
                    <a:pt x="2431" y="512"/>
                  </a:lnTo>
                  <a:lnTo>
                    <a:pt x="2432" y="523"/>
                  </a:lnTo>
                  <a:lnTo>
                    <a:pt x="2434" y="532"/>
                  </a:lnTo>
                  <a:lnTo>
                    <a:pt x="2437" y="540"/>
                  </a:lnTo>
                  <a:lnTo>
                    <a:pt x="2444" y="545"/>
                  </a:lnTo>
                  <a:lnTo>
                    <a:pt x="2459" y="552"/>
                  </a:lnTo>
                  <a:lnTo>
                    <a:pt x="2482" y="554"/>
                  </a:lnTo>
                  <a:lnTo>
                    <a:pt x="2542" y="550"/>
                  </a:lnTo>
                  <a:lnTo>
                    <a:pt x="2547" y="550"/>
                  </a:lnTo>
                  <a:lnTo>
                    <a:pt x="2549" y="552"/>
                  </a:lnTo>
                  <a:lnTo>
                    <a:pt x="2552" y="558"/>
                  </a:lnTo>
                  <a:lnTo>
                    <a:pt x="2552" y="599"/>
                  </a:lnTo>
                  <a:lnTo>
                    <a:pt x="2551" y="604"/>
                  </a:lnTo>
                  <a:lnTo>
                    <a:pt x="2549" y="608"/>
                  </a:lnTo>
                  <a:lnTo>
                    <a:pt x="2541" y="612"/>
                  </a:lnTo>
                  <a:lnTo>
                    <a:pt x="2514" y="614"/>
                  </a:lnTo>
                  <a:lnTo>
                    <a:pt x="2482" y="616"/>
                  </a:lnTo>
                  <a:lnTo>
                    <a:pt x="2456" y="615"/>
                  </a:lnTo>
                  <a:lnTo>
                    <a:pt x="2432" y="612"/>
                  </a:lnTo>
                  <a:lnTo>
                    <a:pt x="2411" y="607"/>
                  </a:lnTo>
                  <a:lnTo>
                    <a:pt x="2402" y="603"/>
                  </a:lnTo>
                  <a:lnTo>
                    <a:pt x="2393" y="597"/>
                  </a:lnTo>
                  <a:lnTo>
                    <a:pt x="2378" y="585"/>
                  </a:lnTo>
                  <a:lnTo>
                    <a:pt x="2367" y="566"/>
                  </a:lnTo>
                  <a:lnTo>
                    <a:pt x="2360" y="542"/>
                  </a:lnTo>
                  <a:lnTo>
                    <a:pt x="2358" y="526"/>
                  </a:lnTo>
                  <a:lnTo>
                    <a:pt x="2358" y="510"/>
                  </a:lnTo>
                  <a:lnTo>
                    <a:pt x="2358" y="250"/>
                  </a:lnTo>
                  <a:close/>
                  <a:moveTo>
                    <a:pt x="2152" y="506"/>
                  </a:moveTo>
                  <a:lnTo>
                    <a:pt x="2152" y="416"/>
                  </a:lnTo>
                  <a:lnTo>
                    <a:pt x="2046" y="416"/>
                  </a:lnTo>
                  <a:lnTo>
                    <a:pt x="2026" y="417"/>
                  </a:lnTo>
                  <a:lnTo>
                    <a:pt x="2009" y="421"/>
                  </a:lnTo>
                  <a:lnTo>
                    <a:pt x="1998" y="428"/>
                  </a:lnTo>
                  <a:lnTo>
                    <a:pt x="1992" y="433"/>
                  </a:lnTo>
                  <a:lnTo>
                    <a:pt x="1988" y="437"/>
                  </a:lnTo>
                  <a:lnTo>
                    <a:pt x="1983" y="448"/>
                  </a:lnTo>
                  <a:lnTo>
                    <a:pt x="1979" y="461"/>
                  </a:lnTo>
                  <a:lnTo>
                    <a:pt x="1977" y="476"/>
                  </a:lnTo>
                  <a:lnTo>
                    <a:pt x="1977" y="492"/>
                  </a:lnTo>
                  <a:lnTo>
                    <a:pt x="1978" y="508"/>
                  </a:lnTo>
                  <a:lnTo>
                    <a:pt x="1980" y="522"/>
                  </a:lnTo>
                  <a:lnTo>
                    <a:pt x="1985" y="533"/>
                  </a:lnTo>
                  <a:lnTo>
                    <a:pt x="1991" y="542"/>
                  </a:lnTo>
                  <a:lnTo>
                    <a:pt x="2002" y="548"/>
                  </a:lnTo>
                  <a:lnTo>
                    <a:pt x="2014" y="553"/>
                  </a:lnTo>
                  <a:lnTo>
                    <a:pt x="2031" y="555"/>
                  </a:lnTo>
                  <a:lnTo>
                    <a:pt x="2051" y="556"/>
                  </a:lnTo>
                  <a:lnTo>
                    <a:pt x="2078" y="553"/>
                  </a:lnTo>
                  <a:lnTo>
                    <a:pt x="2103" y="545"/>
                  </a:lnTo>
                  <a:lnTo>
                    <a:pt x="2127" y="529"/>
                  </a:lnTo>
                  <a:lnTo>
                    <a:pt x="2152" y="506"/>
                  </a:lnTo>
                  <a:close/>
                  <a:moveTo>
                    <a:pt x="2184" y="617"/>
                  </a:moveTo>
                  <a:lnTo>
                    <a:pt x="2179" y="617"/>
                  </a:lnTo>
                  <a:lnTo>
                    <a:pt x="2174" y="615"/>
                  </a:lnTo>
                  <a:lnTo>
                    <a:pt x="2167" y="605"/>
                  </a:lnTo>
                  <a:lnTo>
                    <a:pt x="2160" y="586"/>
                  </a:lnTo>
                  <a:lnTo>
                    <a:pt x="2156" y="563"/>
                  </a:lnTo>
                  <a:lnTo>
                    <a:pt x="2144" y="575"/>
                  </a:lnTo>
                  <a:lnTo>
                    <a:pt x="2132" y="586"/>
                  </a:lnTo>
                  <a:lnTo>
                    <a:pt x="2118" y="596"/>
                  </a:lnTo>
                  <a:lnTo>
                    <a:pt x="2104" y="604"/>
                  </a:lnTo>
                  <a:lnTo>
                    <a:pt x="2089" y="610"/>
                  </a:lnTo>
                  <a:lnTo>
                    <a:pt x="2072" y="614"/>
                  </a:lnTo>
                  <a:lnTo>
                    <a:pt x="2037" y="618"/>
                  </a:lnTo>
                  <a:lnTo>
                    <a:pt x="2006" y="616"/>
                  </a:lnTo>
                  <a:lnTo>
                    <a:pt x="1979" y="612"/>
                  </a:lnTo>
                  <a:lnTo>
                    <a:pt x="1956" y="604"/>
                  </a:lnTo>
                  <a:lnTo>
                    <a:pt x="1945" y="598"/>
                  </a:lnTo>
                  <a:lnTo>
                    <a:pt x="1937" y="592"/>
                  </a:lnTo>
                  <a:lnTo>
                    <a:pt x="1922" y="575"/>
                  </a:lnTo>
                  <a:lnTo>
                    <a:pt x="1911" y="553"/>
                  </a:lnTo>
                  <a:lnTo>
                    <a:pt x="1907" y="541"/>
                  </a:lnTo>
                  <a:lnTo>
                    <a:pt x="1904" y="526"/>
                  </a:lnTo>
                  <a:lnTo>
                    <a:pt x="1902" y="493"/>
                  </a:lnTo>
                  <a:lnTo>
                    <a:pt x="1904" y="464"/>
                  </a:lnTo>
                  <a:lnTo>
                    <a:pt x="1910" y="437"/>
                  </a:lnTo>
                  <a:lnTo>
                    <a:pt x="1915" y="425"/>
                  </a:lnTo>
                  <a:lnTo>
                    <a:pt x="1920" y="414"/>
                  </a:lnTo>
                  <a:lnTo>
                    <a:pt x="1926" y="403"/>
                  </a:lnTo>
                  <a:lnTo>
                    <a:pt x="1935" y="394"/>
                  </a:lnTo>
                  <a:lnTo>
                    <a:pt x="1944" y="385"/>
                  </a:lnTo>
                  <a:lnTo>
                    <a:pt x="1953" y="378"/>
                  </a:lnTo>
                  <a:lnTo>
                    <a:pt x="1978" y="366"/>
                  </a:lnTo>
                  <a:lnTo>
                    <a:pt x="2008" y="358"/>
                  </a:lnTo>
                  <a:lnTo>
                    <a:pt x="2025" y="356"/>
                  </a:lnTo>
                  <a:lnTo>
                    <a:pt x="2044" y="356"/>
                  </a:lnTo>
                  <a:lnTo>
                    <a:pt x="2152" y="356"/>
                  </a:lnTo>
                  <a:lnTo>
                    <a:pt x="2152" y="317"/>
                  </a:lnTo>
                  <a:lnTo>
                    <a:pt x="2150" y="278"/>
                  </a:lnTo>
                  <a:lnTo>
                    <a:pt x="2146" y="264"/>
                  </a:lnTo>
                  <a:lnTo>
                    <a:pt x="2139" y="252"/>
                  </a:lnTo>
                  <a:lnTo>
                    <a:pt x="2130" y="244"/>
                  </a:lnTo>
                  <a:lnTo>
                    <a:pt x="2116" y="238"/>
                  </a:lnTo>
                  <a:lnTo>
                    <a:pt x="2099" y="234"/>
                  </a:lnTo>
                  <a:lnTo>
                    <a:pt x="2077" y="233"/>
                  </a:lnTo>
                  <a:lnTo>
                    <a:pt x="2055" y="233"/>
                  </a:lnTo>
                  <a:lnTo>
                    <a:pt x="2037" y="235"/>
                  </a:lnTo>
                  <a:lnTo>
                    <a:pt x="2024" y="239"/>
                  </a:lnTo>
                  <a:lnTo>
                    <a:pt x="2013" y="244"/>
                  </a:lnTo>
                  <a:lnTo>
                    <a:pt x="2006" y="252"/>
                  </a:lnTo>
                  <a:lnTo>
                    <a:pt x="2000" y="263"/>
                  </a:lnTo>
                  <a:lnTo>
                    <a:pt x="1991" y="295"/>
                  </a:lnTo>
                  <a:lnTo>
                    <a:pt x="1985" y="304"/>
                  </a:lnTo>
                  <a:lnTo>
                    <a:pt x="1981" y="306"/>
                  </a:lnTo>
                  <a:lnTo>
                    <a:pt x="1975" y="306"/>
                  </a:lnTo>
                  <a:lnTo>
                    <a:pt x="1932" y="301"/>
                  </a:lnTo>
                  <a:lnTo>
                    <a:pt x="1928" y="299"/>
                  </a:lnTo>
                  <a:lnTo>
                    <a:pt x="1925" y="296"/>
                  </a:lnTo>
                  <a:lnTo>
                    <a:pt x="1923" y="290"/>
                  </a:lnTo>
                  <a:lnTo>
                    <a:pt x="1924" y="283"/>
                  </a:lnTo>
                  <a:lnTo>
                    <a:pt x="1930" y="254"/>
                  </a:lnTo>
                  <a:lnTo>
                    <a:pt x="1935" y="243"/>
                  </a:lnTo>
                  <a:lnTo>
                    <a:pt x="1940" y="231"/>
                  </a:lnTo>
                  <a:lnTo>
                    <a:pt x="1945" y="221"/>
                  </a:lnTo>
                  <a:lnTo>
                    <a:pt x="1952" y="212"/>
                  </a:lnTo>
                  <a:lnTo>
                    <a:pt x="1968" y="197"/>
                  </a:lnTo>
                  <a:lnTo>
                    <a:pt x="1979" y="191"/>
                  </a:lnTo>
                  <a:lnTo>
                    <a:pt x="1989" y="186"/>
                  </a:lnTo>
                  <a:lnTo>
                    <a:pt x="2015" y="178"/>
                  </a:lnTo>
                  <a:lnTo>
                    <a:pt x="2047" y="174"/>
                  </a:lnTo>
                  <a:lnTo>
                    <a:pt x="2085" y="173"/>
                  </a:lnTo>
                  <a:lnTo>
                    <a:pt x="2121" y="175"/>
                  </a:lnTo>
                  <a:lnTo>
                    <a:pt x="2137" y="177"/>
                  </a:lnTo>
                  <a:lnTo>
                    <a:pt x="2152" y="180"/>
                  </a:lnTo>
                  <a:lnTo>
                    <a:pt x="2176" y="190"/>
                  </a:lnTo>
                  <a:lnTo>
                    <a:pt x="2186" y="198"/>
                  </a:lnTo>
                  <a:lnTo>
                    <a:pt x="2196" y="205"/>
                  </a:lnTo>
                  <a:lnTo>
                    <a:pt x="2210" y="224"/>
                  </a:lnTo>
                  <a:lnTo>
                    <a:pt x="2215" y="235"/>
                  </a:lnTo>
                  <a:lnTo>
                    <a:pt x="2220" y="249"/>
                  </a:lnTo>
                  <a:lnTo>
                    <a:pt x="2225" y="278"/>
                  </a:lnTo>
                  <a:lnTo>
                    <a:pt x="2227" y="313"/>
                  </a:lnTo>
                  <a:lnTo>
                    <a:pt x="2227" y="498"/>
                  </a:lnTo>
                  <a:lnTo>
                    <a:pt x="2227" y="519"/>
                  </a:lnTo>
                  <a:lnTo>
                    <a:pt x="2230" y="537"/>
                  </a:lnTo>
                  <a:lnTo>
                    <a:pt x="2234" y="558"/>
                  </a:lnTo>
                  <a:lnTo>
                    <a:pt x="2241" y="583"/>
                  </a:lnTo>
                  <a:lnTo>
                    <a:pt x="2243" y="596"/>
                  </a:lnTo>
                  <a:lnTo>
                    <a:pt x="2241" y="600"/>
                  </a:lnTo>
                  <a:lnTo>
                    <a:pt x="2237" y="604"/>
                  </a:lnTo>
                  <a:lnTo>
                    <a:pt x="2184" y="617"/>
                  </a:lnTo>
                  <a:close/>
                  <a:moveTo>
                    <a:pt x="1577" y="390"/>
                  </a:moveTo>
                  <a:lnTo>
                    <a:pt x="1578" y="438"/>
                  </a:lnTo>
                  <a:lnTo>
                    <a:pt x="1580" y="476"/>
                  </a:lnTo>
                  <a:lnTo>
                    <a:pt x="1585" y="505"/>
                  </a:lnTo>
                  <a:lnTo>
                    <a:pt x="1593" y="527"/>
                  </a:lnTo>
                  <a:lnTo>
                    <a:pt x="1599" y="535"/>
                  </a:lnTo>
                  <a:lnTo>
                    <a:pt x="1606" y="543"/>
                  </a:lnTo>
                  <a:lnTo>
                    <a:pt x="1614" y="548"/>
                  </a:lnTo>
                  <a:lnTo>
                    <a:pt x="1624" y="552"/>
                  </a:lnTo>
                  <a:lnTo>
                    <a:pt x="1647" y="557"/>
                  </a:lnTo>
                  <a:lnTo>
                    <a:pt x="1677" y="558"/>
                  </a:lnTo>
                  <a:lnTo>
                    <a:pt x="1697" y="558"/>
                  </a:lnTo>
                  <a:lnTo>
                    <a:pt x="1713" y="556"/>
                  </a:lnTo>
                  <a:lnTo>
                    <a:pt x="1727" y="552"/>
                  </a:lnTo>
                  <a:lnTo>
                    <a:pt x="1737" y="546"/>
                  </a:lnTo>
                  <a:lnTo>
                    <a:pt x="1746" y="539"/>
                  </a:lnTo>
                  <a:lnTo>
                    <a:pt x="1753" y="528"/>
                  </a:lnTo>
                  <a:lnTo>
                    <a:pt x="1765" y="500"/>
                  </a:lnTo>
                  <a:lnTo>
                    <a:pt x="1767" y="493"/>
                  </a:lnTo>
                  <a:lnTo>
                    <a:pt x="1771" y="489"/>
                  </a:lnTo>
                  <a:lnTo>
                    <a:pt x="1775" y="488"/>
                  </a:lnTo>
                  <a:lnTo>
                    <a:pt x="1781" y="488"/>
                  </a:lnTo>
                  <a:lnTo>
                    <a:pt x="1819" y="495"/>
                  </a:lnTo>
                  <a:lnTo>
                    <a:pt x="1825" y="496"/>
                  </a:lnTo>
                  <a:lnTo>
                    <a:pt x="1831" y="500"/>
                  </a:lnTo>
                  <a:lnTo>
                    <a:pt x="1833" y="505"/>
                  </a:lnTo>
                  <a:lnTo>
                    <a:pt x="1832" y="511"/>
                  </a:lnTo>
                  <a:lnTo>
                    <a:pt x="1826" y="533"/>
                  </a:lnTo>
                  <a:lnTo>
                    <a:pt x="1818" y="553"/>
                  </a:lnTo>
                  <a:lnTo>
                    <a:pt x="1806" y="571"/>
                  </a:lnTo>
                  <a:lnTo>
                    <a:pt x="1799" y="579"/>
                  </a:lnTo>
                  <a:lnTo>
                    <a:pt x="1791" y="588"/>
                  </a:lnTo>
                  <a:lnTo>
                    <a:pt x="1771" y="600"/>
                  </a:lnTo>
                  <a:lnTo>
                    <a:pt x="1745" y="611"/>
                  </a:lnTo>
                  <a:lnTo>
                    <a:pt x="1729" y="615"/>
                  </a:lnTo>
                  <a:lnTo>
                    <a:pt x="1712" y="617"/>
                  </a:lnTo>
                  <a:lnTo>
                    <a:pt x="1672" y="619"/>
                  </a:lnTo>
                  <a:lnTo>
                    <a:pt x="1626" y="617"/>
                  </a:lnTo>
                  <a:lnTo>
                    <a:pt x="1588" y="610"/>
                  </a:lnTo>
                  <a:lnTo>
                    <a:pt x="1572" y="604"/>
                  </a:lnTo>
                  <a:lnTo>
                    <a:pt x="1560" y="595"/>
                  </a:lnTo>
                  <a:lnTo>
                    <a:pt x="1547" y="586"/>
                  </a:lnTo>
                  <a:lnTo>
                    <a:pt x="1538" y="574"/>
                  </a:lnTo>
                  <a:lnTo>
                    <a:pt x="1529" y="561"/>
                  </a:lnTo>
                  <a:lnTo>
                    <a:pt x="1522" y="544"/>
                  </a:lnTo>
                  <a:lnTo>
                    <a:pt x="1512" y="505"/>
                  </a:lnTo>
                  <a:lnTo>
                    <a:pt x="1506" y="455"/>
                  </a:lnTo>
                  <a:lnTo>
                    <a:pt x="1505" y="393"/>
                  </a:lnTo>
                  <a:lnTo>
                    <a:pt x="1507" y="332"/>
                  </a:lnTo>
                  <a:lnTo>
                    <a:pt x="1509" y="307"/>
                  </a:lnTo>
                  <a:lnTo>
                    <a:pt x="1514" y="284"/>
                  </a:lnTo>
                  <a:lnTo>
                    <a:pt x="1519" y="263"/>
                  </a:lnTo>
                  <a:lnTo>
                    <a:pt x="1525" y="245"/>
                  </a:lnTo>
                  <a:lnTo>
                    <a:pt x="1534" y="229"/>
                  </a:lnTo>
                  <a:lnTo>
                    <a:pt x="1542" y="216"/>
                  </a:lnTo>
                  <a:lnTo>
                    <a:pt x="1554" y="205"/>
                  </a:lnTo>
                  <a:lnTo>
                    <a:pt x="1565" y="196"/>
                  </a:lnTo>
                  <a:lnTo>
                    <a:pt x="1579" y="188"/>
                  </a:lnTo>
                  <a:lnTo>
                    <a:pt x="1594" y="182"/>
                  </a:lnTo>
                  <a:lnTo>
                    <a:pt x="1629" y="175"/>
                  </a:lnTo>
                  <a:lnTo>
                    <a:pt x="1672" y="173"/>
                  </a:lnTo>
                  <a:lnTo>
                    <a:pt x="1708" y="174"/>
                  </a:lnTo>
                  <a:lnTo>
                    <a:pt x="1738" y="178"/>
                  </a:lnTo>
                  <a:lnTo>
                    <a:pt x="1763" y="185"/>
                  </a:lnTo>
                  <a:lnTo>
                    <a:pt x="1783" y="197"/>
                  </a:lnTo>
                  <a:lnTo>
                    <a:pt x="1800" y="211"/>
                  </a:lnTo>
                  <a:lnTo>
                    <a:pt x="1808" y="220"/>
                  </a:lnTo>
                  <a:lnTo>
                    <a:pt x="1813" y="229"/>
                  </a:lnTo>
                  <a:lnTo>
                    <a:pt x="1818" y="241"/>
                  </a:lnTo>
                  <a:lnTo>
                    <a:pt x="1822" y="252"/>
                  </a:lnTo>
                  <a:lnTo>
                    <a:pt x="1826" y="265"/>
                  </a:lnTo>
                  <a:lnTo>
                    <a:pt x="1830" y="280"/>
                  </a:lnTo>
                  <a:lnTo>
                    <a:pt x="1830" y="287"/>
                  </a:lnTo>
                  <a:lnTo>
                    <a:pt x="1827" y="292"/>
                  </a:lnTo>
                  <a:lnTo>
                    <a:pt x="1822" y="296"/>
                  </a:lnTo>
                  <a:lnTo>
                    <a:pt x="1816" y="297"/>
                  </a:lnTo>
                  <a:lnTo>
                    <a:pt x="1777" y="303"/>
                  </a:lnTo>
                  <a:lnTo>
                    <a:pt x="1770" y="302"/>
                  </a:lnTo>
                  <a:lnTo>
                    <a:pt x="1766" y="299"/>
                  </a:lnTo>
                  <a:lnTo>
                    <a:pt x="1761" y="295"/>
                  </a:lnTo>
                  <a:lnTo>
                    <a:pt x="1759" y="290"/>
                  </a:lnTo>
                  <a:lnTo>
                    <a:pt x="1755" y="276"/>
                  </a:lnTo>
                  <a:lnTo>
                    <a:pt x="1750" y="265"/>
                  </a:lnTo>
                  <a:lnTo>
                    <a:pt x="1746" y="260"/>
                  </a:lnTo>
                  <a:lnTo>
                    <a:pt x="1742" y="254"/>
                  </a:lnTo>
                  <a:lnTo>
                    <a:pt x="1733" y="247"/>
                  </a:lnTo>
                  <a:lnTo>
                    <a:pt x="1721" y="241"/>
                  </a:lnTo>
                  <a:lnTo>
                    <a:pt x="1707" y="237"/>
                  </a:lnTo>
                  <a:lnTo>
                    <a:pt x="1688" y="234"/>
                  </a:lnTo>
                  <a:lnTo>
                    <a:pt x="1666" y="233"/>
                  </a:lnTo>
                  <a:lnTo>
                    <a:pt x="1639" y="234"/>
                  </a:lnTo>
                  <a:lnTo>
                    <a:pt x="1618" y="240"/>
                  </a:lnTo>
                  <a:lnTo>
                    <a:pt x="1609" y="244"/>
                  </a:lnTo>
                  <a:lnTo>
                    <a:pt x="1602" y="249"/>
                  </a:lnTo>
                  <a:lnTo>
                    <a:pt x="1597" y="256"/>
                  </a:lnTo>
                  <a:lnTo>
                    <a:pt x="1591" y="264"/>
                  </a:lnTo>
                  <a:lnTo>
                    <a:pt x="1584" y="285"/>
                  </a:lnTo>
                  <a:lnTo>
                    <a:pt x="1580" y="312"/>
                  </a:lnTo>
                  <a:lnTo>
                    <a:pt x="1578" y="347"/>
                  </a:lnTo>
                  <a:lnTo>
                    <a:pt x="1577" y="390"/>
                  </a:lnTo>
                  <a:close/>
                  <a:moveTo>
                    <a:pt x="1322" y="193"/>
                  </a:moveTo>
                  <a:lnTo>
                    <a:pt x="1324" y="182"/>
                  </a:lnTo>
                  <a:lnTo>
                    <a:pt x="1327" y="180"/>
                  </a:lnTo>
                  <a:lnTo>
                    <a:pt x="1332" y="180"/>
                  </a:lnTo>
                  <a:lnTo>
                    <a:pt x="1383" y="180"/>
                  </a:lnTo>
                  <a:lnTo>
                    <a:pt x="1392" y="182"/>
                  </a:lnTo>
                  <a:lnTo>
                    <a:pt x="1395" y="193"/>
                  </a:lnTo>
                  <a:lnTo>
                    <a:pt x="1395" y="600"/>
                  </a:lnTo>
                  <a:lnTo>
                    <a:pt x="1394" y="606"/>
                  </a:lnTo>
                  <a:lnTo>
                    <a:pt x="1392" y="610"/>
                  </a:lnTo>
                  <a:lnTo>
                    <a:pt x="1389" y="612"/>
                  </a:lnTo>
                  <a:lnTo>
                    <a:pt x="1383" y="612"/>
                  </a:lnTo>
                  <a:lnTo>
                    <a:pt x="1332" y="612"/>
                  </a:lnTo>
                  <a:lnTo>
                    <a:pt x="1324" y="610"/>
                  </a:lnTo>
                  <a:lnTo>
                    <a:pt x="1322" y="606"/>
                  </a:lnTo>
                  <a:lnTo>
                    <a:pt x="1322" y="600"/>
                  </a:lnTo>
                  <a:lnTo>
                    <a:pt x="1322" y="193"/>
                  </a:lnTo>
                  <a:close/>
                  <a:moveTo>
                    <a:pt x="1396" y="102"/>
                  </a:moveTo>
                  <a:lnTo>
                    <a:pt x="1322" y="102"/>
                  </a:lnTo>
                  <a:lnTo>
                    <a:pt x="1316" y="101"/>
                  </a:lnTo>
                  <a:lnTo>
                    <a:pt x="1313" y="100"/>
                  </a:lnTo>
                  <a:lnTo>
                    <a:pt x="1311" y="92"/>
                  </a:lnTo>
                  <a:lnTo>
                    <a:pt x="1311" y="28"/>
                  </a:lnTo>
                  <a:lnTo>
                    <a:pt x="1313" y="19"/>
                  </a:lnTo>
                  <a:lnTo>
                    <a:pt x="1322" y="17"/>
                  </a:lnTo>
                  <a:lnTo>
                    <a:pt x="1396" y="17"/>
                  </a:lnTo>
                  <a:lnTo>
                    <a:pt x="1400" y="18"/>
                  </a:lnTo>
                  <a:lnTo>
                    <a:pt x="1402" y="19"/>
                  </a:lnTo>
                  <a:lnTo>
                    <a:pt x="1406" y="28"/>
                  </a:lnTo>
                  <a:lnTo>
                    <a:pt x="1406" y="92"/>
                  </a:lnTo>
                  <a:lnTo>
                    <a:pt x="1402" y="100"/>
                  </a:lnTo>
                  <a:lnTo>
                    <a:pt x="1396" y="102"/>
                  </a:lnTo>
                  <a:close/>
                  <a:moveTo>
                    <a:pt x="1124" y="297"/>
                  </a:moveTo>
                  <a:lnTo>
                    <a:pt x="1101" y="267"/>
                  </a:lnTo>
                  <a:lnTo>
                    <a:pt x="1090" y="255"/>
                  </a:lnTo>
                  <a:lnTo>
                    <a:pt x="1079" y="247"/>
                  </a:lnTo>
                  <a:lnTo>
                    <a:pt x="1068" y="241"/>
                  </a:lnTo>
                  <a:lnTo>
                    <a:pt x="1055" y="237"/>
                  </a:lnTo>
                  <a:lnTo>
                    <a:pt x="1040" y="233"/>
                  </a:lnTo>
                  <a:lnTo>
                    <a:pt x="1022" y="233"/>
                  </a:lnTo>
                  <a:lnTo>
                    <a:pt x="997" y="234"/>
                  </a:lnTo>
                  <a:lnTo>
                    <a:pt x="976" y="240"/>
                  </a:lnTo>
                  <a:lnTo>
                    <a:pt x="968" y="244"/>
                  </a:lnTo>
                  <a:lnTo>
                    <a:pt x="960" y="249"/>
                  </a:lnTo>
                  <a:lnTo>
                    <a:pt x="955" y="256"/>
                  </a:lnTo>
                  <a:lnTo>
                    <a:pt x="950" y="264"/>
                  </a:lnTo>
                  <a:lnTo>
                    <a:pt x="942" y="285"/>
                  </a:lnTo>
                  <a:lnTo>
                    <a:pt x="937" y="312"/>
                  </a:lnTo>
                  <a:lnTo>
                    <a:pt x="935" y="347"/>
                  </a:lnTo>
                  <a:lnTo>
                    <a:pt x="934" y="390"/>
                  </a:lnTo>
                  <a:lnTo>
                    <a:pt x="935" y="437"/>
                  </a:lnTo>
                  <a:lnTo>
                    <a:pt x="937" y="475"/>
                  </a:lnTo>
                  <a:lnTo>
                    <a:pt x="942" y="504"/>
                  </a:lnTo>
                  <a:lnTo>
                    <a:pt x="949" y="526"/>
                  </a:lnTo>
                  <a:lnTo>
                    <a:pt x="954" y="534"/>
                  </a:lnTo>
                  <a:lnTo>
                    <a:pt x="960" y="542"/>
                  </a:lnTo>
                  <a:lnTo>
                    <a:pt x="976" y="552"/>
                  </a:lnTo>
                  <a:lnTo>
                    <a:pt x="996" y="557"/>
                  </a:lnTo>
                  <a:lnTo>
                    <a:pt x="1022" y="558"/>
                  </a:lnTo>
                  <a:lnTo>
                    <a:pt x="1050" y="556"/>
                  </a:lnTo>
                  <a:lnTo>
                    <a:pt x="1074" y="547"/>
                  </a:lnTo>
                  <a:lnTo>
                    <a:pt x="1085" y="539"/>
                  </a:lnTo>
                  <a:lnTo>
                    <a:pt x="1097" y="528"/>
                  </a:lnTo>
                  <a:lnTo>
                    <a:pt x="1124" y="496"/>
                  </a:lnTo>
                  <a:lnTo>
                    <a:pt x="1124" y="297"/>
                  </a:lnTo>
                  <a:close/>
                  <a:moveTo>
                    <a:pt x="1124" y="219"/>
                  </a:moveTo>
                  <a:lnTo>
                    <a:pt x="1124" y="23"/>
                  </a:lnTo>
                  <a:lnTo>
                    <a:pt x="1125" y="16"/>
                  </a:lnTo>
                  <a:lnTo>
                    <a:pt x="1127" y="13"/>
                  </a:lnTo>
                  <a:lnTo>
                    <a:pt x="1132" y="11"/>
                  </a:lnTo>
                  <a:lnTo>
                    <a:pt x="1136" y="10"/>
                  </a:lnTo>
                  <a:lnTo>
                    <a:pt x="1186" y="10"/>
                  </a:lnTo>
                  <a:lnTo>
                    <a:pt x="1196" y="13"/>
                  </a:lnTo>
                  <a:lnTo>
                    <a:pt x="1198" y="16"/>
                  </a:lnTo>
                  <a:lnTo>
                    <a:pt x="1198" y="23"/>
                  </a:lnTo>
                  <a:lnTo>
                    <a:pt x="1198" y="600"/>
                  </a:lnTo>
                  <a:lnTo>
                    <a:pt x="1196" y="610"/>
                  </a:lnTo>
                  <a:lnTo>
                    <a:pt x="1192" y="612"/>
                  </a:lnTo>
                  <a:lnTo>
                    <a:pt x="1186" y="612"/>
                  </a:lnTo>
                  <a:lnTo>
                    <a:pt x="1137" y="612"/>
                  </a:lnTo>
                  <a:lnTo>
                    <a:pt x="1132" y="612"/>
                  </a:lnTo>
                  <a:lnTo>
                    <a:pt x="1127" y="610"/>
                  </a:lnTo>
                  <a:lnTo>
                    <a:pt x="1125" y="607"/>
                  </a:lnTo>
                  <a:lnTo>
                    <a:pt x="1124" y="600"/>
                  </a:lnTo>
                  <a:lnTo>
                    <a:pt x="1124" y="561"/>
                  </a:lnTo>
                  <a:lnTo>
                    <a:pt x="1112" y="576"/>
                  </a:lnTo>
                  <a:lnTo>
                    <a:pt x="1098" y="590"/>
                  </a:lnTo>
                  <a:lnTo>
                    <a:pt x="1083" y="599"/>
                  </a:lnTo>
                  <a:lnTo>
                    <a:pt x="1070" y="608"/>
                  </a:lnTo>
                  <a:lnTo>
                    <a:pt x="1041" y="617"/>
                  </a:lnTo>
                  <a:lnTo>
                    <a:pt x="1015" y="619"/>
                  </a:lnTo>
                  <a:lnTo>
                    <a:pt x="992" y="619"/>
                  </a:lnTo>
                  <a:lnTo>
                    <a:pt x="971" y="617"/>
                  </a:lnTo>
                  <a:lnTo>
                    <a:pt x="953" y="613"/>
                  </a:lnTo>
                  <a:lnTo>
                    <a:pt x="936" y="608"/>
                  </a:lnTo>
                  <a:lnTo>
                    <a:pt x="923" y="600"/>
                  </a:lnTo>
                  <a:lnTo>
                    <a:pt x="910" y="592"/>
                  </a:lnTo>
                  <a:lnTo>
                    <a:pt x="900" y="582"/>
                  </a:lnTo>
                  <a:lnTo>
                    <a:pt x="890" y="569"/>
                  </a:lnTo>
                  <a:lnTo>
                    <a:pt x="883" y="554"/>
                  </a:lnTo>
                  <a:lnTo>
                    <a:pt x="876" y="537"/>
                  </a:lnTo>
                  <a:lnTo>
                    <a:pt x="868" y="499"/>
                  </a:lnTo>
                  <a:lnTo>
                    <a:pt x="864" y="450"/>
                  </a:lnTo>
                  <a:lnTo>
                    <a:pt x="862" y="393"/>
                  </a:lnTo>
                  <a:lnTo>
                    <a:pt x="864" y="332"/>
                  </a:lnTo>
                  <a:lnTo>
                    <a:pt x="867" y="307"/>
                  </a:lnTo>
                  <a:lnTo>
                    <a:pt x="871" y="284"/>
                  </a:lnTo>
                  <a:lnTo>
                    <a:pt x="876" y="263"/>
                  </a:lnTo>
                  <a:lnTo>
                    <a:pt x="883" y="245"/>
                  </a:lnTo>
                  <a:lnTo>
                    <a:pt x="891" y="229"/>
                  </a:lnTo>
                  <a:lnTo>
                    <a:pt x="901" y="216"/>
                  </a:lnTo>
                  <a:lnTo>
                    <a:pt x="911" y="205"/>
                  </a:lnTo>
                  <a:lnTo>
                    <a:pt x="924" y="196"/>
                  </a:lnTo>
                  <a:lnTo>
                    <a:pt x="937" y="188"/>
                  </a:lnTo>
                  <a:lnTo>
                    <a:pt x="952" y="182"/>
                  </a:lnTo>
                  <a:lnTo>
                    <a:pt x="988" y="175"/>
                  </a:lnTo>
                  <a:lnTo>
                    <a:pt x="1030" y="173"/>
                  </a:lnTo>
                  <a:lnTo>
                    <a:pt x="1045" y="174"/>
                  </a:lnTo>
                  <a:lnTo>
                    <a:pt x="1060" y="176"/>
                  </a:lnTo>
                  <a:lnTo>
                    <a:pt x="1073" y="179"/>
                  </a:lnTo>
                  <a:lnTo>
                    <a:pt x="1083" y="184"/>
                  </a:lnTo>
                  <a:lnTo>
                    <a:pt x="1104" y="198"/>
                  </a:lnTo>
                  <a:lnTo>
                    <a:pt x="1114" y="207"/>
                  </a:lnTo>
                  <a:lnTo>
                    <a:pt x="1124" y="219"/>
                  </a:lnTo>
                  <a:close/>
                  <a:moveTo>
                    <a:pt x="523" y="347"/>
                  </a:moveTo>
                  <a:lnTo>
                    <a:pt x="701" y="347"/>
                  </a:lnTo>
                  <a:lnTo>
                    <a:pt x="699" y="316"/>
                  </a:lnTo>
                  <a:lnTo>
                    <a:pt x="696" y="291"/>
                  </a:lnTo>
                  <a:lnTo>
                    <a:pt x="689" y="271"/>
                  </a:lnTo>
                  <a:lnTo>
                    <a:pt x="684" y="263"/>
                  </a:lnTo>
                  <a:lnTo>
                    <a:pt x="679" y="255"/>
                  </a:lnTo>
                  <a:lnTo>
                    <a:pt x="674" y="250"/>
                  </a:lnTo>
                  <a:lnTo>
                    <a:pt x="667" y="245"/>
                  </a:lnTo>
                  <a:lnTo>
                    <a:pt x="651" y="238"/>
                  </a:lnTo>
                  <a:lnTo>
                    <a:pt x="631" y="234"/>
                  </a:lnTo>
                  <a:lnTo>
                    <a:pt x="607" y="233"/>
                  </a:lnTo>
                  <a:lnTo>
                    <a:pt x="585" y="234"/>
                  </a:lnTo>
                  <a:lnTo>
                    <a:pt x="567" y="239"/>
                  </a:lnTo>
                  <a:lnTo>
                    <a:pt x="552" y="245"/>
                  </a:lnTo>
                  <a:lnTo>
                    <a:pt x="541" y="256"/>
                  </a:lnTo>
                  <a:lnTo>
                    <a:pt x="533" y="271"/>
                  </a:lnTo>
                  <a:lnTo>
                    <a:pt x="528" y="291"/>
                  </a:lnTo>
                  <a:lnTo>
                    <a:pt x="524" y="316"/>
                  </a:lnTo>
                  <a:lnTo>
                    <a:pt x="523" y="347"/>
                  </a:lnTo>
                  <a:close/>
                  <a:moveTo>
                    <a:pt x="523" y="412"/>
                  </a:moveTo>
                  <a:lnTo>
                    <a:pt x="524" y="453"/>
                  </a:lnTo>
                  <a:lnTo>
                    <a:pt x="525" y="470"/>
                  </a:lnTo>
                  <a:lnTo>
                    <a:pt x="526" y="486"/>
                  </a:lnTo>
                  <a:lnTo>
                    <a:pt x="532" y="511"/>
                  </a:lnTo>
                  <a:lnTo>
                    <a:pt x="541" y="531"/>
                  </a:lnTo>
                  <a:lnTo>
                    <a:pt x="547" y="539"/>
                  </a:lnTo>
                  <a:lnTo>
                    <a:pt x="553" y="545"/>
                  </a:lnTo>
                  <a:lnTo>
                    <a:pt x="562" y="549"/>
                  </a:lnTo>
                  <a:lnTo>
                    <a:pt x="571" y="553"/>
                  </a:lnTo>
                  <a:lnTo>
                    <a:pt x="594" y="557"/>
                  </a:lnTo>
                  <a:lnTo>
                    <a:pt x="624" y="558"/>
                  </a:lnTo>
                  <a:lnTo>
                    <a:pt x="642" y="558"/>
                  </a:lnTo>
                  <a:lnTo>
                    <a:pt x="659" y="556"/>
                  </a:lnTo>
                  <a:lnTo>
                    <a:pt x="672" y="552"/>
                  </a:lnTo>
                  <a:lnTo>
                    <a:pt x="682" y="546"/>
                  </a:lnTo>
                  <a:lnTo>
                    <a:pt x="692" y="539"/>
                  </a:lnTo>
                  <a:lnTo>
                    <a:pt x="698" y="528"/>
                  </a:lnTo>
                  <a:lnTo>
                    <a:pt x="710" y="500"/>
                  </a:lnTo>
                  <a:lnTo>
                    <a:pt x="712" y="493"/>
                  </a:lnTo>
                  <a:lnTo>
                    <a:pt x="716" y="489"/>
                  </a:lnTo>
                  <a:lnTo>
                    <a:pt x="720" y="488"/>
                  </a:lnTo>
                  <a:lnTo>
                    <a:pt x="726" y="488"/>
                  </a:lnTo>
                  <a:lnTo>
                    <a:pt x="765" y="495"/>
                  </a:lnTo>
                  <a:lnTo>
                    <a:pt x="772" y="496"/>
                  </a:lnTo>
                  <a:lnTo>
                    <a:pt x="776" y="500"/>
                  </a:lnTo>
                  <a:lnTo>
                    <a:pt x="778" y="505"/>
                  </a:lnTo>
                  <a:lnTo>
                    <a:pt x="778" y="511"/>
                  </a:lnTo>
                  <a:lnTo>
                    <a:pt x="772" y="533"/>
                  </a:lnTo>
                  <a:lnTo>
                    <a:pt x="763" y="553"/>
                  </a:lnTo>
                  <a:lnTo>
                    <a:pt x="752" y="571"/>
                  </a:lnTo>
                  <a:lnTo>
                    <a:pt x="744" y="579"/>
                  </a:lnTo>
                  <a:lnTo>
                    <a:pt x="736" y="588"/>
                  </a:lnTo>
                  <a:lnTo>
                    <a:pt x="716" y="600"/>
                  </a:lnTo>
                  <a:lnTo>
                    <a:pt x="690" y="611"/>
                  </a:lnTo>
                  <a:lnTo>
                    <a:pt x="675" y="615"/>
                  </a:lnTo>
                  <a:lnTo>
                    <a:pt x="657" y="617"/>
                  </a:lnTo>
                  <a:lnTo>
                    <a:pt x="617" y="619"/>
                  </a:lnTo>
                  <a:lnTo>
                    <a:pt x="571" y="617"/>
                  </a:lnTo>
                  <a:lnTo>
                    <a:pt x="533" y="610"/>
                  </a:lnTo>
                  <a:lnTo>
                    <a:pt x="519" y="604"/>
                  </a:lnTo>
                  <a:lnTo>
                    <a:pt x="505" y="595"/>
                  </a:lnTo>
                  <a:lnTo>
                    <a:pt x="493" y="586"/>
                  </a:lnTo>
                  <a:lnTo>
                    <a:pt x="483" y="574"/>
                  </a:lnTo>
                  <a:lnTo>
                    <a:pt x="474" y="561"/>
                  </a:lnTo>
                  <a:lnTo>
                    <a:pt x="467" y="544"/>
                  </a:lnTo>
                  <a:lnTo>
                    <a:pt x="458" y="505"/>
                  </a:lnTo>
                  <a:lnTo>
                    <a:pt x="451" y="455"/>
                  </a:lnTo>
                  <a:lnTo>
                    <a:pt x="450" y="393"/>
                  </a:lnTo>
                  <a:lnTo>
                    <a:pt x="452" y="332"/>
                  </a:lnTo>
                  <a:lnTo>
                    <a:pt x="456" y="307"/>
                  </a:lnTo>
                  <a:lnTo>
                    <a:pt x="459" y="284"/>
                  </a:lnTo>
                  <a:lnTo>
                    <a:pt x="464" y="263"/>
                  </a:lnTo>
                  <a:lnTo>
                    <a:pt x="470" y="245"/>
                  </a:lnTo>
                  <a:lnTo>
                    <a:pt x="479" y="229"/>
                  </a:lnTo>
                  <a:lnTo>
                    <a:pt x="488" y="216"/>
                  </a:lnTo>
                  <a:lnTo>
                    <a:pt x="499" y="205"/>
                  </a:lnTo>
                  <a:lnTo>
                    <a:pt x="510" y="196"/>
                  </a:lnTo>
                  <a:lnTo>
                    <a:pt x="524" y="188"/>
                  </a:lnTo>
                  <a:lnTo>
                    <a:pt x="540" y="182"/>
                  </a:lnTo>
                  <a:lnTo>
                    <a:pt x="575" y="175"/>
                  </a:lnTo>
                  <a:lnTo>
                    <a:pt x="617" y="173"/>
                  </a:lnTo>
                  <a:lnTo>
                    <a:pt x="640" y="174"/>
                  </a:lnTo>
                  <a:lnTo>
                    <a:pt x="661" y="176"/>
                  </a:lnTo>
                  <a:lnTo>
                    <a:pt x="680" y="179"/>
                  </a:lnTo>
                  <a:lnTo>
                    <a:pt x="697" y="184"/>
                  </a:lnTo>
                  <a:lnTo>
                    <a:pt x="712" y="191"/>
                  </a:lnTo>
                  <a:lnTo>
                    <a:pt x="724" y="200"/>
                  </a:lnTo>
                  <a:lnTo>
                    <a:pt x="736" y="209"/>
                  </a:lnTo>
                  <a:lnTo>
                    <a:pt x="745" y="221"/>
                  </a:lnTo>
                  <a:lnTo>
                    <a:pt x="753" y="233"/>
                  </a:lnTo>
                  <a:lnTo>
                    <a:pt x="759" y="248"/>
                  </a:lnTo>
                  <a:lnTo>
                    <a:pt x="764" y="264"/>
                  </a:lnTo>
                  <a:lnTo>
                    <a:pt x="767" y="281"/>
                  </a:lnTo>
                  <a:lnTo>
                    <a:pt x="770" y="301"/>
                  </a:lnTo>
                  <a:lnTo>
                    <a:pt x="773" y="320"/>
                  </a:lnTo>
                  <a:lnTo>
                    <a:pt x="774" y="367"/>
                  </a:lnTo>
                  <a:lnTo>
                    <a:pt x="774" y="396"/>
                  </a:lnTo>
                  <a:lnTo>
                    <a:pt x="773" y="403"/>
                  </a:lnTo>
                  <a:lnTo>
                    <a:pt x="769" y="407"/>
                  </a:lnTo>
                  <a:lnTo>
                    <a:pt x="765" y="411"/>
                  </a:lnTo>
                  <a:lnTo>
                    <a:pt x="758" y="412"/>
                  </a:lnTo>
                  <a:lnTo>
                    <a:pt x="523" y="412"/>
                  </a:lnTo>
                  <a:close/>
                  <a:moveTo>
                    <a:pt x="211" y="548"/>
                  </a:moveTo>
                  <a:lnTo>
                    <a:pt x="224" y="548"/>
                  </a:lnTo>
                  <a:lnTo>
                    <a:pt x="234" y="545"/>
                  </a:lnTo>
                  <a:lnTo>
                    <a:pt x="242" y="541"/>
                  </a:lnTo>
                  <a:lnTo>
                    <a:pt x="250" y="532"/>
                  </a:lnTo>
                  <a:lnTo>
                    <a:pt x="256" y="521"/>
                  </a:lnTo>
                  <a:lnTo>
                    <a:pt x="262" y="504"/>
                  </a:lnTo>
                  <a:lnTo>
                    <a:pt x="276" y="456"/>
                  </a:lnTo>
                  <a:lnTo>
                    <a:pt x="284" y="423"/>
                  </a:lnTo>
                  <a:lnTo>
                    <a:pt x="290" y="390"/>
                  </a:lnTo>
                  <a:lnTo>
                    <a:pt x="293" y="357"/>
                  </a:lnTo>
                  <a:lnTo>
                    <a:pt x="294" y="325"/>
                  </a:lnTo>
                  <a:lnTo>
                    <a:pt x="293" y="292"/>
                  </a:lnTo>
                  <a:lnTo>
                    <a:pt x="290" y="259"/>
                  </a:lnTo>
                  <a:lnTo>
                    <a:pt x="284" y="225"/>
                  </a:lnTo>
                  <a:lnTo>
                    <a:pt x="276" y="193"/>
                  </a:lnTo>
                  <a:lnTo>
                    <a:pt x="261" y="145"/>
                  </a:lnTo>
                  <a:lnTo>
                    <a:pt x="255" y="129"/>
                  </a:lnTo>
                  <a:lnTo>
                    <a:pt x="249" y="117"/>
                  </a:lnTo>
                  <a:lnTo>
                    <a:pt x="241" y="110"/>
                  </a:lnTo>
                  <a:lnTo>
                    <a:pt x="234" y="105"/>
                  </a:lnTo>
                  <a:lnTo>
                    <a:pt x="224" y="102"/>
                  </a:lnTo>
                  <a:lnTo>
                    <a:pt x="211" y="102"/>
                  </a:lnTo>
                  <a:lnTo>
                    <a:pt x="76" y="102"/>
                  </a:lnTo>
                  <a:lnTo>
                    <a:pt x="76" y="548"/>
                  </a:lnTo>
                  <a:lnTo>
                    <a:pt x="211" y="548"/>
                  </a:lnTo>
                  <a:close/>
                  <a:moveTo>
                    <a:pt x="13" y="612"/>
                  </a:moveTo>
                  <a:lnTo>
                    <a:pt x="3" y="610"/>
                  </a:lnTo>
                  <a:lnTo>
                    <a:pt x="1" y="606"/>
                  </a:lnTo>
                  <a:lnTo>
                    <a:pt x="0" y="600"/>
                  </a:lnTo>
                  <a:lnTo>
                    <a:pt x="0" y="51"/>
                  </a:lnTo>
                  <a:lnTo>
                    <a:pt x="1" y="45"/>
                  </a:lnTo>
                  <a:lnTo>
                    <a:pt x="3" y="40"/>
                  </a:lnTo>
                  <a:lnTo>
                    <a:pt x="6" y="38"/>
                  </a:lnTo>
                  <a:lnTo>
                    <a:pt x="13" y="38"/>
                  </a:lnTo>
                  <a:lnTo>
                    <a:pt x="213" y="38"/>
                  </a:lnTo>
                  <a:lnTo>
                    <a:pt x="233" y="39"/>
                  </a:lnTo>
                  <a:lnTo>
                    <a:pt x="251" y="42"/>
                  </a:lnTo>
                  <a:lnTo>
                    <a:pt x="267" y="47"/>
                  </a:lnTo>
                  <a:lnTo>
                    <a:pt x="281" y="54"/>
                  </a:lnTo>
                  <a:lnTo>
                    <a:pt x="294" y="64"/>
                  </a:lnTo>
                  <a:lnTo>
                    <a:pt x="305" y="76"/>
                  </a:lnTo>
                  <a:lnTo>
                    <a:pt x="315" y="91"/>
                  </a:lnTo>
                  <a:lnTo>
                    <a:pt x="324" y="109"/>
                  </a:lnTo>
                  <a:lnTo>
                    <a:pt x="345" y="162"/>
                  </a:lnTo>
                  <a:lnTo>
                    <a:pt x="354" y="189"/>
                  </a:lnTo>
                  <a:lnTo>
                    <a:pt x="360" y="216"/>
                  </a:lnTo>
                  <a:lnTo>
                    <a:pt x="367" y="269"/>
                  </a:lnTo>
                  <a:lnTo>
                    <a:pt x="369" y="296"/>
                  </a:lnTo>
                  <a:lnTo>
                    <a:pt x="369" y="325"/>
                  </a:lnTo>
                  <a:lnTo>
                    <a:pt x="367" y="381"/>
                  </a:lnTo>
                  <a:lnTo>
                    <a:pt x="364" y="409"/>
                  </a:lnTo>
                  <a:lnTo>
                    <a:pt x="360" y="435"/>
                  </a:lnTo>
                  <a:lnTo>
                    <a:pt x="354" y="461"/>
                  </a:lnTo>
                  <a:lnTo>
                    <a:pt x="345" y="487"/>
                  </a:lnTo>
                  <a:lnTo>
                    <a:pt x="336" y="514"/>
                  </a:lnTo>
                  <a:lnTo>
                    <a:pt x="324" y="542"/>
                  </a:lnTo>
                  <a:lnTo>
                    <a:pt x="315" y="560"/>
                  </a:lnTo>
                  <a:lnTo>
                    <a:pt x="305" y="574"/>
                  </a:lnTo>
                  <a:lnTo>
                    <a:pt x="294" y="587"/>
                  </a:lnTo>
                  <a:lnTo>
                    <a:pt x="281" y="596"/>
                  </a:lnTo>
                  <a:lnTo>
                    <a:pt x="267" y="604"/>
                  </a:lnTo>
                  <a:lnTo>
                    <a:pt x="251" y="609"/>
                  </a:lnTo>
                  <a:lnTo>
                    <a:pt x="233" y="612"/>
                  </a:lnTo>
                  <a:lnTo>
                    <a:pt x="213" y="612"/>
                  </a:lnTo>
                  <a:lnTo>
                    <a:pt x="13" y="612"/>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8" name="Group 17"/>
            <p:cNvGrpSpPr/>
            <p:nvPr userDrawn="1"/>
          </p:nvGrpSpPr>
          <p:grpSpPr>
            <a:xfrm>
              <a:off x="6991350" y="1773238"/>
              <a:ext cx="1422400" cy="719137"/>
              <a:chOff x="6991350" y="1773238"/>
              <a:chExt cx="1422400" cy="719137"/>
            </a:xfrm>
          </p:grpSpPr>
          <p:sp>
            <p:nvSpPr>
              <p:cNvPr id="19" name="Freeform 7"/>
              <p:cNvSpPr>
                <a:spLocks noEditPoints="1"/>
              </p:cNvSpPr>
              <p:nvPr userDrawn="1"/>
            </p:nvSpPr>
            <p:spPr bwMode="auto">
              <a:xfrm>
                <a:off x="6991350" y="1773238"/>
                <a:ext cx="1422400" cy="719137"/>
              </a:xfrm>
              <a:custGeom>
                <a:avLst/>
                <a:gdLst>
                  <a:gd name="T0" fmla="*/ 0 w 3583"/>
                  <a:gd name="T1" fmla="*/ 1811 h 1811"/>
                  <a:gd name="T2" fmla="*/ 834 w 3583"/>
                  <a:gd name="T3" fmla="*/ 1811 h 1811"/>
                  <a:gd name="T4" fmla="*/ 834 w 3583"/>
                  <a:gd name="T5" fmla="*/ 1358 h 1811"/>
                  <a:gd name="T6" fmla="*/ 834 w 3583"/>
                  <a:gd name="T7" fmla="*/ 905 h 1811"/>
                  <a:gd name="T8" fmla="*/ 834 w 3583"/>
                  <a:gd name="T9" fmla="*/ 452 h 1811"/>
                  <a:gd name="T10" fmla="*/ 834 w 3583"/>
                  <a:gd name="T11" fmla="*/ 0 h 1811"/>
                  <a:gd name="T12" fmla="*/ 0 w 3583"/>
                  <a:gd name="T13" fmla="*/ 0 h 1811"/>
                  <a:gd name="T14" fmla="*/ 0 w 3583"/>
                  <a:gd name="T15" fmla="*/ 452 h 1811"/>
                  <a:gd name="T16" fmla="*/ 0 w 3583"/>
                  <a:gd name="T17" fmla="*/ 905 h 1811"/>
                  <a:gd name="T18" fmla="*/ 0 w 3583"/>
                  <a:gd name="T19" fmla="*/ 1358 h 1811"/>
                  <a:gd name="T20" fmla="*/ 0 w 3583"/>
                  <a:gd name="T21" fmla="*/ 1811 h 1811"/>
                  <a:gd name="T22" fmla="*/ 917 w 3583"/>
                  <a:gd name="T23" fmla="*/ 1811 h 1811"/>
                  <a:gd name="T24" fmla="*/ 1750 w 3583"/>
                  <a:gd name="T25" fmla="*/ 1811 h 1811"/>
                  <a:gd name="T26" fmla="*/ 1750 w 3583"/>
                  <a:gd name="T27" fmla="*/ 1358 h 1811"/>
                  <a:gd name="T28" fmla="*/ 1750 w 3583"/>
                  <a:gd name="T29" fmla="*/ 905 h 1811"/>
                  <a:gd name="T30" fmla="*/ 1750 w 3583"/>
                  <a:gd name="T31" fmla="*/ 452 h 1811"/>
                  <a:gd name="T32" fmla="*/ 1750 w 3583"/>
                  <a:gd name="T33" fmla="*/ 0 h 1811"/>
                  <a:gd name="T34" fmla="*/ 917 w 3583"/>
                  <a:gd name="T35" fmla="*/ 0 h 1811"/>
                  <a:gd name="T36" fmla="*/ 917 w 3583"/>
                  <a:gd name="T37" fmla="*/ 452 h 1811"/>
                  <a:gd name="T38" fmla="*/ 917 w 3583"/>
                  <a:gd name="T39" fmla="*/ 905 h 1811"/>
                  <a:gd name="T40" fmla="*/ 917 w 3583"/>
                  <a:gd name="T41" fmla="*/ 1358 h 1811"/>
                  <a:gd name="T42" fmla="*/ 917 w 3583"/>
                  <a:gd name="T43" fmla="*/ 1811 h 1811"/>
                  <a:gd name="T44" fmla="*/ 1833 w 3583"/>
                  <a:gd name="T45" fmla="*/ 1811 h 1811"/>
                  <a:gd name="T46" fmla="*/ 2666 w 3583"/>
                  <a:gd name="T47" fmla="*/ 1811 h 1811"/>
                  <a:gd name="T48" fmla="*/ 2666 w 3583"/>
                  <a:gd name="T49" fmla="*/ 1358 h 1811"/>
                  <a:gd name="T50" fmla="*/ 2666 w 3583"/>
                  <a:gd name="T51" fmla="*/ 905 h 1811"/>
                  <a:gd name="T52" fmla="*/ 2666 w 3583"/>
                  <a:gd name="T53" fmla="*/ 452 h 1811"/>
                  <a:gd name="T54" fmla="*/ 2666 w 3583"/>
                  <a:gd name="T55" fmla="*/ 0 h 1811"/>
                  <a:gd name="T56" fmla="*/ 1833 w 3583"/>
                  <a:gd name="T57" fmla="*/ 0 h 1811"/>
                  <a:gd name="T58" fmla="*/ 1833 w 3583"/>
                  <a:gd name="T59" fmla="*/ 452 h 1811"/>
                  <a:gd name="T60" fmla="*/ 1833 w 3583"/>
                  <a:gd name="T61" fmla="*/ 905 h 1811"/>
                  <a:gd name="T62" fmla="*/ 1833 w 3583"/>
                  <a:gd name="T63" fmla="*/ 1358 h 1811"/>
                  <a:gd name="T64" fmla="*/ 1833 w 3583"/>
                  <a:gd name="T65" fmla="*/ 1811 h 1811"/>
                  <a:gd name="T66" fmla="*/ 3583 w 3583"/>
                  <a:gd name="T67" fmla="*/ 0 h 1811"/>
                  <a:gd name="T68" fmla="*/ 2749 w 3583"/>
                  <a:gd name="T69" fmla="*/ 0 h 1811"/>
                  <a:gd name="T70" fmla="*/ 2749 w 3583"/>
                  <a:gd name="T71" fmla="*/ 452 h 1811"/>
                  <a:gd name="T72" fmla="*/ 2749 w 3583"/>
                  <a:gd name="T73" fmla="*/ 905 h 1811"/>
                  <a:gd name="T74" fmla="*/ 2749 w 3583"/>
                  <a:gd name="T75" fmla="*/ 1358 h 1811"/>
                  <a:gd name="T76" fmla="*/ 2749 w 3583"/>
                  <a:gd name="T77" fmla="*/ 1811 h 1811"/>
                  <a:gd name="T78" fmla="*/ 3583 w 3583"/>
                  <a:gd name="T79" fmla="*/ 1811 h 1811"/>
                  <a:gd name="T80" fmla="*/ 3583 w 3583"/>
                  <a:gd name="T81" fmla="*/ 1358 h 1811"/>
                  <a:gd name="T82" fmla="*/ 3583 w 3583"/>
                  <a:gd name="T83" fmla="*/ 905 h 1811"/>
                  <a:gd name="T84" fmla="*/ 3583 w 3583"/>
                  <a:gd name="T85" fmla="*/ 452 h 1811"/>
                  <a:gd name="T86" fmla="*/ 3583 w 3583"/>
                  <a:gd name="T87" fmla="*/ 0 h 1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83" h="1811">
                    <a:moveTo>
                      <a:pt x="0" y="1811"/>
                    </a:moveTo>
                    <a:lnTo>
                      <a:pt x="834" y="1811"/>
                    </a:lnTo>
                    <a:lnTo>
                      <a:pt x="834" y="1358"/>
                    </a:lnTo>
                    <a:lnTo>
                      <a:pt x="834" y="905"/>
                    </a:lnTo>
                    <a:lnTo>
                      <a:pt x="834" y="452"/>
                    </a:lnTo>
                    <a:lnTo>
                      <a:pt x="834" y="0"/>
                    </a:lnTo>
                    <a:lnTo>
                      <a:pt x="0" y="0"/>
                    </a:lnTo>
                    <a:lnTo>
                      <a:pt x="0" y="452"/>
                    </a:lnTo>
                    <a:lnTo>
                      <a:pt x="0" y="905"/>
                    </a:lnTo>
                    <a:lnTo>
                      <a:pt x="0" y="1358"/>
                    </a:lnTo>
                    <a:lnTo>
                      <a:pt x="0" y="1811"/>
                    </a:lnTo>
                    <a:close/>
                    <a:moveTo>
                      <a:pt x="917" y="1811"/>
                    </a:moveTo>
                    <a:lnTo>
                      <a:pt x="1750" y="1811"/>
                    </a:lnTo>
                    <a:lnTo>
                      <a:pt x="1750" y="1358"/>
                    </a:lnTo>
                    <a:lnTo>
                      <a:pt x="1750" y="905"/>
                    </a:lnTo>
                    <a:lnTo>
                      <a:pt x="1750" y="452"/>
                    </a:lnTo>
                    <a:lnTo>
                      <a:pt x="1750" y="0"/>
                    </a:lnTo>
                    <a:lnTo>
                      <a:pt x="917" y="0"/>
                    </a:lnTo>
                    <a:lnTo>
                      <a:pt x="917" y="452"/>
                    </a:lnTo>
                    <a:lnTo>
                      <a:pt x="917" y="905"/>
                    </a:lnTo>
                    <a:lnTo>
                      <a:pt x="917" y="1358"/>
                    </a:lnTo>
                    <a:lnTo>
                      <a:pt x="917" y="1811"/>
                    </a:lnTo>
                    <a:close/>
                    <a:moveTo>
                      <a:pt x="1833" y="1811"/>
                    </a:moveTo>
                    <a:lnTo>
                      <a:pt x="2666" y="1811"/>
                    </a:lnTo>
                    <a:lnTo>
                      <a:pt x="2666" y="1358"/>
                    </a:lnTo>
                    <a:lnTo>
                      <a:pt x="2666" y="905"/>
                    </a:lnTo>
                    <a:lnTo>
                      <a:pt x="2666" y="452"/>
                    </a:lnTo>
                    <a:lnTo>
                      <a:pt x="2666" y="0"/>
                    </a:lnTo>
                    <a:lnTo>
                      <a:pt x="1833" y="0"/>
                    </a:lnTo>
                    <a:lnTo>
                      <a:pt x="1833" y="452"/>
                    </a:lnTo>
                    <a:lnTo>
                      <a:pt x="1833" y="905"/>
                    </a:lnTo>
                    <a:lnTo>
                      <a:pt x="1833" y="1358"/>
                    </a:lnTo>
                    <a:lnTo>
                      <a:pt x="1833" y="1811"/>
                    </a:lnTo>
                    <a:close/>
                    <a:moveTo>
                      <a:pt x="3583" y="0"/>
                    </a:moveTo>
                    <a:lnTo>
                      <a:pt x="2749" y="0"/>
                    </a:lnTo>
                    <a:lnTo>
                      <a:pt x="2749" y="452"/>
                    </a:lnTo>
                    <a:lnTo>
                      <a:pt x="2749" y="905"/>
                    </a:lnTo>
                    <a:lnTo>
                      <a:pt x="2749" y="1358"/>
                    </a:lnTo>
                    <a:lnTo>
                      <a:pt x="2749" y="1811"/>
                    </a:lnTo>
                    <a:lnTo>
                      <a:pt x="3583" y="1811"/>
                    </a:lnTo>
                    <a:lnTo>
                      <a:pt x="3583" y="1358"/>
                    </a:lnTo>
                    <a:lnTo>
                      <a:pt x="3583" y="905"/>
                    </a:lnTo>
                    <a:lnTo>
                      <a:pt x="3583" y="452"/>
                    </a:lnTo>
                    <a:lnTo>
                      <a:pt x="358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noEditPoints="1"/>
              </p:cNvSpPr>
              <p:nvPr userDrawn="1"/>
            </p:nvSpPr>
            <p:spPr bwMode="auto">
              <a:xfrm>
                <a:off x="7038975" y="1992313"/>
                <a:ext cx="1312863" cy="280987"/>
              </a:xfrm>
              <a:custGeom>
                <a:avLst/>
                <a:gdLst>
                  <a:gd name="T0" fmla="*/ 628 w 3308"/>
                  <a:gd name="T1" fmla="*/ 20 h 705"/>
                  <a:gd name="T2" fmla="*/ 184 w 3308"/>
                  <a:gd name="T3" fmla="*/ 20 h 705"/>
                  <a:gd name="T4" fmla="*/ 184 w 3308"/>
                  <a:gd name="T5" fmla="*/ 695 h 705"/>
                  <a:gd name="T6" fmla="*/ 645 w 3308"/>
                  <a:gd name="T7" fmla="*/ 695 h 705"/>
                  <a:gd name="T8" fmla="*/ 1383 w 3308"/>
                  <a:gd name="T9" fmla="*/ 394 h 705"/>
                  <a:gd name="T10" fmla="*/ 1367 w 3308"/>
                  <a:gd name="T11" fmla="*/ 448 h 705"/>
                  <a:gd name="T12" fmla="*/ 1337 w 3308"/>
                  <a:gd name="T13" fmla="*/ 493 h 705"/>
                  <a:gd name="T14" fmla="*/ 1297 w 3308"/>
                  <a:gd name="T15" fmla="*/ 524 h 705"/>
                  <a:gd name="T16" fmla="*/ 1249 w 3308"/>
                  <a:gd name="T17" fmla="*/ 542 h 705"/>
                  <a:gd name="T18" fmla="*/ 1161 w 3308"/>
                  <a:gd name="T19" fmla="*/ 538 h 705"/>
                  <a:gd name="T20" fmla="*/ 1116 w 3308"/>
                  <a:gd name="T21" fmla="*/ 515 h 705"/>
                  <a:gd name="T22" fmla="*/ 1079 w 3308"/>
                  <a:gd name="T23" fmla="*/ 479 h 705"/>
                  <a:gd name="T24" fmla="*/ 1053 w 3308"/>
                  <a:gd name="T25" fmla="*/ 431 h 705"/>
                  <a:gd name="T26" fmla="*/ 1040 w 3308"/>
                  <a:gd name="T27" fmla="*/ 352 h 705"/>
                  <a:gd name="T28" fmla="*/ 1047 w 3308"/>
                  <a:gd name="T29" fmla="*/ 292 h 705"/>
                  <a:gd name="T30" fmla="*/ 1068 w 3308"/>
                  <a:gd name="T31" fmla="*/ 241 h 705"/>
                  <a:gd name="T32" fmla="*/ 1102 w 3308"/>
                  <a:gd name="T33" fmla="*/ 201 h 705"/>
                  <a:gd name="T34" fmla="*/ 1145 w 3308"/>
                  <a:gd name="T35" fmla="*/ 174 h 705"/>
                  <a:gd name="T36" fmla="*/ 1213 w 3308"/>
                  <a:gd name="T37" fmla="*/ 159 h 705"/>
                  <a:gd name="T38" fmla="*/ 1282 w 3308"/>
                  <a:gd name="T39" fmla="*/ 174 h 705"/>
                  <a:gd name="T40" fmla="*/ 1325 w 3308"/>
                  <a:gd name="T41" fmla="*/ 201 h 705"/>
                  <a:gd name="T42" fmla="*/ 1358 w 3308"/>
                  <a:gd name="T43" fmla="*/ 241 h 705"/>
                  <a:gd name="T44" fmla="*/ 1379 w 3308"/>
                  <a:gd name="T45" fmla="*/ 292 h 705"/>
                  <a:gd name="T46" fmla="*/ 1571 w 3308"/>
                  <a:gd name="T47" fmla="*/ 352 h 705"/>
                  <a:gd name="T48" fmla="*/ 1554 w 3308"/>
                  <a:gd name="T49" fmla="*/ 242 h 705"/>
                  <a:gd name="T50" fmla="*/ 1510 w 3308"/>
                  <a:gd name="T51" fmla="*/ 149 h 705"/>
                  <a:gd name="T52" fmla="*/ 1441 w 3308"/>
                  <a:gd name="T53" fmla="*/ 76 h 705"/>
                  <a:gd name="T54" fmla="*/ 1353 w 3308"/>
                  <a:gd name="T55" fmla="*/ 26 h 705"/>
                  <a:gd name="T56" fmla="*/ 1250 w 3308"/>
                  <a:gd name="T57" fmla="*/ 2 h 705"/>
                  <a:gd name="T58" fmla="*/ 1141 w 3308"/>
                  <a:gd name="T59" fmla="*/ 6 h 705"/>
                  <a:gd name="T60" fmla="*/ 1043 w 3308"/>
                  <a:gd name="T61" fmla="*/ 40 h 705"/>
                  <a:gd name="T62" fmla="*/ 960 w 3308"/>
                  <a:gd name="T63" fmla="*/ 97 h 705"/>
                  <a:gd name="T64" fmla="*/ 899 w 3308"/>
                  <a:gd name="T65" fmla="*/ 178 h 705"/>
                  <a:gd name="T66" fmla="*/ 864 w 3308"/>
                  <a:gd name="T67" fmla="*/ 278 h 705"/>
                  <a:gd name="T68" fmla="*/ 857 w 3308"/>
                  <a:gd name="T69" fmla="*/ 391 h 705"/>
                  <a:gd name="T70" fmla="*/ 884 w 3308"/>
                  <a:gd name="T71" fmla="*/ 496 h 705"/>
                  <a:gd name="T72" fmla="*/ 937 w 3308"/>
                  <a:gd name="T73" fmla="*/ 583 h 705"/>
                  <a:gd name="T74" fmla="*/ 1013 w 3308"/>
                  <a:gd name="T75" fmla="*/ 649 h 705"/>
                  <a:gd name="T76" fmla="*/ 1107 w 3308"/>
                  <a:gd name="T77" fmla="*/ 691 h 705"/>
                  <a:gd name="T78" fmla="*/ 1213 w 3308"/>
                  <a:gd name="T79" fmla="*/ 705 h 705"/>
                  <a:gd name="T80" fmla="*/ 1320 w 3308"/>
                  <a:gd name="T81" fmla="*/ 691 h 705"/>
                  <a:gd name="T82" fmla="*/ 1414 w 3308"/>
                  <a:gd name="T83" fmla="*/ 649 h 705"/>
                  <a:gd name="T84" fmla="*/ 1489 w 3308"/>
                  <a:gd name="T85" fmla="*/ 583 h 705"/>
                  <a:gd name="T86" fmla="*/ 1543 w 3308"/>
                  <a:gd name="T87" fmla="*/ 496 h 705"/>
                  <a:gd name="T88" fmla="*/ 1569 w 3308"/>
                  <a:gd name="T89" fmla="*/ 391 h 705"/>
                  <a:gd name="T90" fmla="*/ 2436 w 3308"/>
                  <a:gd name="T91" fmla="*/ 695 h 705"/>
                  <a:gd name="T92" fmla="*/ 2265 w 3308"/>
                  <a:gd name="T93" fmla="*/ 349 h 705"/>
                  <a:gd name="T94" fmla="*/ 1823 w 3308"/>
                  <a:gd name="T95" fmla="*/ 695 h 705"/>
                  <a:gd name="T96" fmla="*/ 2343 w 3308"/>
                  <a:gd name="T97" fmla="*/ 695 h 705"/>
                  <a:gd name="T98" fmla="*/ 3268 w 3308"/>
                  <a:gd name="T99" fmla="*/ 428 h 705"/>
                  <a:gd name="T100" fmla="*/ 2969 w 3308"/>
                  <a:gd name="T101" fmla="*/ 168 h 705"/>
                  <a:gd name="T102" fmla="*/ 2788 w 3308"/>
                  <a:gd name="T103" fmla="*/ 20 h 705"/>
                  <a:gd name="T104" fmla="*/ 3308 w 3308"/>
                  <a:gd name="T105" fmla="*/ 54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08" h="705">
                    <a:moveTo>
                      <a:pt x="645" y="695"/>
                    </a:moveTo>
                    <a:lnTo>
                      <a:pt x="377" y="337"/>
                    </a:lnTo>
                    <a:lnTo>
                      <a:pt x="628" y="20"/>
                    </a:lnTo>
                    <a:lnTo>
                      <a:pt x="411" y="20"/>
                    </a:lnTo>
                    <a:lnTo>
                      <a:pt x="184" y="314"/>
                    </a:lnTo>
                    <a:lnTo>
                      <a:pt x="184" y="20"/>
                    </a:lnTo>
                    <a:lnTo>
                      <a:pt x="0" y="20"/>
                    </a:lnTo>
                    <a:lnTo>
                      <a:pt x="0" y="695"/>
                    </a:lnTo>
                    <a:lnTo>
                      <a:pt x="184" y="695"/>
                    </a:lnTo>
                    <a:lnTo>
                      <a:pt x="184" y="375"/>
                    </a:lnTo>
                    <a:lnTo>
                      <a:pt x="421" y="695"/>
                    </a:lnTo>
                    <a:lnTo>
                      <a:pt x="645" y="695"/>
                    </a:lnTo>
                    <a:close/>
                    <a:moveTo>
                      <a:pt x="1388" y="352"/>
                    </a:moveTo>
                    <a:lnTo>
                      <a:pt x="1387" y="374"/>
                    </a:lnTo>
                    <a:lnTo>
                      <a:pt x="1383" y="394"/>
                    </a:lnTo>
                    <a:lnTo>
                      <a:pt x="1379" y="413"/>
                    </a:lnTo>
                    <a:lnTo>
                      <a:pt x="1374" y="431"/>
                    </a:lnTo>
                    <a:lnTo>
                      <a:pt x="1367" y="448"/>
                    </a:lnTo>
                    <a:lnTo>
                      <a:pt x="1358" y="464"/>
                    </a:lnTo>
                    <a:lnTo>
                      <a:pt x="1348" y="479"/>
                    </a:lnTo>
                    <a:lnTo>
                      <a:pt x="1337" y="493"/>
                    </a:lnTo>
                    <a:lnTo>
                      <a:pt x="1325" y="504"/>
                    </a:lnTo>
                    <a:lnTo>
                      <a:pt x="1311" y="515"/>
                    </a:lnTo>
                    <a:lnTo>
                      <a:pt x="1297" y="524"/>
                    </a:lnTo>
                    <a:lnTo>
                      <a:pt x="1282" y="531"/>
                    </a:lnTo>
                    <a:lnTo>
                      <a:pt x="1266" y="538"/>
                    </a:lnTo>
                    <a:lnTo>
                      <a:pt x="1249" y="542"/>
                    </a:lnTo>
                    <a:lnTo>
                      <a:pt x="1213" y="546"/>
                    </a:lnTo>
                    <a:lnTo>
                      <a:pt x="1178" y="542"/>
                    </a:lnTo>
                    <a:lnTo>
                      <a:pt x="1161" y="538"/>
                    </a:lnTo>
                    <a:lnTo>
                      <a:pt x="1145" y="531"/>
                    </a:lnTo>
                    <a:lnTo>
                      <a:pt x="1129" y="524"/>
                    </a:lnTo>
                    <a:lnTo>
                      <a:pt x="1116" y="515"/>
                    </a:lnTo>
                    <a:lnTo>
                      <a:pt x="1102" y="504"/>
                    </a:lnTo>
                    <a:lnTo>
                      <a:pt x="1089" y="493"/>
                    </a:lnTo>
                    <a:lnTo>
                      <a:pt x="1079" y="479"/>
                    </a:lnTo>
                    <a:lnTo>
                      <a:pt x="1068" y="464"/>
                    </a:lnTo>
                    <a:lnTo>
                      <a:pt x="1060" y="448"/>
                    </a:lnTo>
                    <a:lnTo>
                      <a:pt x="1053" y="431"/>
                    </a:lnTo>
                    <a:lnTo>
                      <a:pt x="1047" y="413"/>
                    </a:lnTo>
                    <a:lnTo>
                      <a:pt x="1043" y="394"/>
                    </a:lnTo>
                    <a:lnTo>
                      <a:pt x="1040" y="352"/>
                    </a:lnTo>
                    <a:lnTo>
                      <a:pt x="1041" y="331"/>
                    </a:lnTo>
                    <a:lnTo>
                      <a:pt x="1043" y="311"/>
                    </a:lnTo>
                    <a:lnTo>
                      <a:pt x="1047" y="292"/>
                    </a:lnTo>
                    <a:lnTo>
                      <a:pt x="1053" y="274"/>
                    </a:lnTo>
                    <a:lnTo>
                      <a:pt x="1060" y="257"/>
                    </a:lnTo>
                    <a:lnTo>
                      <a:pt x="1068" y="241"/>
                    </a:lnTo>
                    <a:lnTo>
                      <a:pt x="1079" y="226"/>
                    </a:lnTo>
                    <a:lnTo>
                      <a:pt x="1089" y="213"/>
                    </a:lnTo>
                    <a:lnTo>
                      <a:pt x="1102" y="201"/>
                    </a:lnTo>
                    <a:lnTo>
                      <a:pt x="1116" y="191"/>
                    </a:lnTo>
                    <a:lnTo>
                      <a:pt x="1129" y="181"/>
                    </a:lnTo>
                    <a:lnTo>
                      <a:pt x="1145" y="174"/>
                    </a:lnTo>
                    <a:lnTo>
                      <a:pt x="1161" y="167"/>
                    </a:lnTo>
                    <a:lnTo>
                      <a:pt x="1178" y="162"/>
                    </a:lnTo>
                    <a:lnTo>
                      <a:pt x="1213" y="159"/>
                    </a:lnTo>
                    <a:lnTo>
                      <a:pt x="1249" y="162"/>
                    </a:lnTo>
                    <a:lnTo>
                      <a:pt x="1266" y="167"/>
                    </a:lnTo>
                    <a:lnTo>
                      <a:pt x="1282" y="174"/>
                    </a:lnTo>
                    <a:lnTo>
                      <a:pt x="1297" y="181"/>
                    </a:lnTo>
                    <a:lnTo>
                      <a:pt x="1311" y="191"/>
                    </a:lnTo>
                    <a:lnTo>
                      <a:pt x="1325" y="201"/>
                    </a:lnTo>
                    <a:lnTo>
                      <a:pt x="1337" y="213"/>
                    </a:lnTo>
                    <a:lnTo>
                      <a:pt x="1348" y="226"/>
                    </a:lnTo>
                    <a:lnTo>
                      <a:pt x="1358" y="241"/>
                    </a:lnTo>
                    <a:lnTo>
                      <a:pt x="1367" y="257"/>
                    </a:lnTo>
                    <a:lnTo>
                      <a:pt x="1374" y="274"/>
                    </a:lnTo>
                    <a:lnTo>
                      <a:pt x="1379" y="292"/>
                    </a:lnTo>
                    <a:lnTo>
                      <a:pt x="1383" y="311"/>
                    </a:lnTo>
                    <a:lnTo>
                      <a:pt x="1388" y="352"/>
                    </a:lnTo>
                    <a:close/>
                    <a:moveTo>
                      <a:pt x="1571" y="352"/>
                    </a:moveTo>
                    <a:lnTo>
                      <a:pt x="1569" y="314"/>
                    </a:lnTo>
                    <a:lnTo>
                      <a:pt x="1564" y="278"/>
                    </a:lnTo>
                    <a:lnTo>
                      <a:pt x="1554" y="242"/>
                    </a:lnTo>
                    <a:lnTo>
                      <a:pt x="1543" y="209"/>
                    </a:lnTo>
                    <a:lnTo>
                      <a:pt x="1528" y="178"/>
                    </a:lnTo>
                    <a:lnTo>
                      <a:pt x="1510" y="149"/>
                    </a:lnTo>
                    <a:lnTo>
                      <a:pt x="1489" y="122"/>
                    </a:lnTo>
                    <a:lnTo>
                      <a:pt x="1466" y="97"/>
                    </a:lnTo>
                    <a:lnTo>
                      <a:pt x="1441" y="76"/>
                    </a:lnTo>
                    <a:lnTo>
                      <a:pt x="1414" y="56"/>
                    </a:lnTo>
                    <a:lnTo>
                      <a:pt x="1384" y="40"/>
                    </a:lnTo>
                    <a:lnTo>
                      <a:pt x="1353" y="26"/>
                    </a:lnTo>
                    <a:lnTo>
                      <a:pt x="1320" y="14"/>
                    </a:lnTo>
                    <a:lnTo>
                      <a:pt x="1286" y="6"/>
                    </a:lnTo>
                    <a:lnTo>
                      <a:pt x="1250" y="2"/>
                    </a:lnTo>
                    <a:lnTo>
                      <a:pt x="1213" y="0"/>
                    </a:lnTo>
                    <a:lnTo>
                      <a:pt x="1177" y="2"/>
                    </a:lnTo>
                    <a:lnTo>
                      <a:pt x="1141" y="6"/>
                    </a:lnTo>
                    <a:lnTo>
                      <a:pt x="1107" y="14"/>
                    </a:lnTo>
                    <a:lnTo>
                      <a:pt x="1074" y="26"/>
                    </a:lnTo>
                    <a:lnTo>
                      <a:pt x="1043" y="40"/>
                    </a:lnTo>
                    <a:lnTo>
                      <a:pt x="1013" y="56"/>
                    </a:lnTo>
                    <a:lnTo>
                      <a:pt x="986" y="76"/>
                    </a:lnTo>
                    <a:lnTo>
                      <a:pt x="960" y="97"/>
                    </a:lnTo>
                    <a:lnTo>
                      <a:pt x="937" y="122"/>
                    </a:lnTo>
                    <a:lnTo>
                      <a:pt x="917" y="149"/>
                    </a:lnTo>
                    <a:lnTo>
                      <a:pt x="899" y="178"/>
                    </a:lnTo>
                    <a:lnTo>
                      <a:pt x="884" y="209"/>
                    </a:lnTo>
                    <a:lnTo>
                      <a:pt x="872" y="242"/>
                    </a:lnTo>
                    <a:lnTo>
                      <a:pt x="864" y="278"/>
                    </a:lnTo>
                    <a:lnTo>
                      <a:pt x="857" y="314"/>
                    </a:lnTo>
                    <a:lnTo>
                      <a:pt x="856" y="352"/>
                    </a:lnTo>
                    <a:lnTo>
                      <a:pt x="857" y="391"/>
                    </a:lnTo>
                    <a:lnTo>
                      <a:pt x="864" y="428"/>
                    </a:lnTo>
                    <a:lnTo>
                      <a:pt x="872" y="463"/>
                    </a:lnTo>
                    <a:lnTo>
                      <a:pt x="884" y="496"/>
                    </a:lnTo>
                    <a:lnTo>
                      <a:pt x="899" y="527"/>
                    </a:lnTo>
                    <a:lnTo>
                      <a:pt x="917" y="556"/>
                    </a:lnTo>
                    <a:lnTo>
                      <a:pt x="937" y="583"/>
                    </a:lnTo>
                    <a:lnTo>
                      <a:pt x="960" y="607"/>
                    </a:lnTo>
                    <a:lnTo>
                      <a:pt x="986" y="629"/>
                    </a:lnTo>
                    <a:lnTo>
                      <a:pt x="1013" y="649"/>
                    </a:lnTo>
                    <a:lnTo>
                      <a:pt x="1043" y="666"/>
                    </a:lnTo>
                    <a:lnTo>
                      <a:pt x="1074" y="679"/>
                    </a:lnTo>
                    <a:lnTo>
                      <a:pt x="1107" y="691"/>
                    </a:lnTo>
                    <a:lnTo>
                      <a:pt x="1141" y="699"/>
                    </a:lnTo>
                    <a:lnTo>
                      <a:pt x="1177" y="703"/>
                    </a:lnTo>
                    <a:lnTo>
                      <a:pt x="1213" y="705"/>
                    </a:lnTo>
                    <a:lnTo>
                      <a:pt x="1250" y="703"/>
                    </a:lnTo>
                    <a:lnTo>
                      <a:pt x="1286" y="699"/>
                    </a:lnTo>
                    <a:lnTo>
                      <a:pt x="1320" y="691"/>
                    </a:lnTo>
                    <a:lnTo>
                      <a:pt x="1353" y="679"/>
                    </a:lnTo>
                    <a:lnTo>
                      <a:pt x="1384" y="666"/>
                    </a:lnTo>
                    <a:lnTo>
                      <a:pt x="1414" y="649"/>
                    </a:lnTo>
                    <a:lnTo>
                      <a:pt x="1441" y="629"/>
                    </a:lnTo>
                    <a:lnTo>
                      <a:pt x="1466" y="607"/>
                    </a:lnTo>
                    <a:lnTo>
                      <a:pt x="1489" y="583"/>
                    </a:lnTo>
                    <a:lnTo>
                      <a:pt x="1510" y="556"/>
                    </a:lnTo>
                    <a:lnTo>
                      <a:pt x="1528" y="527"/>
                    </a:lnTo>
                    <a:lnTo>
                      <a:pt x="1543" y="496"/>
                    </a:lnTo>
                    <a:lnTo>
                      <a:pt x="1554" y="463"/>
                    </a:lnTo>
                    <a:lnTo>
                      <a:pt x="1564" y="428"/>
                    </a:lnTo>
                    <a:lnTo>
                      <a:pt x="1569" y="391"/>
                    </a:lnTo>
                    <a:lnTo>
                      <a:pt x="1571" y="352"/>
                    </a:lnTo>
                    <a:close/>
                    <a:moveTo>
                      <a:pt x="2343" y="695"/>
                    </a:moveTo>
                    <a:lnTo>
                      <a:pt x="2436" y="695"/>
                    </a:lnTo>
                    <a:lnTo>
                      <a:pt x="2436" y="20"/>
                    </a:lnTo>
                    <a:lnTo>
                      <a:pt x="2265" y="20"/>
                    </a:lnTo>
                    <a:lnTo>
                      <a:pt x="2265" y="349"/>
                    </a:lnTo>
                    <a:lnTo>
                      <a:pt x="1928" y="20"/>
                    </a:lnTo>
                    <a:lnTo>
                      <a:pt x="1823" y="20"/>
                    </a:lnTo>
                    <a:lnTo>
                      <a:pt x="1823" y="695"/>
                    </a:lnTo>
                    <a:lnTo>
                      <a:pt x="1993" y="695"/>
                    </a:lnTo>
                    <a:lnTo>
                      <a:pt x="1993" y="352"/>
                    </a:lnTo>
                    <a:lnTo>
                      <a:pt x="2343" y="695"/>
                    </a:lnTo>
                    <a:close/>
                    <a:moveTo>
                      <a:pt x="2969" y="542"/>
                    </a:moveTo>
                    <a:lnTo>
                      <a:pt x="2969" y="428"/>
                    </a:lnTo>
                    <a:lnTo>
                      <a:pt x="3268" y="428"/>
                    </a:lnTo>
                    <a:lnTo>
                      <a:pt x="3268" y="283"/>
                    </a:lnTo>
                    <a:lnTo>
                      <a:pt x="2969" y="283"/>
                    </a:lnTo>
                    <a:lnTo>
                      <a:pt x="2969" y="168"/>
                    </a:lnTo>
                    <a:lnTo>
                      <a:pt x="3308" y="168"/>
                    </a:lnTo>
                    <a:lnTo>
                      <a:pt x="3308" y="20"/>
                    </a:lnTo>
                    <a:lnTo>
                      <a:pt x="2788" y="20"/>
                    </a:lnTo>
                    <a:lnTo>
                      <a:pt x="2788" y="695"/>
                    </a:lnTo>
                    <a:lnTo>
                      <a:pt x="3308" y="695"/>
                    </a:lnTo>
                    <a:lnTo>
                      <a:pt x="3308" y="542"/>
                    </a:lnTo>
                    <a:lnTo>
                      <a:pt x="2969" y="5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211494182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Highlight Right">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lvl1pPr>
              <a:defRPr>
                <a:noFill/>
              </a:defRPr>
            </a:lvl1pPr>
          </a:lstStyle>
          <a:p>
            <a:fld id="{A005744E-BFDF-4FB9-8C14-1C3567C27FFD}" type="datetime3">
              <a:rPr lang="en-US" smtClean="0"/>
              <a:t>13 April 2022</a:t>
            </a:fld>
            <a:endParaRPr lang="en-US"/>
          </a:p>
        </p:txBody>
      </p:sp>
      <p:sp>
        <p:nvSpPr>
          <p:cNvPr id="17" name="Footer Placeholder 16"/>
          <p:cNvSpPr>
            <a:spLocks noGrp="1"/>
          </p:cNvSpPr>
          <p:nvPr>
            <p:ph type="ftr" sz="quarter" idx="15"/>
          </p:nvPr>
        </p:nvSpPr>
        <p:spPr/>
        <p:txBody>
          <a:bodyPr/>
          <a:lstStyle>
            <a:lvl1pPr>
              <a:defRPr>
                <a:noFill/>
              </a:defRPr>
            </a:lvl1pPr>
          </a:lstStyle>
          <a:p>
            <a:r>
              <a:rPr lang="en-US"/>
              <a:t>Confidential  |  © KONE Corporation</a:t>
            </a:r>
          </a:p>
        </p:txBody>
      </p:sp>
      <p:sp>
        <p:nvSpPr>
          <p:cNvPr id="18" name="Slide Number Placeholder 17"/>
          <p:cNvSpPr>
            <a:spLocks noGrp="1"/>
          </p:cNvSpPr>
          <p:nvPr>
            <p:ph type="sldNum" sz="quarter" idx="16"/>
          </p:nvPr>
        </p:nvSpPr>
        <p:spPr/>
        <p:txBody>
          <a:bodyPr/>
          <a:lstStyle>
            <a:lvl1pPr>
              <a:defRPr>
                <a:noFill/>
              </a:defRPr>
            </a:lvl1pPr>
          </a:lstStyle>
          <a:p>
            <a:fld id="{604FC64F-66B6-486E-8EFE-9FD96A66D16B}" type="slidenum">
              <a:rPr lang="en-US" smtClean="0"/>
              <a:pPr/>
              <a:t>‹#›</a:t>
            </a:fld>
            <a:endParaRPr lang="en-US"/>
          </a:p>
        </p:txBody>
      </p:sp>
      <p:sp>
        <p:nvSpPr>
          <p:cNvPr id="8" name="Picture Placeholder 9"/>
          <p:cNvSpPr>
            <a:spLocks noGrp="1"/>
          </p:cNvSpPr>
          <p:nvPr>
            <p:ph type="pic" sz="quarter" idx="18"/>
          </p:nvPr>
        </p:nvSpPr>
        <p:spPr>
          <a:xfrm>
            <a:off x="0" y="0"/>
            <a:ext cx="12192000" cy="6858000"/>
          </a:xfrm>
          <a:solidFill>
            <a:schemeClr val="bg1">
              <a:lumMod val="75000"/>
            </a:schemeClr>
          </a:solidFill>
        </p:spPr>
        <p:txBody>
          <a:bodyPr/>
          <a:lstStyle>
            <a:lvl1pPr marL="0" indent="0">
              <a:buFontTx/>
              <a:buNone/>
              <a:defRPr/>
            </a:lvl1pPr>
          </a:lstStyle>
          <a:p>
            <a:endParaRPr lang="en-GB"/>
          </a:p>
        </p:txBody>
      </p:sp>
      <p:sp>
        <p:nvSpPr>
          <p:cNvPr id="2" name="Title 1"/>
          <p:cNvSpPr>
            <a:spLocks noGrp="1"/>
          </p:cNvSpPr>
          <p:nvPr>
            <p:ph type="title"/>
          </p:nvPr>
        </p:nvSpPr>
        <p:spPr>
          <a:xfrm>
            <a:off x="7823790" y="0"/>
            <a:ext cx="3613312" cy="6858000"/>
          </a:xfrm>
          <a:solidFill>
            <a:srgbClr val="000000">
              <a:alpha val="20000"/>
            </a:srgbClr>
          </a:solidFill>
          <a:ln>
            <a:noFill/>
          </a:ln>
          <a:effectLst/>
        </p:spPr>
        <p:txBody>
          <a:bodyPr vert="horz" wrap="square" lIns="216043" tIns="216043" rIns="216043" bIns="4536000" numCol="1" anchor="b" anchorCtr="0" compatLnSpc="1">
            <a:prstTxWarp prst="textNoShape">
              <a:avLst/>
            </a:prstTxWarp>
            <a:noAutofit/>
          </a:bodyPr>
          <a:lstStyle>
            <a:lvl1pPr>
              <a:spcBef>
                <a:spcPts val="400"/>
              </a:spcBef>
              <a:defRPr lang="fi-FI" sz="2399" cap="none" spc="0" baseline="0">
                <a:solidFill>
                  <a:schemeClr val="bg1"/>
                </a:solidFill>
              </a:defRPr>
            </a:lvl1pPr>
          </a:lstStyle>
          <a:p>
            <a:pPr lvl="0"/>
            <a:r>
              <a:rPr lang="en-US"/>
              <a:t>Click to edit Master title style</a:t>
            </a:r>
            <a:endParaRPr lang="fi-FI"/>
          </a:p>
        </p:txBody>
      </p:sp>
      <p:sp>
        <p:nvSpPr>
          <p:cNvPr id="5" name="Text Placeholder 4"/>
          <p:cNvSpPr>
            <a:spLocks noGrp="1"/>
          </p:cNvSpPr>
          <p:nvPr>
            <p:ph type="body" sz="quarter" idx="19"/>
          </p:nvPr>
        </p:nvSpPr>
        <p:spPr>
          <a:xfrm>
            <a:off x="8052886" y="2493087"/>
            <a:ext cx="3168242" cy="3958607"/>
          </a:xfrm>
        </p:spPr>
        <p:txBody>
          <a:bodyPr/>
          <a:lstStyle>
            <a:lvl1pPr marL="0" indent="0">
              <a:lnSpc>
                <a:spcPct val="120000"/>
              </a:lnSpc>
              <a:spcBef>
                <a:spcPts val="400"/>
              </a:spcBef>
              <a:buNone/>
              <a:defRPr sz="1600">
                <a:solidFill>
                  <a:schemeClr val="bg1"/>
                </a:solidFill>
              </a:defRPr>
            </a:lvl1pPr>
            <a:lvl2pPr marL="266620" indent="-266620">
              <a:lnSpc>
                <a:spcPct val="120000"/>
              </a:lnSpc>
              <a:spcBef>
                <a:spcPts val="400"/>
              </a:spcBef>
              <a:buClr>
                <a:schemeClr val="bg1"/>
              </a:buClr>
              <a:buFont typeface="Wingdings" pitchFamily="2" charset="2"/>
              <a:buChar char="§"/>
              <a:defRPr sz="1600">
                <a:solidFill>
                  <a:schemeClr val="bg1"/>
                </a:solidFill>
              </a:defRPr>
            </a:lvl2pPr>
            <a:lvl3pPr marL="539588" indent="-272968">
              <a:lnSpc>
                <a:spcPct val="120000"/>
              </a:lnSpc>
              <a:spcBef>
                <a:spcPts val="400"/>
              </a:spcBef>
              <a:buClr>
                <a:schemeClr val="bg1"/>
              </a:buClr>
              <a:defRPr sz="1400">
                <a:solidFill>
                  <a:schemeClr val="bg1"/>
                </a:solidFill>
              </a:defRPr>
            </a:lvl3pPr>
            <a:lvl4pPr marL="806208" indent="-266620">
              <a:lnSpc>
                <a:spcPct val="120000"/>
              </a:lnSpc>
              <a:spcBef>
                <a:spcPts val="400"/>
              </a:spcBef>
              <a:buClr>
                <a:schemeClr val="bg1"/>
              </a:buClr>
              <a:defRPr sz="1200">
                <a:solidFill>
                  <a:schemeClr val="bg1"/>
                </a:solidFill>
              </a:defRPr>
            </a:lvl4pPr>
            <a:lvl5pPr marL="1071242" indent="-265033">
              <a:lnSpc>
                <a:spcPct val="120000"/>
              </a:lnSpc>
              <a:spcBef>
                <a:spcPts val="400"/>
              </a:spcBef>
              <a:buClr>
                <a:schemeClr val="bg1"/>
              </a:buCl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776194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hank you / Contact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lvl1pPr>
              <a:defRPr>
                <a:noFill/>
              </a:defRPr>
            </a:lvl1pPr>
          </a:lstStyle>
          <a:p>
            <a:fld id="{A0B63BDC-5836-4480-9B86-6D3B5C344B56}" type="datetime3">
              <a:rPr lang="en-US" smtClean="0"/>
              <a:t>13 April 2022</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Confidential  |  © KONE Corporation</a:t>
            </a:r>
          </a:p>
        </p:txBody>
      </p:sp>
      <p:sp>
        <p:nvSpPr>
          <p:cNvPr id="7" name="Slide Number Placeholder 6"/>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
        <p:nvSpPr>
          <p:cNvPr id="10" name="Rectangle 2"/>
          <p:cNvSpPr>
            <a:spLocks noGrp="1" noChangeArrowheads="1"/>
          </p:cNvSpPr>
          <p:nvPr>
            <p:ph type="ctrTitle" hasCustomPrompt="1"/>
          </p:nvPr>
        </p:nvSpPr>
        <p:spPr>
          <a:xfrm>
            <a:off x="409470" y="2421094"/>
            <a:ext cx="10365263" cy="1294358"/>
          </a:xfrm>
          <a:prstGeom prst="rect">
            <a:avLst/>
          </a:prstGeom>
        </p:spPr>
        <p:txBody>
          <a:bodyPr anchor="b" anchorCtr="0"/>
          <a:lstStyle>
            <a:lvl1pPr>
              <a:defRPr sz="4000" cap="none" baseline="0">
                <a:solidFill>
                  <a:schemeClr val="tx2"/>
                </a:solidFill>
              </a:defRPr>
            </a:lvl1pPr>
          </a:lstStyle>
          <a:p>
            <a:pPr lvl="0"/>
            <a:r>
              <a:rPr lang="en-US" noProof="0"/>
              <a:t>Add thank you text</a:t>
            </a:r>
          </a:p>
        </p:txBody>
      </p:sp>
      <p:sp>
        <p:nvSpPr>
          <p:cNvPr id="2" name="Rectangle 1"/>
          <p:cNvSpPr/>
          <p:nvPr userDrawn="1"/>
        </p:nvSpPr>
        <p:spPr>
          <a:xfrm>
            <a:off x="409468" y="3932953"/>
            <a:ext cx="1007738" cy="359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6" rIns="91413" bIns="45706" rtlCol="0" anchor="ctr"/>
          <a:lstStyle/>
          <a:p>
            <a:pPr algn="ctr"/>
            <a:endParaRPr lang="en-GB"/>
          </a:p>
        </p:txBody>
      </p:sp>
      <p:sp>
        <p:nvSpPr>
          <p:cNvPr id="13" name="Text Placeholder 2"/>
          <p:cNvSpPr>
            <a:spLocks noGrp="1"/>
          </p:cNvSpPr>
          <p:nvPr>
            <p:ph type="body" sz="quarter" idx="25" hasCustomPrompt="1"/>
          </p:nvPr>
        </p:nvSpPr>
        <p:spPr>
          <a:xfrm>
            <a:off x="409469" y="4364913"/>
            <a:ext cx="10365264" cy="1870931"/>
          </a:xfrm>
          <a:prstGeom prst="rect">
            <a:avLst/>
          </a:prstGeom>
        </p:spPr>
        <p:txBody>
          <a:bodyPr/>
          <a:lstStyle>
            <a:lvl1pPr marL="0" indent="0">
              <a:lnSpc>
                <a:spcPct val="100000"/>
              </a:lnSpc>
              <a:spcBef>
                <a:spcPts val="400"/>
              </a:spcBef>
              <a:buFontTx/>
              <a:buNone/>
              <a:defRPr sz="1800" baseline="0">
                <a:solidFill>
                  <a:schemeClr val="tx2"/>
                </a:solidFill>
              </a:defRPr>
            </a:lvl1pPr>
            <a:lvl2pPr marL="266620" indent="-266620">
              <a:lnSpc>
                <a:spcPct val="100000"/>
              </a:lnSpc>
              <a:spcBef>
                <a:spcPts val="400"/>
              </a:spcBef>
              <a:buFont typeface="Wingdings" pitchFamily="2" charset="2"/>
              <a:buChar char="§"/>
              <a:defRPr sz="1600">
                <a:solidFill>
                  <a:schemeClr val="tx2"/>
                </a:solidFill>
              </a:defRPr>
            </a:lvl2pPr>
            <a:lvl3pPr marL="539588" indent="-272968">
              <a:lnSpc>
                <a:spcPct val="100000"/>
              </a:lnSpc>
              <a:spcBef>
                <a:spcPts val="400"/>
              </a:spcBef>
              <a:defRPr>
                <a:solidFill>
                  <a:schemeClr val="tx2"/>
                </a:solidFill>
              </a:defRPr>
            </a:lvl3pPr>
            <a:lvl4pPr marL="806208" indent="-266620">
              <a:lnSpc>
                <a:spcPct val="100000"/>
              </a:lnSpc>
              <a:spcBef>
                <a:spcPts val="400"/>
              </a:spcBef>
              <a:defRPr>
                <a:solidFill>
                  <a:schemeClr val="tx2"/>
                </a:solidFill>
              </a:defRPr>
            </a:lvl4pPr>
            <a:lvl5pPr marL="1071242" indent="-265033">
              <a:lnSpc>
                <a:spcPct val="100000"/>
              </a:lnSpc>
              <a:spcBef>
                <a:spcPts val="400"/>
              </a:spcBef>
              <a:defRPr>
                <a:solidFill>
                  <a:schemeClr val="tx2"/>
                </a:solidFill>
              </a:defRPr>
            </a:lvl5pPr>
            <a:lvl6pPr marL="1345796" indent="-274556">
              <a:defRPr>
                <a:solidFill>
                  <a:schemeClr val="tx2"/>
                </a:solidFill>
              </a:defRPr>
            </a:lvl6pPr>
            <a:lvl7pPr marL="1612416" indent="-266620">
              <a:defRPr>
                <a:solidFill>
                  <a:schemeClr val="tx2"/>
                </a:solidFill>
              </a:defRPr>
            </a:lvl7pPr>
            <a:lvl8pPr marL="1877450" indent="-265033">
              <a:defRPr>
                <a:solidFill>
                  <a:schemeClr val="tx2"/>
                </a:solidFill>
              </a:defRPr>
            </a:lvl8pPr>
            <a:lvl9pPr marL="2152004" indent="-274556">
              <a:defRPr>
                <a:solidFill>
                  <a:schemeClr val="tx2"/>
                </a:solidFill>
              </a:defRPr>
            </a:lvl9pPr>
          </a:lstStyle>
          <a:p>
            <a:pPr lvl="0"/>
            <a:r>
              <a:rPr lang="en-US"/>
              <a:t>Your contact details</a:t>
            </a:r>
          </a:p>
          <a:p>
            <a:pPr lvl="1"/>
            <a:r>
              <a:rPr lang="en-US"/>
              <a:t>More details</a:t>
            </a:r>
          </a:p>
        </p:txBody>
      </p:sp>
    </p:spTree>
    <p:extLst>
      <p:ext uri="{BB962C8B-B14F-4D97-AF65-F5344CB8AC3E}">
        <p14:creationId xmlns:p14="http://schemas.microsoft.com/office/powerpoint/2010/main" val="366834309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Nega">
    <p:bg>
      <p:bgPr>
        <a:solidFill>
          <a:schemeClr val="accent1"/>
        </a:solidFill>
        <a:effectLst/>
      </p:bgPr>
    </p:bg>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B3C12A9-8E76-4A53-A71E-57D17590227C}" type="datetime3">
              <a:rPr kumimoji="0" lang="en-US" sz="700" b="0" i="0" u="none" strike="noStrike" kern="1200" cap="none" spc="0" normalizeH="0" baseline="0" noProof="0" smtClean="0">
                <a:ln>
                  <a:noFill/>
                </a:ln>
                <a:solidFill>
                  <a:srgbClr val="FFFFFF"/>
                </a:solidFill>
                <a:effectLst/>
                <a:uLnTx/>
                <a:uFillTx/>
                <a:latin typeface="Arial"/>
                <a:ea typeface="+mn-ea"/>
                <a:cs typeface="+mn-cs"/>
              </a:rPr>
              <a:t>13 April 2022</a:t>
            </a:fld>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7" name="Footer Placeholder 6"/>
          <p:cNvSpPr>
            <a:spLocks noGrp="1"/>
          </p:cNvSpPr>
          <p:nvPr>
            <p:ph type="ftr" sz="quarter" idx="11"/>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rPr>
              <a:t>Confidential  |  © KONE Corporation</a:t>
            </a:r>
          </a:p>
        </p:txBody>
      </p:sp>
      <p:sp>
        <p:nvSpPr>
          <p:cNvPr id="8" name="Slide Number Placeholder 7"/>
          <p:cNvSpPr>
            <a:spLocks noGrp="1"/>
          </p:cNvSpPr>
          <p:nvPr>
            <p:ph type="sldNum" sz="quarter" idx="12"/>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04FC64F-66B6-486E-8EFE-9FD96A66D16B}" type="slidenum">
              <a:rPr kumimoji="0" lang="en-US" sz="7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3" name="Title 2"/>
          <p:cNvSpPr>
            <a:spLocks noGrp="1"/>
          </p:cNvSpPr>
          <p:nvPr>
            <p:ph type="title"/>
          </p:nvPr>
        </p:nvSpPr>
        <p:spPr>
          <a:xfrm>
            <a:off x="407988" y="404813"/>
            <a:ext cx="10367962" cy="503907"/>
          </a:xfrm>
        </p:spPr>
        <p:txBody>
          <a:bodyPr/>
          <a:lstStyle>
            <a:lvl1pPr>
              <a:defRPr>
                <a:solidFill>
                  <a:schemeClr val="bg1"/>
                </a:solidFill>
              </a:defRPr>
            </a:lvl1pPr>
          </a:lstStyle>
          <a:p>
            <a:r>
              <a:rPr lang="en-US"/>
              <a:t>Click to edit Master title style</a:t>
            </a:r>
            <a:endParaRPr lang="en-GB"/>
          </a:p>
        </p:txBody>
      </p:sp>
      <p:sp>
        <p:nvSpPr>
          <p:cNvPr id="10" name="Text Placeholder 2"/>
          <p:cNvSpPr>
            <a:spLocks noGrp="1"/>
          </p:cNvSpPr>
          <p:nvPr>
            <p:ph type="body" idx="18"/>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bg1"/>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11" name="Content Placeholder 5"/>
          <p:cNvSpPr>
            <a:spLocks noGrp="1"/>
          </p:cNvSpPr>
          <p:nvPr>
            <p:ph sz="quarter" idx="19"/>
          </p:nvPr>
        </p:nvSpPr>
        <p:spPr>
          <a:xfrm>
            <a:off x="409469" y="1628775"/>
            <a:ext cx="11374544" cy="460707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363839710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and Content ">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87DB768D-E2BA-44AC-843B-1CD7E7001D4A}" type="datetime3">
              <a:rPr lang="en-US" noProof="0" smtClean="0"/>
              <a:t>13 April 2022</a:t>
            </a:fld>
            <a:endParaRPr lang="en-US" noProof="0"/>
          </a:p>
        </p:txBody>
      </p:sp>
      <p:sp>
        <p:nvSpPr>
          <p:cNvPr id="8" name="Footer Placeholder 7"/>
          <p:cNvSpPr>
            <a:spLocks noGrp="1"/>
          </p:cNvSpPr>
          <p:nvPr>
            <p:ph type="ftr" sz="quarter" idx="11"/>
          </p:nvPr>
        </p:nvSpPr>
        <p:spPr/>
        <p:txBody>
          <a:bodyPr/>
          <a:lstStyle/>
          <a:p>
            <a:r>
              <a:rPr lang="en-US" noProof="0"/>
              <a:t>Confidential  |  © KONE Corporation</a:t>
            </a:r>
          </a:p>
        </p:txBody>
      </p:sp>
      <p:sp>
        <p:nvSpPr>
          <p:cNvPr id="9" name="Slide Number Placeholder 8"/>
          <p:cNvSpPr>
            <a:spLocks noGrp="1"/>
          </p:cNvSpPr>
          <p:nvPr>
            <p:ph type="sldNum" sz="quarter" idx="12"/>
          </p:nvPr>
        </p:nvSpPr>
        <p:spPr/>
        <p:txBody>
          <a:bodyPr/>
          <a:lstStyle/>
          <a:p>
            <a:fld id="{604FC64F-66B6-486E-8EFE-9FD96A66D16B}" type="slidenum">
              <a:rPr lang="en-US" noProof="0" smtClean="0"/>
              <a:pPr/>
              <a:t>‹#›</a:t>
            </a:fld>
            <a:endParaRPr lang="en-US" noProof="0"/>
          </a:p>
        </p:txBody>
      </p:sp>
      <p:sp>
        <p:nvSpPr>
          <p:cNvPr id="12" name="Content Placeholder 11"/>
          <p:cNvSpPr>
            <a:spLocks noGrp="1"/>
          </p:cNvSpPr>
          <p:nvPr>
            <p:ph sz="quarter" idx="13"/>
          </p:nvPr>
        </p:nvSpPr>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GB"/>
          </a:p>
        </p:txBody>
      </p:sp>
      <p:sp>
        <p:nvSpPr>
          <p:cNvPr id="2" name="Title 1"/>
          <p:cNvSpPr>
            <a:spLocks noGrp="1"/>
          </p:cNvSpPr>
          <p:nvPr>
            <p:ph type="title"/>
          </p:nvPr>
        </p:nvSpPr>
        <p:spPr/>
        <p:txBody>
          <a:bodyPr/>
          <a:lstStyle/>
          <a:p>
            <a:r>
              <a:rPr lang="en-US" altLang="zh-CN"/>
              <a:t>Click to edit Master title style</a:t>
            </a:r>
            <a:endParaRPr lang="en-GB"/>
          </a:p>
        </p:txBody>
      </p:sp>
    </p:spTree>
    <p:extLst>
      <p:ext uri="{BB962C8B-B14F-4D97-AF65-F5344CB8AC3E}">
        <p14:creationId xmlns:p14="http://schemas.microsoft.com/office/powerpoint/2010/main" val="32733640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Section Header ">
    <p:spTree>
      <p:nvGrpSpPr>
        <p:cNvPr id="1" name=""/>
        <p:cNvGrpSpPr/>
        <p:nvPr/>
      </p:nvGrpSpPr>
      <p:grpSpPr>
        <a:xfrm>
          <a:off x="0" y="0"/>
          <a:ext cx="0" cy="0"/>
          <a:chOff x="0" y="0"/>
          <a:chExt cx="0" cy="0"/>
        </a:xfrm>
      </p:grpSpPr>
      <p:sp>
        <p:nvSpPr>
          <p:cNvPr id="8194" name="Rectangle 2"/>
          <p:cNvSpPr>
            <a:spLocks noGrp="1" noChangeArrowheads="1"/>
          </p:cNvSpPr>
          <p:nvPr>
            <p:ph type="ctrTitle" hasCustomPrompt="1"/>
          </p:nvPr>
        </p:nvSpPr>
        <p:spPr>
          <a:xfrm>
            <a:off x="409470" y="2421094"/>
            <a:ext cx="10365263" cy="1294358"/>
          </a:xfrm>
          <a:prstGeom prst="rect">
            <a:avLst/>
          </a:prstGeom>
        </p:spPr>
        <p:txBody>
          <a:bodyPr anchor="b" anchorCtr="0"/>
          <a:lstStyle>
            <a:lvl1pPr>
              <a:defRPr sz="4000" cap="none">
                <a:solidFill>
                  <a:schemeClr val="tx2"/>
                </a:solidFill>
              </a:defRPr>
            </a:lvl1pPr>
          </a:lstStyle>
          <a:p>
            <a:pPr lvl="0"/>
            <a:r>
              <a:rPr lang="en-US" noProof="0"/>
              <a:t>Add title text</a:t>
            </a:r>
          </a:p>
        </p:txBody>
      </p:sp>
      <p:sp>
        <p:nvSpPr>
          <p:cNvPr id="8195" name="Rectangle 3"/>
          <p:cNvSpPr>
            <a:spLocks noGrp="1" noChangeArrowheads="1"/>
          </p:cNvSpPr>
          <p:nvPr>
            <p:ph type="subTitle" idx="1"/>
          </p:nvPr>
        </p:nvSpPr>
        <p:spPr>
          <a:xfrm>
            <a:off x="409469" y="3789357"/>
            <a:ext cx="10365265" cy="647550"/>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tx2"/>
                </a:solidFill>
                <a:uFillTx/>
              </a:defRPr>
            </a:lvl1pPr>
          </a:lstStyle>
          <a:p>
            <a:pPr lvl="0"/>
            <a:r>
              <a:rPr lang="en-US" noProof="0"/>
              <a:t>Click to edit Master subtitle style</a:t>
            </a:r>
          </a:p>
        </p:txBody>
      </p:sp>
      <p:sp>
        <p:nvSpPr>
          <p:cNvPr id="2" name="Date Placeholder 1"/>
          <p:cNvSpPr>
            <a:spLocks noGrp="1"/>
          </p:cNvSpPr>
          <p:nvPr>
            <p:ph type="dt" sz="half" idx="10"/>
          </p:nvPr>
        </p:nvSpPr>
        <p:spPr/>
        <p:txBody>
          <a:bodyPr/>
          <a:lstStyle>
            <a:lvl1pPr>
              <a:defRPr>
                <a:noFill/>
              </a:defRPr>
            </a:lvl1pPr>
          </a:lstStyle>
          <a:p>
            <a:fld id="{D43228D3-5277-47D9-AAAD-EDAD7C742A20}" type="datetime3">
              <a:rPr lang="en-US" smtClean="0"/>
              <a:t>13 April 2022</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Tree>
    <p:extLst>
      <p:ext uri="{BB962C8B-B14F-4D97-AF65-F5344CB8AC3E}">
        <p14:creationId xmlns:p14="http://schemas.microsoft.com/office/powerpoint/2010/main" val="367653695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wo Content with Subtitle">
    <p:spTree>
      <p:nvGrpSpPr>
        <p:cNvPr id="1" name=""/>
        <p:cNvGrpSpPr/>
        <p:nvPr/>
      </p:nvGrpSpPr>
      <p:grpSpPr>
        <a:xfrm>
          <a:off x="0" y="0"/>
          <a:ext cx="0" cy="0"/>
          <a:chOff x="0" y="0"/>
          <a:chExt cx="0" cy="0"/>
        </a:xfrm>
      </p:grpSpPr>
      <p:sp>
        <p:nvSpPr>
          <p:cNvPr id="9" name="Date Placeholder 8"/>
          <p:cNvSpPr>
            <a:spLocks noGrp="1"/>
          </p:cNvSpPr>
          <p:nvPr>
            <p:ph type="dt" sz="half" idx="14"/>
          </p:nvPr>
        </p:nvSpPr>
        <p:spPr/>
        <p:txBody>
          <a:bodyPr/>
          <a:lstStyle/>
          <a:p>
            <a:fld id="{E53CBF48-1032-4820-9522-98C26948A7B6}" type="datetime3">
              <a:rPr lang="en-US" noProof="0" smtClean="0"/>
              <a:t>13 April 2022</a:t>
            </a:fld>
            <a:endParaRPr lang="en-US" noProof="0"/>
          </a:p>
        </p:txBody>
      </p:sp>
      <p:sp>
        <p:nvSpPr>
          <p:cNvPr id="10" name="Footer Placeholder 9"/>
          <p:cNvSpPr>
            <a:spLocks noGrp="1"/>
          </p:cNvSpPr>
          <p:nvPr>
            <p:ph type="ftr" sz="quarter" idx="15"/>
          </p:nvPr>
        </p:nvSpPr>
        <p:spPr/>
        <p:txBody>
          <a:bodyPr/>
          <a:lstStyle/>
          <a:p>
            <a:r>
              <a:rPr lang="en-US" noProof="0"/>
              <a:t>Confidential  |  © KONE Corporation</a:t>
            </a:r>
          </a:p>
        </p:txBody>
      </p:sp>
      <p:sp>
        <p:nvSpPr>
          <p:cNvPr id="11" name="Slide Number Placeholder 10"/>
          <p:cNvSpPr>
            <a:spLocks noGrp="1"/>
          </p:cNvSpPr>
          <p:nvPr>
            <p:ph type="sldNum" sz="quarter" idx="16"/>
          </p:nvPr>
        </p:nvSpPr>
        <p:spPr/>
        <p:txBody>
          <a:bodyPr/>
          <a:lstStyle/>
          <a:p>
            <a:fld id="{604FC64F-66B6-486E-8EFE-9FD96A66D16B}" type="slidenum">
              <a:rPr lang="en-US" noProof="0" smtClean="0"/>
              <a:pPr/>
              <a:t>‹#›</a:t>
            </a:fld>
            <a:endParaRPr lang="en-US" noProof="0"/>
          </a:p>
        </p:txBody>
      </p:sp>
      <p:sp>
        <p:nvSpPr>
          <p:cNvPr id="12" name="Content Placeholder 2"/>
          <p:cNvSpPr>
            <a:spLocks noGrp="1"/>
          </p:cNvSpPr>
          <p:nvPr>
            <p:ph sz="half" idx="17"/>
          </p:nvPr>
        </p:nvSpPr>
        <p:spPr>
          <a:xfrm>
            <a:off x="409469" y="1628396"/>
            <a:ext cx="3670251" cy="4608891"/>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3" name="Content Placeholder 3"/>
          <p:cNvSpPr>
            <a:spLocks noGrp="1"/>
          </p:cNvSpPr>
          <p:nvPr>
            <p:ph sz="half" idx="2"/>
          </p:nvPr>
        </p:nvSpPr>
        <p:spPr>
          <a:xfrm>
            <a:off x="4295776" y="1628398"/>
            <a:ext cx="3600449" cy="460889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2" name="Title 1"/>
          <p:cNvSpPr>
            <a:spLocks noGrp="1"/>
          </p:cNvSpPr>
          <p:nvPr>
            <p:ph type="title"/>
          </p:nvPr>
        </p:nvSpPr>
        <p:spPr>
          <a:xfrm>
            <a:off x="409469" y="404720"/>
            <a:ext cx="10365963" cy="504514"/>
          </a:xfrm>
          <a:prstGeom prst="rect">
            <a:avLst/>
          </a:prstGeom>
        </p:spPr>
        <p:txBody>
          <a:bodyPr/>
          <a:lstStyle/>
          <a:p>
            <a:r>
              <a:rPr lang="en-US"/>
              <a:t>Click to edit Master title style</a:t>
            </a:r>
            <a:endParaRPr lang="en-GB"/>
          </a:p>
        </p:txBody>
      </p:sp>
      <p:sp>
        <p:nvSpPr>
          <p:cNvPr id="15"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t>Edit Master text styles</a:t>
            </a:r>
          </a:p>
        </p:txBody>
      </p:sp>
      <p:sp>
        <p:nvSpPr>
          <p:cNvPr id="14" name="Content Placeholder 3"/>
          <p:cNvSpPr>
            <a:spLocks noGrp="1"/>
          </p:cNvSpPr>
          <p:nvPr>
            <p:ph sz="half" idx="18"/>
          </p:nvPr>
        </p:nvSpPr>
        <p:spPr>
          <a:xfrm>
            <a:off x="8112280" y="1628398"/>
            <a:ext cx="3671733" cy="460889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Tree>
    <p:extLst>
      <p:ext uri="{BB962C8B-B14F-4D97-AF65-F5344CB8AC3E}">
        <p14:creationId xmlns:p14="http://schemas.microsoft.com/office/powerpoint/2010/main" val="297974500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mparison with Subtitle">
    <p:spTree>
      <p:nvGrpSpPr>
        <p:cNvPr id="1" name=""/>
        <p:cNvGrpSpPr/>
        <p:nvPr/>
      </p:nvGrpSpPr>
      <p:grpSpPr>
        <a:xfrm>
          <a:off x="0" y="0"/>
          <a:ext cx="0" cy="0"/>
          <a:chOff x="0" y="0"/>
          <a:chExt cx="0" cy="0"/>
        </a:xfrm>
      </p:grpSpPr>
      <p:sp>
        <p:nvSpPr>
          <p:cNvPr id="11" name="Date Placeholder 10"/>
          <p:cNvSpPr>
            <a:spLocks noGrp="1"/>
          </p:cNvSpPr>
          <p:nvPr>
            <p:ph type="dt" sz="half" idx="14"/>
          </p:nvPr>
        </p:nvSpPr>
        <p:spPr/>
        <p:txBody>
          <a:bodyPr/>
          <a:lstStyle/>
          <a:p>
            <a:fld id="{4C7DCA69-3441-4DBA-A929-F3BEF25FFDC9}" type="datetime3">
              <a:rPr lang="en-US" noProof="0" smtClean="0"/>
              <a:t>13 April 2022</a:t>
            </a:fld>
            <a:endParaRPr lang="en-US" noProof="0"/>
          </a:p>
        </p:txBody>
      </p:sp>
      <p:sp>
        <p:nvSpPr>
          <p:cNvPr id="12" name="Footer Placeholder 11"/>
          <p:cNvSpPr>
            <a:spLocks noGrp="1"/>
          </p:cNvSpPr>
          <p:nvPr>
            <p:ph type="ftr" sz="quarter" idx="15"/>
          </p:nvPr>
        </p:nvSpPr>
        <p:spPr/>
        <p:txBody>
          <a:bodyPr/>
          <a:lstStyle/>
          <a:p>
            <a:r>
              <a:rPr lang="en-US" noProof="0"/>
              <a:t>Confidential  |  © KONE Corporation</a:t>
            </a:r>
          </a:p>
        </p:txBody>
      </p:sp>
      <p:sp>
        <p:nvSpPr>
          <p:cNvPr id="13" name="Slide Number Placeholder 12"/>
          <p:cNvSpPr>
            <a:spLocks noGrp="1"/>
          </p:cNvSpPr>
          <p:nvPr>
            <p:ph type="sldNum" sz="quarter" idx="16"/>
          </p:nvPr>
        </p:nvSpPr>
        <p:spPr/>
        <p:txBody>
          <a:bodyPr/>
          <a:lstStyle/>
          <a:p>
            <a:fld id="{604FC64F-66B6-486E-8EFE-9FD96A66D16B}" type="slidenum">
              <a:rPr lang="en-US" noProof="0" smtClean="0"/>
              <a:pPr/>
              <a:t>‹#›</a:t>
            </a:fld>
            <a:endParaRPr lang="en-US" noProof="0"/>
          </a:p>
        </p:txBody>
      </p:sp>
      <p:sp>
        <p:nvSpPr>
          <p:cNvPr id="19" name="Text Placeholder 2"/>
          <p:cNvSpPr>
            <a:spLocks noGrp="1"/>
          </p:cNvSpPr>
          <p:nvPr>
            <p:ph type="body" idx="1"/>
          </p:nvPr>
        </p:nvSpPr>
        <p:spPr>
          <a:xfrm>
            <a:off x="409469" y="1628398"/>
            <a:ext cx="5039000" cy="360164"/>
          </a:xfrm>
          <a:prstGeom prst="rect">
            <a:avLst/>
          </a:prstGeom>
        </p:spPr>
        <p:txBody>
          <a:bodyPr anchor="t" anchorCtr="0"/>
          <a:lstStyle>
            <a:lvl1pPr marL="0" indent="0">
              <a:lnSpc>
                <a:spcPct val="100000"/>
              </a:lnSpc>
              <a:spcBef>
                <a:spcPts val="0"/>
              </a:spcBef>
              <a:buNone/>
              <a:defRPr sz="18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0" name="Text Placeholder 4"/>
          <p:cNvSpPr>
            <a:spLocks noGrp="1"/>
          </p:cNvSpPr>
          <p:nvPr>
            <p:ph type="body" sz="quarter" idx="3"/>
          </p:nvPr>
        </p:nvSpPr>
        <p:spPr>
          <a:xfrm>
            <a:off x="5735732" y="1628398"/>
            <a:ext cx="5039001" cy="360164"/>
          </a:xfrm>
          <a:prstGeom prst="rect">
            <a:avLst/>
          </a:prstGeom>
        </p:spPr>
        <p:txBody>
          <a:bodyPr anchor="t" anchorCtr="0"/>
          <a:lstStyle>
            <a:lvl1pPr marL="0" indent="0">
              <a:lnSpc>
                <a:spcPct val="100000"/>
              </a:lnSpc>
              <a:spcBef>
                <a:spcPts val="0"/>
              </a:spcBef>
              <a:buNone/>
              <a:defRPr sz="1800" b="0" u="none">
                <a:solidFill>
                  <a:schemeClr val="tx2"/>
                </a:solidFill>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
        <p:nvSpPr>
          <p:cNvPr id="21" name="Content Placeholder 2"/>
          <p:cNvSpPr>
            <a:spLocks noGrp="1"/>
          </p:cNvSpPr>
          <p:nvPr>
            <p:ph sz="half" idx="17"/>
          </p:nvPr>
        </p:nvSpPr>
        <p:spPr>
          <a:xfrm>
            <a:off x="409469" y="1989132"/>
            <a:ext cx="5039000" cy="4248155"/>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a:p>
        </p:txBody>
      </p:sp>
      <p:sp>
        <p:nvSpPr>
          <p:cNvPr id="22" name="Content Placeholder 3"/>
          <p:cNvSpPr>
            <a:spLocks noGrp="1"/>
          </p:cNvSpPr>
          <p:nvPr>
            <p:ph sz="half" idx="2"/>
          </p:nvPr>
        </p:nvSpPr>
        <p:spPr>
          <a:xfrm>
            <a:off x="5735732" y="1991308"/>
            <a:ext cx="5039001" cy="4245980"/>
          </a:xfrm>
          <a:prstGeom prst="rect">
            <a:avLst/>
          </a:prstGeom>
        </p:spPr>
        <p:txBody>
          <a:bodyPr/>
          <a:lstStyle>
            <a:lvl1pPr>
              <a:defRPr sz="2000"/>
            </a:lvl1pPr>
            <a:lvl2pPr>
              <a:defRPr sz="1800"/>
            </a:lvl2pPr>
            <a:lvl3pPr>
              <a:defRPr sz="1600"/>
            </a:lvl3pPr>
            <a:lvl4pPr>
              <a:defRPr sz="1400"/>
            </a:lvl4pPr>
            <a:lvl5pPr>
              <a:defRPr sz="1400"/>
            </a:lvl5pPr>
            <a:lvl6pPr>
              <a:defRPr sz="2400"/>
            </a:lvl6pPr>
            <a:lvl7pPr>
              <a:defRPr sz="2400"/>
            </a:lvl7pPr>
            <a:lvl8pPr>
              <a:defRPr sz="2400"/>
            </a:lvl8pPr>
            <a:lvl9pPr>
              <a:defRPr sz="24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fi-FI"/>
          </a:p>
        </p:txBody>
      </p:sp>
      <p:sp>
        <p:nvSpPr>
          <p:cNvPr id="2" name="Title 1"/>
          <p:cNvSpPr>
            <a:spLocks noGrp="1"/>
          </p:cNvSpPr>
          <p:nvPr>
            <p:ph type="title"/>
          </p:nvPr>
        </p:nvSpPr>
        <p:spPr>
          <a:xfrm>
            <a:off x="409469" y="404720"/>
            <a:ext cx="10365963" cy="504514"/>
          </a:xfrm>
          <a:prstGeom prst="rect">
            <a:avLst/>
          </a:prstGeom>
        </p:spPr>
        <p:txBody>
          <a:bodyPr/>
          <a:lstStyle/>
          <a:p>
            <a:r>
              <a:rPr lang="en-US" altLang="zh-CN"/>
              <a:t>Click to edit Master title style</a:t>
            </a:r>
            <a:endParaRPr lang="en-GB"/>
          </a:p>
        </p:txBody>
      </p:sp>
      <p:sp>
        <p:nvSpPr>
          <p:cNvPr id="14" name="Text Placeholder 2"/>
          <p:cNvSpPr>
            <a:spLocks noGrp="1"/>
          </p:cNvSpPr>
          <p:nvPr>
            <p:ph type="body" idx="13"/>
          </p:nvPr>
        </p:nvSpPr>
        <p:spPr>
          <a:xfrm>
            <a:off x="409468" y="909233"/>
            <a:ext cx="10364951" cy="431960"/>
          </a:xfrm>
          <a:prstGeom prst="rect">
            <a:avLst/>
          </a:prstGeom>
        </p:spPr>
        <p:txBody>
          <a:bodyPr anchor="t" anchorCtr="0"/>
          <a:lstStyle>
            <a:lvl1pPr marL="0" indent="0">
              <a:lnSpc>
                <a:spcPct val="90000"/>
              </a:lnSpc>
              <a:spcBef>
                <a:spcPts val="0"/>
              </a:spcBef>
              <a:buNone/>
              <a:defRPr sz="16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r>
              <a:rPr lang="en-US" altLang="zh-CN"/>
              <a:t>Click to edit Master text styles</a:t>
            </a:r>
          </a:p>
        </p:txBody>
      </p:sp>
    </p:spTree>
    <p:extLst>
      <p:ext uri="{BB962C8B-B14F-4D97-AF65-F5344CB8AC3E}">
        <p14:creationId xmlns:p14="http://schemas.microsoft.com/office/powerpoint/2010/main" val="356769881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and whole Picture">
    <p:spTree>
      <p:nvGrpSpPr>
        <p:cNvPr id="1" name=""/>
        <p:cNvGrpSpPr/>
        <p:nvPr/>
      </p:nvGrpSpPr>
      <p:grpSpPr>
        <a:xfrm>
          <a:off x="0" y="0"/>
          <a:ext cx="0" cy="0"/>
          <a:chOff x="0" y="0"/>
          <a:chExt cx="0" cy="0"/>
        </a:xfrm>
      </p:grpSpPr>
      <p:sp>
        <p:nvSpPr>
          <p:cNvPr id="12" name="Picture Placeholder 9"/>
          <p:cNvSpPr>
            <a:spLocks noGrp="1"/>
          </p:cNvSpPr>
          <p:nvPr>
            <p:ph type="pic" sz="quarter" idx="18"/>
          </p:nvPr>
        </p:nvSpPr>
        <p:spPr>
          <a:xfrm>
            <a:off x="0" y="0"/>
            <a:ext cx="12192000" cy="6858000"/>
          </a:xfrm>
          <a:solidFill>
            <a:schemeClr val="bg1">
              <a:lumMod val="75000"/>
            </a:schemeClr>
          </a:solidFill>
        </p:spPr>
        <p:txBody>
          <a:bodyPr/>
          <a:lstStyle>
            <a:lvl1pPr marL="0" indent="0">
              <a:buFontTx/>
              <a:buNone/>
              <a:defRPr/>
            </a:lvl1pPr>
          </a:lstStyle>
          <a:p>
            <a:endParaRPr lang="en-GB"/>
          </a:p>
        </p:txBody>
      </p:sp>
      <p:sp>
        <p:nvSpPr>
          <p:cNvPr id="3" name="Footer Placeholder 2"/>
          <p:cNvSpPr>
            <a:spLocks noGrp="1"/>
          </p:cNvSpPr>
          <p:nvPr>
            <p:ph type="ftr" sz="quarter" idx="11"/>
          </p:nvPr>
        </p:nvSpPr>
        <p:spPr/>
        <p:txBody>
          <a:bodyPr/>
          <a:lstStyle>
            <a:lvl1pPr>
              <a:defRPr>
                <a:solidFill>
                  <a:schemeClr val="bg1"/>
                </a:solidFill>
              </a:defRPr>
            </a:lvl1pPr>
          </a:lstStyle>
          <a:p>
            <a:r>
              <a:rPr lang="en-US"/>
              <a:t>Confidential  |  © KONE Corporation</a:t>
            </a:r>
          </a:p>
        </p:txBody>
      </p:sp>
      <p:sp>
        <p:nvSpPr>
          <p:cNvPr id="8194" name="Rectangle 2"/>
          <p:cNvSpPr>
            <a:spLocks noGrp="1" noChangeArrowheads="1"/>
          </p:cNvSpPr>
          <p:nvPr>
            <p:ph type="ctrTitle" hasCustomPrompt="1"/>
          </p:nvPr>
        </p:nvSpPr>
        <p:spPr>
          <a:xfrm>
            <a:off x="0" y="0"/>
            <a:ext cx="6096000" cy="6858000"/>
          </a:xfrm>
          <a:solidFill>
            <a:schemeClr val="bg1">
              <a:alpha val="90000"/>
            </a:schemeClr>
          </a:solidFill>
        </p:spPr>
        <p:txBody>
          <a:bodyPr lIns="413876" tIns="395881" rIns="395881" bIns="3132000" anchor="t" anchorCtr="0"/>
          <a:lstStyle>
            <a:lvl1pPr>
              <a:defRPr sz="3200" cap="none" baseline="0">
                <a:solidFill>
                  <a:schemeClr val="tx2"/>
                </a:solidFill>
                <a:effectLst/>
              </a:defRPr>
            </a:lvl1pPr>
          </a:lstStyle>
          <a:p>
            <a:pPr lvl="0"/>
            <a:r>
              <a:rPr lang="en-US" noProof="0"/>
              <a:t>Add title text</a:t>
            </a:r>
          </a:p>
        </p:txBody>
      </p:sp>
      <p:sp>
        <p:nvSpPr>
          <p:cNvPr id="6" name="Content Placeholder 5"/>
          <p:cNvSpPr>
            <a:spLocks noGrp="1"/>
          </p:cNvSpPr>
          <p:nvPr>
            <p:ph sz="quarter" idx="19"/>
          </p:nvPr>
        </p:nvSpPr>
        <p:spPr>
          <a:xfrm>
            <a:off x="409469" y="1628775"/>
            <a:ext cx="5254845" cy="4607070"/>
          </a:xfr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2" name="Date Placeholder 1"/>
          <p:cNvSpPr>
            <a:spLocks noGrp="1"/>
          </p:cNvSpPr>
          <p:nvPr>
            <p:ph type="dt" sz="half" idx="10"/>
          </p:nvPr>
        </p:nvSpPr>
        <p:spPr/>
        <p:txBody>
          <a:bodyPr/>
          <a:lstStyle>
            <a:lvl1pPr>
              <a:defRPr>
                <a:solidFill>
                  <a:schemeClr val="tx2"/>
                </a:solidFill>
              </a:defRPr>
            </a:lvl1pPr>
          </a:lstStyle>
          <a:p>
            <a:fld id="{D7B6B059-986C-45AA-A1D0-C6F0114784F3}" type="datetime3">
              <a:rPr lang="en-US" smtClean="0"/>
              <a:t>13 April 2022</a:t>
            </a:fld>
            <a:endParaRPr lang="en-US"/>
          </a:p>
        </p:txBody>
      </p:sp>
      <p:sp>
        <p:nvSpPr>
          <p:cNvPr id="4" name="Slide Number Placeholder 3"/>
          <p:cNvSpPr>
            <a:spLocks noGrp="1"/>
          </p:cNvSpPr>
          <p:nvPr>
            <p:ph type="sldNum" sz="quarter" idx="12"/>
          </p:nvPr>
        </p:nvSpPr>
        <p:spPr/>
        <p:txBody>
          <a:bodyPr/>
          <a:lstStyle>
            <a:lvl1pPr>
              <a:defRPr>
                <a:solidFill>
                  <a:schemeClr val="tx2"/>
                </a:solidFill>
              </a:defRPr>
            </a:lvl1pPr>
          </a:lstStyle>
          <a:p>
            <a:fld id="{604FC64F-66B6-486E-8EFE-9FD96A66D16B}" type="slidenum">
              <a:rPr lang="en-US" smtClean="0"/>
              <a:pPr/>
              <a:t>‹#›</a:t>
            </a:fld>
            <a:endParaRPr lang="en-US"/>
          </a:p>
        </p:txBody>
      </p:sp>
      <p:sp>
        <p:nvSpPr>
          <p:cNvPr id="8" name="Text Placeholder 6"/>
          <p:cNvSpPr>
            <a:spLocks noGrp="1" noChangeAspect="1"/>
          </p:cNvSpPr>
          <p:nvPr>
            <p:ph type="body" sz="quarter" idx="17" hasCustomPrompt="1"/>
          </p:nvPr>
        </p:nvSpPr>
        <p:spPr>
          <a:xfrm>
            <a:off x="11063519" y="403107"/>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Tree>
    <p:extLst>
      <p:ext uri="{BB962C8B-B14F-4D97-AF65-F5344CB8AC3E}">
        <p14:creationId xmlns:p14="http://schemas.microsoft.com/office/powerpoint/2010/main" val="412638269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R and whole Picture">
    <p:spTree>
      <p:nvGrpSpPr>
        <p:cNvPr id="1" name=""/>
        <p:cNvGrpSpPr/>
        <p:nvPr/>
      </p:nvGrpSpPr>
      <p:grpSpPr>
        <a:xfrm>
          <a:off x="0" y="0"/>
          <a:ext cx="0" cy="0"/>
          <a:chOff x="0" y="0"/>
          <a:chExt cx="0" cy="0"/>
        </a:xfrm>
      </p:grpSpPr>
      <p:sp>
        <p:nvSpPr>
          <p:cNvPr id="12" name="Picture Placeholder 9"/>
          <p:cNvSpPr>
            <a:spLocks noGrp="1"/>
          </p:cNvSpPr>
          <p:nvPr>
            <p:ph type="pic" sz="quarter" idx="18"/>
          </p:nvPr>
        </p:nvSpPr>
        <p:spPr>
          <a:xfrm>
            <a:off x="0" y="0"/>
            <a:ext cx="12192000" cy="6858000"/>
          </a:xfrm>
          <a:solidFill>
            <a:schemeClr val="bg1">
              <a:lumMod val="75000"/>
            </a:schemeClr>
          </a:solidFill>
        </p:spPr>
        <p:txBody>
          <a:bodyPr/>
          <a:lstStyle>
            <a:lvl1pPr marL="0" indent="0">
              <a:buFontTx/>
              <a:buNone/>
              <a:defRPr sz="1000"/>
            </a:lvl1pPr>
          </a:lstStyle>
          <a:p>
            <a:endParaRPr lang="en-GB"/>
          </a:p>
        </p:txBody>
      </p:sp>
      <p:sp>
        <p:nvSpPr>
          <p:cNvPr id="8194" name="Rectangle 2"/>
          <p:cNvSpPr>
            <a:spLocks noGrp="1" noChangeArrowheads="1"/>
          </p:cNvSpPr>
          <p:nvPr>
            <p:ph type="ctrTitle" hasCustomPrompt="1"/>
          </p:nvPr>
        </p:nvSpPr>
        <p:spPr>
          <a:xfrm>
            <a:off x="6096000" y="0"/>
            <a:ext cx="6096000" cy="6858000"/>
          </a:xfrm>
          <a:solidFill>
            <a:schemeClr val="bg1">
              <a:alpha val="90000"/>
            </a:schemeClr>
          </a:solidFill>
        </p:spPr>
        <p:txBody>
          <a:bodyPr lIns="413876" tIns="395881" rIns="395881" bIns="3132000" anchor="t" anchorCtr="0"/>
          <a:lstStyle>
            <a:lvl1pPr>
              <a:defRPr sz="3200" cap="none" baseline="0">
                <a:solidFill>
                  <a:schemeClr val="tx2"/>
                </a:solidFill>
                <a:effectLst/>
              </a:defRPr>
            </a:lvl1pPr>
          </a:lstStyle>
          <a:p>
            <a:pPr lvl="0"/>
            <a:r>
              <a:rPr lang="en-US" noProof="0"/>
              <a:t>Add title text</a:t>
            </a:r>
          </a:p>
        </p:txBody>
      </p:sp>
      <p:sp>
        <p:nvSpPr>
          <p:cNvPr id="6" name="Content Placeholder 5"/>
          <p:cNvSpPr>
            <a:spLocks noGrp="1"/>
          </p:cNvSpPr>
          <p:nvPr>
            <p:ph sz="quarter" idx="19"/>
          </p:nvPr>
        </p:nvSpPr>
        <p:spPr>
          <a:xfrm>
            <a:off x="6505469" y="1628775"/>
            <a:ext cx="5254845" cy="4607070"/>
          </a:xfrm>
        </p:spPr>
        <p:txBody>
          <a:bodyPr/>
          <a:lstStyle>
            <a:lvl1pPr>
              <a:buClr>
                <a:schemeClr val="tx2"/>
              </a:buClr>
              <a:defRPr>
                <a:solidFill>
                  <a:schemeClr val="tx2"/>
                </a:solidFill>
              </a:defRPr>
            </a:lvl1pPr>
            <a:lvl2pPr>
              <a:buClr>
                <a:schemeClr val="tx2"/>
              </a:buClr>
              <a:defRPr>
                <a:solidFill>
                  <a:schemeClr val="tx2"/>
                </a:solidFill>
              </a:defRPr>
            </a:lvl2pPr>
            <a:lvl3pPr>
              <a:buClr>
                <a:schemeClr val="tx2"/>
              </a:buCl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2" name="Date Placeholder 1"/>
          <p:cNvSpPr>
            <a:spLocks noGrp="1"/>
          </p:cNvSpPr>
          <p:nvPr>
            <p:ph type="dt" sz="half" idx="10"/>
          </p:nvPr>
        </p:nvSpPr>
        <p:spPr/>
        <p:txBody>
          <a:bodyPr/>
          <a:lstStyle>
            <a:lvl1pPr>
              <a:defRPr>
                <a:solidFill>
                  <a:schemeClr val="bg1"/>
                </a:solidFill>
              </a:defRPr>
            </a:lvl1pPr>
          </a:lstStyle>
          <a:p>
            <a:fld id="{7948C031-3ABC-492D-AF84-2DBC66656BB1}" type="datetime3">
              <a:rPr lang="en-US" smtClean="0"/>
              <a:t>13 April 2022</a:t>
            </a:fld>
            <a:endParaRPr lang="en-US"/>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604FC64F-66B6-486E-8EFE-9FD96A66D16B}" type="slidenum">
              <a:rPr lang="en-US" smtClean="0"/>
              <a:pPr/>
              <a:t>‹#›</a:t>
            </a:fld>
            <a:endParaRPr lang="en-US"/>
          </a:p>
        </p:txBody>
      </p:sp>
      <p:sp>
        <p:nvSpPr>
          <p:cNvPr id="3" name="Footer Placeholder 2"/>
          <p:cNvSpPr>
            <a:spLocks noGrp="1"/>
          </p:cNvSpPr>
          <p:nvPr>
            <p:ph type="ftr" sz="quarter" idx="11"/>
          </p:nvPr>
        </p:nvSpPr>
        <p:spPr/>
        <p:txBody>
          <a:bodyPr/>
          <a:lstStyle>
            <a:lvl1pPr>
              <a:defRPr>
                <a:solidFill>
                  <a:schemeClr val="tx2"/>
                </a:solidFill>
              </a:defRPr>
            </a:lvl1pPr>
          </a:lstStyle>
          <a:p>
            <a:r>
              <a:rPr lang="en-US"/>
              <a:t>Confidential  |  © KONE Corporation</a:t>
            </a:r>
          </a:p>
        </p:txBody>
      </p:sp>
    </p:spTree>
    <p:extLst>
      <p:ext uri="{BB962C8B-B14F-4D97-AF65-F5344CB8AC3E}">
        <p14:creationId xmlns:p14="http://schemas.microsoft.com/office/powerpoint/2010/main" val="113613960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Menu 1">
    <p:bg>
      <p:bgPr>
        <a:solidFill>
          <a:schemeClr val="tx1"/>
        </a:solidFill>
        <a:effectLst/>
      </p:bgPr>
    </p:bg>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AF2F678-C5DA-4573-993C-DD4468BFCDCD}" type="datetime3">
              <a:rPr kumimoji="0" lang="en-US" sz="700" b="0" i="0" u="none" strike="noStrike" kern="1200" cap="none" spc="0" normalizeH="0" baseline="0" noProof="0" smtClean="0">
                <a:ln>
                  <a:noFill/>
                </a:ln>
                <a:solidFill>
                  <a:srgbClr val="FFFFFF"/>
                </a:solidFill>
                <a:effectLst/>
                <a:uLnTx/>
                <a:uFillTx/>
                <a:latin typeface="Arial"/>
                <a:ea typeface="+mn-ea"/>
                <a:cs typeface="+mn-cs"/>
              </a:rPr>
              <a:t>13 April 2022</a:t>
            </a:fld>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7" name="Footer Placeholder 6"/>
          <p:cNvSpPr>
            <a:spLocks noGrp="1"/>
          </p:cNvSpPr>
          <p:nvPr>
            <p:ph type="ftr" sz="quarter" idx="11"/>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a:ea typeface="+mn-ea"/>
                <a:cs typeface="+mn-cs"/>
              </a:rPr>
              <a:t>Confidential  |  © KONE Corporation</a:t>
            </a:r>
          </a:p>
        </p:txBody>
      </p:sp>
      <p:sp>
        <p:nvSpPr>
          <p:cNvPr id="8" name="Slide Number Placeholder 7"/>
          <p:cNvSpPr>
            <a:spLocks noGrp="1"/>
          </p:cNvSpPr>
          <p:nvPr>
            <p:ph type="sldNum" sz="quarter" idx="12"/>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04FC64F-66B6-486E-8EFE-9FD96A66D16B}" type="slidenum">
              <a:rPr kumimoji="0" lang="en-US" sz="7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FFFFFF"/>
              </a:solidFill>
              <a:effectLst/>
              <a:uLnTx/>
              <a:uFillTx/>
              <a:latin typeface="Arial"/>
              <a:ea typeface="+mn-ea"/>
              <a:cs typeface="+mn-cs"/>
            </a:endParaRPr>
          </a:p>
        </p:txBody>
      </p:sp>
      <p:sp>
        <p:nvSpPr>
          <p:cNvPr id="3" name="Title 2"/>
          <p:cNvSpPr>
            <a:spLocks noGrp="1"/>
          </p:cNvSpPr>
          <p:nvPr>
            <p:ph type="title"/>
          </p:nvPr>
        </p:nvSpPr>
        <p:spPr>
          <a:xfrm>
            <a:off x="407988" y="620610"/>
            <a:ext cx="10367962" cy="503907"/>
          </a:xfrm>
        </p:spPr>
        <p:txBody>
          <a:bodyPr/>
          <a:lstStyle>
            <a:lvl1pPr>
              <a:defRPr>
                <a:solidFill>
                  <a:schemeClr val="bg1"/>
                </a:solidFill>
              </a:defRPr>
            </a:lvl1pPr>
          </a:lstStyle>
          <a:p>
            <a:r>
              <a:rPr lang="en-US"/>
              <a:t>Click to edit Master title style</a:t>
            </a:r>
            <a:endParaRPr lang="en-GB"/>
          </a:p>
        </p:txBody>
      </p:sp>
      <p:sp>
        <p:nvSpPr>
          <p:cNvPr id="11" name="Content Placeholder 5"/>
          <p:cNvSpPr>
            <a:spLocks noGrp="1"/>
          </p:cNvSpPr>
          <p:nvPr>
            <p:ph sz="quarter" idx="19"/>
          </p:nvPr>
        </p:nvSpPr>
        <p:spPr>
          <a:xfrm>
            <a:off x="409469" y="1628775"/>
            <a:ext cx="11374544" cy="460707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9" name="Text Placeholder 2"/>
          <p:cNvSpPr>
            <a:spLocks noGrp="1"/>
          </p:cNvSpPr>
          <p:nvPr>
            <p:ph type="body" idx="13"/>
          </p:nvPr>
        </p:nvSpPr>
        <p:spPr>
          <a:xfrm>
            <a:off x="409468" y="404813"/>
            <a:ext cx="10367181" cy="215797"/>
          </a:xfrm>
          <a:prstGeom prst="rect">
            <a:avLst/>
          </a:prstGeom>
        </p:spPr>
        <p:txBody>
          <a:bodyPr anchor="t" anchorCtr="0"/>
          <a:lstStyle>
            <a:lvl1pPr marL="0" indent="0">
              <a:lnSpc>
                <a:spcPct val="90000"/>
              </a:lnSpc>
              <a:spcBef>
                <a:spcPts val="0"/>
              </a:spcBef>
              <a:buNone/>
              <a:defRPr sz="1400" b="0" u="none" cap="all" spc="0" baseline="0">
                <a:solidFill>
                  <a:schemeClr val="bg1"/>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endParaRPr lang="en-US" altLang="zh-CN"/>
          </a:p>
        </p:txBody>
      </p:sp>
    </p:spTree>
    <p:extLst>
      <p:ext uri="{BB962C8B-B14F-4D97-AF65-F5344CB8AC3E}">
        <p14:creationId xmlns:p14="http://schemas.microsoft.com/office/powerpoint/2010/main" val="253190084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enu 0">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8"/>
          </p:nvPr>
        </p:nvSpPr>
        <p:spPr>
          <a:xfrm>
            <a:off x="0" y="0"/>
            <a:ext cx="12192000" cy="6858000"/>
          </a:xfrm>
          <a:solidFill>
            <a:schemeClr val="bg1">
              <a:lumMod val="75000"/>
            </a:schemeClr>
          </a:solidFill>
        </p:spPr>
        <p:txBody>
          <a:bodyPr/>
          <a:lstStyle>
            <a:lvl1pPr marL="0" indent="0">
              <a:buFontTx/>
              <a:buNone/>
              <a:defRPr/>
            </a:lvl1pPr>
          </a:lstStyle>
          <a:p>
            <a:endParaRPr lang="en-GB"/>
          </a:p>
        </p:txBody>
      </p:sp>
      <p:sp>
        <p:nvSpPr>
          <p:cNvPr id="6" name="Date Placeholder 5"/>
          <p:cNvSpPr>
            <a:spLocks noGrp="1"/>
          </p:cNvSpPr>
          <p:nvPr>
            <p:ph type="dt" sz="half" idx="10"/>
          </p:nvPr>
        </p:nvSpPr>
        <p:spPr/>
        <p:txBody>
          <a:bodyPr/>
          <a:lstStyle>
            <a:lvl1pPr>
              <a:defRPr>
                <a:noFill/>
              </a:defRPr>
            </a:lvl1pPr>
          </a:lstStyle>
          <a:p>
            <a:pPr>
              <a:defRPr/>
            </a:pPr>
            <a:fld id="{ACF2B154-A10C-40F2-A216-2FCB163B155E}" type="datetime3">
              <a:rPr lang="en-US" smtClean="0"/>
              <a:t>13 April 2022</a:t>
            </a:fld>
            <a:endParaRPr lang="en-US"/>
          </a:p>
        </p:txBody>
      </p:sp>
      <p:sp>
        <p:nvSpPr>
          <p:cNvPr id="7" name="Footer Placeholder 6"/>
          <p:cNvSpPr>
            <a:spLocks noGrp="1"/>
          </p:cNvSpPr>
          <p:nvPr>
            <p:ph type="ftr" sz="quarter" idx="11"/>
          </p:nvPr>
        </p:nvSpPr>
        <p:spPr/>
        <p:txBody>
          <a:bodyPr/>
          <a:lstStyle>
            <a:lvl1pPr>
              <a:defRPr>
                <a:noFill/>
              </a:defRPr>
            </a:lvl1pPr>
          </a:lstStyle>
          <a:p>
            <a:pPr>
              <a:defRPr/>
            </a:pPr>
            <a:r>
              <a:rPr lang="en-US"/>
              <a:t>Confidential  |  © KONE Corporation</a:t>
            </a:r>
          </a:p>
        </p:txBody>
      </p:sp>
      <p:sp>
        <p:nvSpPr>
          <p:cNvPr id="8" name="Slide Number Placeholder 7"/>
          <p:cNvSpPr>
            <a:spLocks noGrp="1"/>
          </p:cNvSpPr>
          <p:nvPr>
            <p:ph type="sldNum" sz="quarter" idx="12"/>
          </p:nvPr>
        </p:nvSpPr>
        <p:spPr/>
        <p:txBody>
          <a:bodyPr/>
          <a:lstStyle>
            <a:lvl1pPr>
              <a:defRPr>
                <a:noFill/>
              </a:defRPr>
            </a:lvl1pPr>
          </a:lstStyle>
          <a:p>
            <a:pPr>
              <a:defRPr/>
            </a:pPr>
            <a:fld id="{604FC64F-66B6-486E-8EFE-9FD96A66D16B}" type="slidenum">
              <a:rPr lang="en-US" smtClean="0"/>
              <a:pPr>
                <a:defRPr/>
              </a:pPr>
              <a:t>‹#›</a:t>
            </a:fld>
            <a:endParaRPr lang="en-US"/>
          </a:p>
        </p:txBody>
      </p:sp>
      <p:sp>
        <p:nvSpPr>
          <p:cNvPr id="3" name="Title 2"/>
          <p:cNvSpPr>
            <a:spLocks noGrp="1"/>
          </p:cNvSpPr>
          <p:nvPr>
            <p:ph type="title"/>
          </p:nvPr>
        </p:nvSpPr>
        <p:spPr>
          <a:xfrm>
            <a:off x="407988" y="620610"/>
            <a:ext cx="10367962" cy="503907"/>
          </a:xfrm>
        </p:spPr>
        <p:txBody>
          <a:bodyPr/>
          <a:lstStyle>
            <a:lvl1pPr>
              <a:defRPr>
                <a:solidFill>
                  <a:schemeClr val="bg1"/>
                </a:solidFill>
              </a:defRPr>
            </a:lvl1pPr>
          </a:lstStyle>
          <a:p>
            <a:r>
              <a:rPr lang="en-US"/>
              <a:t>Click to edit Master title style</a:t>
            </a:r>
            <a:endParaRPr lang="en-GB"/>
          </a:p>
        </p:txBody>
      </p:sp>
      <p:sp>
        <p:nvSpPr>
          <p:cNvPr id="9" name="Text Placeholder 2"/>
          <p:cNvSpPr>
            <a:spLocks noGrp="1"/>
          </p:cNvSpPr>
          <p:nvPr>
            <p:ph type="body" idx="13"/>
          </p:nvPr>
        </p:nvSpPr>
        <p:spPr>
          <a:xfrm>
            <a:off x="409468" y="404813"/>
            <a:ext cx="10367181" cy="215797"/>
          </a:xfrm>
          <a:prstGeom prst="rect">
            <a:avLst/>
          </a:prstGeom>
        </p:spPr>
        <p:txBody>
          <a:bodyPr anchor="t" anchorCtr="0"/>
          <a:lstStyle>
            <a:lvl1pPr marL="0" indent="0">
              <a:lnSpc>
                <a:spcPct val="90000"/>
              </a:lnSpc>
              <a:spcBef>
                <a:spcPts val="0"/>
              </a:spcBef>
              <a:buNone/>
              <a:defRPr sz="1400" b="0" u="none" cap="all" spc="0" baseline="0">
                <a:solidFill>
                  <a:schemeClr val="bg1"/>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endParaRPr lang="en-US" altLang="zh-CN"/>
          </a:p>
        </p:txBody>
      </p:sp>
      <p:sp>
        <p:nvSpPr>
          <p:cNvPr id="12" name="Text Placeholder 6"/>
          <p:cNvSpPr>
            <a:spLocks noGrp="1" noChangeAspect="1"/>
          </p:cNvSpPr>
          <p:nvPr>
            <p:ph type="body" sz="quarter" idx="17" hasCustomPrompt="1"/>
          </p:nvPr>
        </p:nvSpPr>
        <p:spPr>
          <a:xfrm>
            <a:off x="11063519" y="403107"/>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Tree>
    <p:extLst>
      <p:ext uri="{BB962C8B-B14F-4D97-AF65-F5344CB8AC3E}">
        <p14:creationId xmlns:p14="http://schemas.microsoft.com/office/powerpoint/2010/main" val="171952463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enu 2">
    <p:spTree>
      <p:nvGrpSpPr>
        <p:cNvPr id="1" name=""/>
        <p:cNvGrpSpPr/>
        <p:nvPr/>
      </p:nvGrpSpPr>
      <p:grpSpPr>
        <a:xfrm>
          <a:off x="0" y="0"/>
          <a:ext cx="0" cy="0"/>
          <a:chOff x="0" y="0"/>
          <a:chExt cx="0" cy="0"/>
        </a:xfrm>
      </p:grpSpPr>
      <p:sp>
        <p:nvSpPr>
          <p:cNvPr id="12" name="Picture Placeholder 9"/>
          <p:cNvSpPr>
            <a:spLocks noGrp="1"/>
          </p:cNvSpPr>
          <p:nvPr>
            <p:ph type="pic" sz="quarter" idx="18"/>
          </p:nvPr>
        </p:nvSpPr>
        <p:spPr>
          <a:xfrm>
            <a:off x="0" y="0"/>
            <a:ext cx="12192000" cy="6858000"/>
          </a:xfrm>
          <a:solidFill>
            <a:schemeClr val="bg1">
              <a:lumMod val="75000"/>
            </a:schemeClr>
          </a:solidFill>
        </p:spPr>
        <p:txBody>
          <a:bodyPr/>
          <a:lstStyle>
            <a:lvl1pPr marL="0" indent="0">
              <a:buFontTx/>
              <a:buNone/>
              <a:defRPr/>
            </a:lvl1pPr>
          </a:lstStyle>
          <a:p>
            <a:endParaRPr lang="en-GB"/>
          </a:p>
        </p:txBody>
      </p:sp>
      <p:sp>
        <p:nvSpPr>
          <p:cNvPr id="10" name="Rectangle 2"/>
          <p:cNvSpPr>
            <a:spLocks noGrp="1" noChangeArrowheads="1"/>
          </p:cNvSpPr>
          <p:nvPr>
            <p:ph type="ctrTitle" hasCustomPrompt="1"/>
          </p:nvPr>
        </p:nvSpPr>
        <p:spPr>
          <a:xfrm>
            <a:off x="0" y="0"/>
            <a:ext cx="6096000" cy="6858000"/>
          </a:xfrm>
          <a:blipFill>
            <a:blip r:embed="rId2" cstate="email">
              <a:extLst>
                <a:ext uri="{28A0092B-C50C-407E-A947-70E740481C1C}">
                  <a14:useLocalDpi xmlns:a14="http://schemas.microsoft.com/office/drawing/2010/main"/>
                </a:ext>
              </a:extLst>
            </a:blip>
            <a:stretch>
              <a:fillRect/>
            </a:stretch>
          </a:blipFill>
        </p:spPr>
        <p:txBody>
          <a:bodyPr lIns="413876" tIns="648000" rIns="395881" bIns="3132000" anchor="t" anchorCtr="0"/>
          <a:lstStyle>
            <a:lvl1pPr>
              <a:defRPr sz="2800" cap="none" baseline="0">
                <a:solidFill>
                  <a:schemeClr val="bg1"/>
                </a:solidFill>
                <a:effectLst/>
              </a:defRPr>
            </a:lvl1pPr>
          </a:lstStyle>
          <a:p>
            <a:pPr lvl="0"/>
            <a:r>
              <a:rPr lang="en-US" noProof="0"/>
              <a:t>Add title text</a:t>
            </a:r>
          </a:p>
        </p:txBody>
      </p:sp>
      <p:sp>
        <p:nvSpPr>
          <p:cNvPr id="2" name="Date Placeholder 1"/>
          <p:cNvSpPr>
            <a:spLocks noGrp="1"/>
          </p:cNvSpPr>
          <p:nvPr>
            <p:ph type="dt" sz="half" idx="10"/>
          </p:nvPr>
        </p:nvSpPr>
        <p:spPr/>
        <p:txBody>
          <a:bodyPr/>
          <a:lstStyle>
            <a:lvl1pPr>
              <a:defRPr>
                <a:solidFill>
                  <a:schemeClr val="bg1"/>
                </a:solidFill>
              </a:defRPr>
            </a:lvl1pPr>
          </a:lstStyle>
          <a:p>
            <a:fld id="{9F9A0C1D-3A6F-4DF8-86A0-ECBFDD0B8AC2}" type="datetime3">
              <a:rPr lang="en-US" smtClean="0"/>
              <a:t>13 April 2022</a:t>
            </a:fld>
            <a:endParaRPr lang="en-US"/>
          </a:p>
        </p:txBody>
      </p:sp>
      <p:sp>
        <p:nvSpPr>
          <p:cNvPr id="3" name="Footer Placeholder 2"/>
          <p:cNvSpPr>
            <a:spLocks noGrp="1"/>
          </p:cNvSpPr>
          <p:nvPr>
            <p:ph type="ftr" sz="quarter" idx="11"/>
          </p:nvPr>
        </p:nvSpPr>
        <p:spPr/>
        <p:txBody>
          <a:bodyPr/>
          <a:lstStyle>
            <a:lvl1pPr>
              <a:defRPr>
                <a:solidFill>
                  <a:schemeClr val="bg1"/>
                </a:solid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604FC64F-66B6-486E-8EFE-9FD96A66D16B}" type="slidenum">
              <a:rPr lang="en-US" smtClean="0"/>
              <a:pPr/>
              <a:t>‹#›</a:t>
            </a:fld>
            <a:endParaRPr lang="en-US"/>
          </a:p>
        </p:txBody>
      </p:sp>
      <p:sp>
        <p:nvSpPr>
          <p:cNvPr id="6" name="Content Placeholder 5"/>
          <p:cNvSpPr>
            <a:spLocks noGrp="1"/>
          </p:cNvSpPr>
          <p:nvPr>
            <p:ph sz="quarter" idx="19"/>
          </p:nvPr>
        </p:nvSpPr>
        <p:spPr>
          <a:xfrm>
            <a:off x="409469" y="1628775"/>
            <a:ext cx="5254845" cy="4607070"/>
          </a:xfrm>
        </p:spPr>
        <p:txBody>
          <a:bodyPr/>
          <a:lstStyle>
            <a:lvl1pPr marL="0" indent="0">
              <a:spcBef>
                <a:spcPts val="800"/>
              </a:spcBef>
              <a:buClr>
                <a:schemeClr val="bg1"/>
              </a:buClr>
              <a:buFontTx/>
              <a:buNone/>
              <a:defRPr sz="1800">
                <a:solidFill>
                  <a:schemeClr val="bg1"/>
                </a:solidFill>
              </a:defRPr>
            </a:lvl1pPr>
            <a:lvl2pPr marL="358775" indent="0">
              <a:spcBef>
                <a:spcPts val="800"/>
              </a:spcBef>
              <a:buClr>
                <a:schemeClr val="bg1"/>
              </a:buClr>
              <a:buFontTx/>
              <a:buNone/>
              <a:defRPr sz="1800">
                <a:solidFill>
                  <a:schemeClr val="bg1"/>
                </a:solidFill>
              </a:defRPr>
            </a:lvl2pPr>
            <a:lvl3pPr marL="896938" indent="-266700">
              <a:spcBef>
                <a:spcPts val="200"/>
              </a:spcBef>
              <a:buClr>
                <a:schemeClr val="bg1"/>
              </a:buClr>
              <a:defRPr sz="1400">
                <a:solidFill>
                  <a:schemeClr val="bg1"/>
                </a:solidFill>
              </a:defRPr>
            </a:lvl3pPr>
            <a:lvl4pPr marL="1168400" indent="-265113">
              <a:spcBef>
                <a:spcPts val="200"/>
              </a:spcBef>
              <a:buClr>
                <a:schemeClr val="bg1"/>
              </a:buClr>
              <a:defRPr sz="1400">
                <a:solidFill>
                  <a:schemeClr val="bg1"/>
                </a:solidFill>
              </a:defRPr>
            </a:lvl4pPr>
            <a:lvl5pPr marL="1435100" indent="-274638">
              <a:spcBef>
                <a:spcPts val="200"/>
              </a:spcBef>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8" name="Text Placeholder 2"/>
          <p:cNvSpPr>
            <a:spLocks noGrp="1"/>
          </p:cNvSpPr>
          <p:nvPr>
            <p:ph type="body" idx="13"/>
          </p:nvPr>
        </p:nvSpPr>
        <p:spPr>
          <a:xfrm>
            <a:off x="409469" y="404813"/>
            <a:ext cx="5254472" cy="215797"/>
          </a:xfrm>
          <a:prstGeom prst="rect">
            <a:avLst/>
          </a:prstGeom>
        </p:spPr>
        <p:txBody>
          <a:bodyPr anchor="t" anchorCtr="0"/>
          <a:lstStyle>
            <a:lvl1pPr marL="0" indent="0">
              <a:lnSpc>
                <a:spcPct val="90000"/>
              </a:lnSpc>
              <a:spcBef>
                <a:spcPts val="0"/>
              </a:spcBef>
              <a:buNone/>
              <a:defRPr sz="1400" b="0" u="none" cap="all" spc="0" baseline="0">
                <a:solidFill>
                  <a:schemeClr val="bg1"/>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endParaRPr lang="en-US" altLang="zh-CN"/>
          </a:p>
        </p:txBody>
      </p:sp>
      <p:sp>
        <p:nvSpPr>
          <p:cNvPr id="9" name="Text Placeholder 6"/>
          <p:cNvSpPr>
            <a:spLocks noGrp="1" noChangeAspect="1"/>
          </p:cNvSpPr>
          <p:nvPr>
            <p:ph type="body" sz="quarter" idx="17" hasCustomPrompt="1"/>
          </p:nvPr>
        </p:nvSpPr>
        <p:spPr>
          <a:xfrm>
            <a:off x="11063519" y="403107"/>
            <a:ext cx="719813" cy="363516"/>
          </a:xfrm>
          <a:prstGeom prst="rect">
            <a:avLst/>
          </a:prstGeom>
          <a:blipFill>
            <a:blip r:embed="rId3"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Tree>
    <p:extLst>
      <p:ext uri="{BB962C8B-B14F-4D97-AF65-F5344CB8AC3E}">
        <p14:creationId xmlns:p14="http://schemas.microsoft.com/office/powerpoint/2010/main" val="276975699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enu 3">
    <p:spTree>
      <p:nvGrpSpPr>
        <p:cNvPr id="1" name=""/>
        <p:cNvGrpSpPr/>
        <p:nvPr/>
      </p:nvGrpSpPr>
      <p:grpSpPr>
        <a:xfrm>
          <a:off x="0" y="0"/>
          <a:ext cx="0" cy="0"/>
          <a:chOff x="0" y="0"/>
          <a:chExt cx="0" cy="0"/>
        </a:xfrm>
      </p:grpSpPr>
      <p:sp>
        <p:nvSpPr>
          <p:cNvPr id="12" name="Picture Placeholder 9"/>
          <p:cNvSpPr>
            <a:spLocks noGrp="1"/>
          </p:cNvSpPr>
          <p:nvPr>
            <p:ph type="pic" sz="quarter" idx="18"/>
          </p:nvPr>
        </p:nvSpPr>
        <p:spPr>
          <a:xfrm>
            <a:off x="0" y="0"/>
            <a:ext cx="12192000" cy="6858000"/>
          </a:xfrm>
          <a:solidFill>
            <a:schemeClr val="bg1">
              <a:lumMod val="75000"/>
            </a:schemeClr>
          </a:solidFill>
        </p:spPr>
        <p:txBody>
          <a:bodyPr/>
          <a:lstStyle>
            <a:lvl1pPr marL="0" indent="0">
              <a:buFontTx/>
              <a:buNone/>
              <a:defRPr/>
            </a:lvl1pPr>
          </a:lstStyle>
          <a:p>
            <a:endParaRPr lang="en-GB"/>
          </a:p>
        </p:txBody>
      </p:sp>
      <p:sp>
        <p:nvSpPr>
          <p:cNvPr id="8194" name="Rectangle 2"/>
          <p:cNvSpPr>
            <a:spLocks noGrp="1" noChangeArrowheads="1"/>
          </p:cNvSpPr>
          <p:nvPr>
            <p:ph type="ctrTitle" hasCustomPrompt="1"/>
          </p:nvPr>
        </p:nvSpPr>
        <p:spPr>
          <a:xfrm>
            <a:off x="0" y="0"/>
            <a:ext cx="6096000" cy="6858000"/>
          </a:xfrm>
          <a:solidFill>
            <a:schemeClr val="tx2">
              <a:alpha val="85000"/>
            </a:schemeClr>
          </a:solidFill>
        </p:spPr>
        <p:txBody>
          <a:bodyPr lIns="413876" tIns="648000" rIns="395881" bIns="3132000" anchor="t" anchorCtr="0"/>
          <a:lstStyle>
            <a:lvl1pPr>
              <a:defRPr sz="2800" cap="none" baseline="0">
                <a:solidFill>
                  <a:schemeClr val="bg1"/>
                </a:solidFill>
                <a:effectLst/>
              </a:defRPr>
            </a:lvl1pPr>
          </a:lstStyle>
          <a:p>
            <a:pPr lvl="0"/>
            <a:r>
              <a:rPr lang="en-US" noProof="0"/>
              <a:t>Add title text</a:t>
            </a:r>
          </a:p>
        </p:txBody>
      </p:sp>
      <p:sp>
        <p:nvSpPr>
          <p:cNvPr id="6" name="Content Placeholder 5"/>
          <p:cNvSpPr>
            <a:spLocks noGrp="1"/>
          </p:cNvSpPr>
          <p:nvPr>
            <p:ph sz="quarter" idx="19"/>
          </p:nvPr>
        </p:nvSpPr>
        <p:spPr>
          <a:xfrm>
            <a:off x="409469" y="1989137"/>
            <a:ext cx="5254845" cy="4246707"/>
          </a:xfrm>
        </p:spPr>
        <p:txBody>
          <a:bodyPr/>
          <a:lstStyle>
            <a:lvl1pPr marL="358775" indent="-358775">
              <a:spcBef>
                <a:spcPts val="800"/>
              </a:spcBef>
              <a:buClr>
                <a:schemeClr val="bg1"/>
              </a:buClr>
              <a:buFont typeface="Wingdings" panose="05000000000000000000" pitchFamily="2" charset="2"/>
              <a:buChar char="§"/>
              <a:defRPr sz="1800">
                <a:solidFill>
                  <a:schemeClr val="bg1"/>
                </a:solidFill>
              </a:defRPr>
            </a:lvl1pPr>
            <a:lvl2pPr marL="630238" indent="-273050">
              <a:spcBef>
                <a:spcPts val="200"/>
              </a:spcBef>
              <a:buClr>
                <a:schemeClr val="bg1"/>
              </a:buClr>
              <a:buFont typeface="Arial" panose="020B0604020202020204" pitchFamily="34" charset="0"/>
              <a:buChar char="&gt;"/>
              <a:defRPr sz="1400">
                <a:solidFill>
                  <a:schemeClr val="bg1"/>
                </a:solidFill>
              </a:defRPr>
            </a:lvl2pPr>
            <a:lvl3pPr marL="896938" indent="-266700">
              <a:spcBef>
                <a:spcPts val="200"/>
              </a:spcBef>
              <a:buClr>
                <a:schemeClr val="bg1"/>
              </a:buClr>
              <a:defRPr sz="1400">
                <a:solidFill>
                  <a:schemeClr val="bg1"/>
                </a:solidFill>
              </a:defRPr>
            </a:lvl3pPr>
            <a:lvl4pPr marL="1168400" indent="-265113">
              <a:spcBef>
                <a:spcPts val="200"/>
              </a:spcBef>
              <a:buClr>
                <a:schemeClr val="bg1"/>
              </a:buClr>
              <a:defRPr sz="1400">
                <a:solidFill>
                  <a:schemeClr val="bg1"/>
                </a:solidFill>
              </a:defRPr>
            </a:lvl4pPr>
            <a:lvl5pPr marL="1435100" indent="-274638">
              <a:spcBef>
                <a:spcPts val="200"/>
              </a:spcBef>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8" name="Text Placeholder 2"/>
          <p:cNvSpPr>
            <a:spLocks noGrp="1"/>
          </p:cNvSpPr>
          <p:nvPr>
            <p:ph type="body" idx="13"/>
          </p:nvPr>
        </p:nvSpPr>
        <p:spPr>
          <a:xfrm>
            <a:off x="409469" y="404813"/>
            <a:ext cx="5254472" cy="215797"/>
          </a:xfrm>
          <a:prstGeom prst="rect">
            <a:avLst/>
          </a:prstGeom>
        </p:spPr>
        <p:txBody>
          <a:bodyPr anchor="t" anchorCtr="0"/>
          <a:lstStyle>
            <a:lvl1pPr marL="0" indent="0">
              <a:lnSpc>
                <a:spcPct val="90000"/>
              </a:lnSpc>
              <a:spcBef>
                <a:spcPts val="0"/>
              </a:spcBef>
              <a:buNone/>
              <a:defRPr sz="1400" b="0" u="none" cap="all" spc="0" baseline="0">
                <a:solidFill>
                  <a:schemeClr val="bg1"/>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endParaRPr lang="en-US" altLang="zh-CN"/>
          </a:p>
        </p:txBody>
      </p:sp>
      <p:sp>
        <p:nvSpPr>
          <p:cNvPr id="9" name="Text Placeholder 6"/>
          <p:cNvSpPr>
            <a:spLocks noGrp="1" noChangeAspect="1"/>
          </p:cNvSpPr>
          <p:nvPr>
            <p:ph type="body" sz="quarter" idx="17" hasCustomPrompt="1"/>
          </p:nvPr>
        </p:nvSpPr>
        <p:spPr>
          <a:xfrm>
            <a:off x="11063519" y="403107"/>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
        <p:nvSpPr>
          <p:cNvPr id="2" name="Date Placeholder 1"/>
          <p:cNvSpPr>
            <a:spLocks noGrp="1"/>
          </p:cNvSpPr>
          <p:nvPr>
            <p:ph type="dt" sz="half" idx="10"/>
          </p:nvPr>
        </p:nvSpPr>
        <p:spPr/>
        <p:txBody>
          <a:bodyPr/>
          <a:lstStyle>
            <a:lvl1pPr>
              <a:defRPr>
                <a:solidFill>
                  <a:schemeClr val="bg1"/>
                </a:solidFill>
              </a:defRPr>
            </a:lvl1pPr>
          </a:lstStyle>
          <a:p>
            <a:fld id="{E9BF825D-07E6-4C46-BFB6-0970F762CCAE}" type="datetime3">
              <a:rPr lang="en-US" smtClean="0"/>
              <a:t>13 April 2022</a:t>
            </a:fld>
            <a:endParaRPr lang="en-US"/>
          </a:p>
        </p:txBody>
      </p:sp>
      <p:sp>
        <p:nvSpPr>
          <p:cNvPr id="3" name="Footer Placeholder 2"/>
          <p:cNvSpPr>
            <a:spLocks noGrp="1"/>
          </p:cNvSpPr>
          <p:nvPr>
            <p:ph type="ftr" sz="quarter" idx="11"/>
          </p:nvPr>
        </p:nvSpPr>
        <p:spPr/>
        <p:txBody>
          <a:bodyPr/>
          <a:lstStyle>
            <a:lvl1pPr>
              <a:defRPr>
                <a:solidFill>
                  <a:schemeClr val="bg1"/>
                </a:solid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604FC64F-66B6-486E-8EFE-9FD96A66D16B}" type="slidenum">
              <a:rPr lang="en-US" smtClean="0"/>
              <a:pPr/>
              <a:t>‹#›</a:t>
            </a:fld>
            <a:endParaRPr lang="en-US"/>
          </a:p>
        </p:txBody>
      </p:sp>
    </p:spTree>
    <p:extLst>
      <p:ext uri="{BB962C8B-B14F-4D97-AF65-F5344CB8AC3E}">
        <p14:creationId xmlns:p14="http://schemas.microsoft.com/office/powerpoint/2010/main" val="374105792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enu 4">
    <p:spTree>
      <p:nvGrpSpPr>
        <p:cNvPr id="1" name=""/>
        <p:cNvGrpSpPr/>
        <p:nvPr/>
      </p:nvGrpSpPr>
      <p:grpSpPr>
        <a:xfrm>
          <a:off x="0" y="0"/>
          <a:ext cx="0" cy="0"/>
          <a:chOff x="0" y="0"/>
          <a:chExt cx="0" cy="0"/>
        </a:xfrm>
      </p:grpSpPr>
      <p:sp>
        <p:nvSpPr>
          <p:cNvPr id="12" name="Picture Placeholder 9"/>
          <p:cNvSpPr>
            <a:spLocks noGrp="1"/>
          </p:cNvSpPr>
          <p:nvPr>
            <p:ph type="pic" sz="quarter" idx="18"/>
          </p:nvPr>
        </p:nvSpPr>
        <p:spPr>
          <a:xfrm>
            <a:off x="0" y="0"/>
            <a:ext cx="12192000" cy="6858000"/>
          </a:xfrm>
          <a:solidFill>
            <a:schemeClr val="bg1">
              <a:lumMod val="75000"/>
            </a:schemeClr>
          </a:solidFill>
        </p:spPr>
        <p:txBody>
          <a:bodyPr/>
          <a:lstStyle>
            <a:lvl1pPr marL="0" indent="0">
              <a:buFontTx/>
              <a:buNone/>
              <a:defRPr/>
            </a:lvl1pPr>
          </a:lstStyle>
          <a:p>
            <a:endParaRPr lang="en-GB"/>
          </a:p>
        </p:txBody>
      </p:sp>
      <p:sp>
        <p:nvSpPr>
          <p:cNvPr id="2" name="Date Placeholder 1"/>
          <p:cNvSpPr>
            <a:spLocks noGrp="1"/>
          </p:cNvSpPr>
          <p:nvPr>
            <p:ph type="dt" sz="half" idx="10"/>
          </p:nvPr>
        </p:nvSpPr>
        <p:spPr/>
        <p:txBody>
          <a:bodyPr/>
          <a:lstStyle>
            <a:lvl1pPr>
              <a:defRPr>
                <a:noFill/>
              </a:defRPr>
            </a:lvl1pPr>
          </a:lstStyle>
          <a:p>
            <a:fld id="{52513AE6-64C2-444D-9AA1-D1764D78C7A0}" type="datetime3">
              <a:rPr lang="en-US" smtClean="0"/>
              <a:t>13 April 2022</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
        <p:nvSpPr>
          <p:cNvPr id="8194" name="Rectangle 2"/>
          <p:cNvSpPr>
            <a:spLocks noGrp="1" noChangeArrowheads="1"/>
          </p:cNvSpPr>
          <p:nvPr>
            <p:ph type="ctrTitle" hasCustomPrompt="1"/>
          </p:nvPr>
        </p:nvSpPr>
        <p:spPr>
          <a:xfrm>
            <a:off x="0" y="0"/>
            <a:ext cx="6096000" cy="6858000"/>
          </a:xfrm>
          <a:solidFill>
            <a:srgbClr val="FFFFFF">
              <a:alpha val="89804"/>
            </a:srgbClr>
          </a:solidFill>
        </p:spPr>
        <p:txBody>
          <a:bodyPr lIns="413876" tIns="648000" rIns="395881" bIns="3132000" anchor="t" anchorCtr="0"/>
          <a:lstStyle>
            <a:lvl1pPr>
              <a:defRPr sz="2800" cap="none" baseline="0">
                <a:solidFill>
                  <a:schemeClr val="tx2"/>
                </a:solidFill>
                <a:effectLst/>
              </a:defRPr>
            </a:lvl1pPr>
          </a:lstStyle>
          <a:p>
            <a:pPr lvl="0"/>
            <a:r>
              <a:rPr lang="en-US" noProof="0"/>
              <a:t>Add title text</a:t>
            </a:r>
          </a:p>
        </p:txBody>
      </p:sp>
      <p:sp>
        <p:nvSpPr>
          <p:cNvPr id="6" name="Content Placeholder 5"/>
          <p:cNvSpPr>
            <a:spLocks noGrp="1"/>
          </p:cNvSpPr>
          <p:nvPr>
            <p:ph sz="quarter" idx="19"/>
          </p:nvPr>
        </p:nvSpPr>
        <p:spPr>
          <a:xfrm>
            <a:off x="409469" y="1989139"/>
            <a:ext cx="5254845" cy="4246706"/>
          </a:xfrm>
        </p:spPr>
        <p:txBody>
          <a:bodyPr/>
          <a:lstStyle>
            <a:lvl1pPr marL="358775" indent="-358775">
              <a:spcBef>
                <a:spcPts val="800"/>
              </a:spcBef>
              <a:buClr>
                <a:schemeClr val="tx2"/>
              </a:buClr>
              <a:buFont typeface="Wingdings" panose="05000000000000000000" pitchFamily="2" charset="2"/>
              <a:buChar char="§"/>
              <a:defRPr sz="1800">
                <a:solidFill>
                  <a:schemeClr val="tx2"/>
                </a:solidFill>
              </a:defRPr>
            </a:lvl1pPr>
            <a:lvl2pPr marL="630238" indent="-273050">
              <a:spcBef>
                <a:spcPts val="200"/>
              </a:spcBef>
              <a:buClr>
                <a:schemeClr val="tx2"/>
              </a:buClr>
              <a:buFont typeface="Arial" panose="020B0604020202020204" pitchFamily="34" charset="0"/>
              <a:buChar char="&gt;"/>
              <a:defRPr sz="1400">
                <a:solidFill>
                  <a:schemeClr val="tx2"/>
                </a:solidFill>
              </a:defRPr>
            </a:lvl2pPr>
            <a:lvl3pPr marL="896938" indent="-266700">
              <a:spcBef>
                <a:spcPts val="200"/>
              </a:spcBef>
              <a:buClr>
                <a:schemeClr val="tx2"/>
              </a:buClr>
              <a:defRPr sz="1400">
                <a:solidFill>
                  <a:schemeClr val="tx2"/>
                </a:solidFill>
              </a:defRPr>
            </a:lvl3pPr>
            <a:lvl4pPr marL="1168400" indent="-265113">
              <a:spcBef>
                <a:spcPts val="200"/>
              </a:spcBef>
              <a:buClr>
                <a:schemeClr val="tx2"/>
              </a:buClr>
              <a:defRPr sz="1400">
                <a:solidFill>
                  <a:schemeClr val="tx2"/>
                </a:solidFill>
              </a:defRPr>
            </a:lvl4pPr>
            <a:lvl5pPr marL="1435100" indent="-274638">
              <a:spcBef>
                <a:spcPts val="200"/>
              </a:spcBef>
              <a:buClr>
                <a:schemeClr val="tx2"/>
              </a:buClr>
              <a:defRPr sz="1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8" name="Text Placeholder 2"/>
          <p:cNvSpPr>
            <a:spLocks noGrp="1"/>
          </p:cNvSpPr>
          <p:nvPr>
            <p:ph type="body" idx="13"/>
          </p:nvPr>
        </p:nvSpPr>
        <p:spPr>
          <a:xfrm>
            <a:off x="409469" y="404813"/>
            <a:ext cx="5254472" cy="215797"/>
          </a:xfrm>
          <a:prstGeom prst="rect">
            <a:avLst/>
          </a:prstGeom>
        </p:spPr>
        <p:txBody>
          <a:bodyPr anchor="t" anchorCtr="0"/>
          <a:lstStyle>
            <a:lvl1pPr marL="0" indent="0">
              <a:lnSpc>
                <a:spcPct val="90000"/>
              </a:lnSpc>
              <a:spcBef>
                <a:spcPts val="0"/>
              </a:spcBef>
              <a:buNone/>
              <a:defRPr sz="14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endParaRPr lang="en-US" altLang="zh-CN"/>
          </a:p>
        </p:txBody>
      </p:sp>
      <p:sp>
        <p:nvSpPr>
          <p:cNvPr id="9" name="Text Placeholder 6"/>
          <p:cNvSpPr>
            <a:spLocks noGrp="1" noChangeAspect="1"/>
          </p:cNvSpPr>
          <p:nvPr>
            <p:ph type="body" sz="quarter" idx="17" hasCustomPrompt="1"/>
          </p:nvPr>
        </p:nvSpPr>
        <p:spPr>
          <a:xfrm>
            <a:off x="11063519" y="403107"/>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Tree>
    <p:extLst>
      <p:ext uri="{BB962C8B-B14F-4D97-AF65-F5344CB8AC3E}">
        <p14:creationId xmlns:p14="http://schemas.microsoft.com/office/powerpoint/2010/main" val="187382750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Menu 6">
    <p:spTree>
      <p:nvGrpSpPr>
        <p:cNvPr id="1" name=""/>
        <p:cNvGrpSpPr/>
        <p:nvPr/>
      </p:nvGrpSpPr>
      <p:grpSpPr>
        <a:xfrm>
          <a:off x="0" y="0"/>
          <a:ext cx="0" cy="0"/>
          <a:chOff x="0" y="0"/>
          <a:chExt cx="0" cy="0"/>
        </a:xfrm>
      </p:grpSpPr>
      <p:sp>
        <p:nvSpPr>
          <p:cNvPr id="12" name="Picture Placeholder 9"/>
          <p:cNvSpPr>
            <a:spLocks noGrp="1"/>
          </p:cNvSpPr>
          <p:nvPr>
            <p:ph type="pic" sz="quarter" idx="18"/>
          </p:nvPr>
        </p:nvSpPr>
        <p:spPr>
          <a:xfrm>
            <a:off x="0" y="0"/>
            <a:ext cx="12192000" cy="6858000"/>
          </a:xfrm>
          <a:solidFill>
            <a:schemeClr val="bg1">
              <a:lumMod val="75000"/>
            </a:schemeClr>
          </a:solidFill>
        </p:spPr>
        <p:txBody>
          <a:bodyPr/>
          <a:lstStyle>
            <a:lvl1pPr marL="0" indent="0">
              <a:buFontTx/>
              <a:buNone/>
              <a:defRPr/>
            </a:lvl1pPr>
          </a:lstStyle>
          <a:p>
            <a:endParaRPr lang="en-GB"/>
          </a:p>
        </p:txBody>
      </p:sp>
      <p:sp>
        <p:nvSpPr>
          <p:cNvPr id="2" name="Date Placeholder 1"/>
          <p:cNvSpPr>
            <a:spLocks noGrp="1"/>
          </p:cNvSpPr>
          <p:nvPr>
            <p:ph type="dt" sz="half" idx="10"/>
          </p:nvPr>
        </p:nvSpPr>
        <p:spPr/>
        <p:txBody>
          <a:bodyPr/>
          <a:lstStyle>
            <a:lvl1pPr>
              <a:defRPr>
                <a:noFill/>
              </a:defRPr>
            </a:lvl1pPr>
          </a:lstStyle>
          <a:p>
            <a:fld id="{85E8E0D2-7390-4DCD-B5BA-D2931340881D}" type="datetime3">
              <a:rPr lang="en-US" smtClean="0"/>
              <a:t>13 April 2022</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
        <p:nvSpPr>
          <p:cNvPr id="8194" name="Rectangle 2"/>
          <p:cNvSpPr>
            <a:spLocks noGrp="1" noChangeArrowheads="1"/>
          </p:cNvSpPr>
          <p:nvPr>
            <p:ph type="ctrTitle" hasCustomPrompt="1"/>
          </p:nvPr>
        </p:nvSpPr>
        <p:spPr>
          <a:xfrm>
            <a:off x="6096000" y="0"/>
            <a:ext cx="6096000" cy="6858000"/>
          </a:xfrm>
          <a:solidFill>
            <a:srgbClr val="FFFFFF">
              <a:alpha val="89804"/>
            </a:srgbClr>
          </a:solidFill>
        </p:spPr>
        <p:txBody>
          <a:bodyPr lIns="413876" tIns="648000" rIns="395881" bIns="3132000" anchor="t" anchorCtr="0"/>
          <a:lstStyle>
            <a:lvl1pPr>
              <a:defRPr sz="2800" cap="none" baseline="0">
                <a:solidFill>
                  <a:schemeClr val="tx2"/>
                </a:solidFill>
                <a:effectLst/>
              </a:defRPr>
            </a:lvl1pPr>
          </a:lstStyle>
          <a:p>
            <a:pPr lvl="0"/>
            <a:r>
              <a:rPr lang="en-US" noProof="0"/>
              <a:t>Add title text</a:t>
            </a:r>
          </a:p>
        </p:txBody>
      </p:sp>
      <p:sp>
        <p:nvSpPr>
          <p:cNvPr id="6" name="Content Placeholder 5"/>
          <p:cNvSpPr>
            <a:spLocks noGrp="1"/>
          </p:cNvSpPr>
          <p:nvPr>
            <p:ph sz="quarter" idx="19"/>
          </p:nvPr>
        </p:nvSpPr>
        <p:spPr>
          <a:xfrm>
            <a:off x="6505469" y="1989139"/>
            <a:ext cx="5254845" cy="4246706"/>
          </a:xfrm>
        </p:spPr>
        <p:txBody>
          <a:bodyPr/>
          <a:lstStyle>
            <a:lvl1pPr marL="358775" indent="-358775">
              <a:spcBef>
                <a:spcPts val="800"/>
              </a:spcBef>
              <a:buClr>
                <a:schemeClr val="tx2"/>
              </a:buClr>
              <a:buFont typeface="Wingdings" panose="05000000000000000000" pitchFamily="2" charset="2"/>
              <a:buChar char="§"/>
              <a:defRPr sz="1800">
                <a:solidFill>
                  <a:schemeClr val="tx2"/>
                </a:solidFill>
              </a:defRPr>
            </a:lvl1pPr>
            <a:lvl2pPr marL="630238" indent="-273050">
              <a:spcBef>
                <a:spcPts val="200"/>
              </a:spcBef>
              <a:buClr>
                <a:schemeClr val="tx2"/>
              </a:buClr>
              <a:buFont typeface="Arial" panose="020B0604020202020204" pitchFamily="34" charset="0"/>
              <a:buChar char="&gt;"/>
              <a:defRPr sz="1400">
                <a:solidFill>
                  <a:schemeClr val="tx2"/>
                </a:solidFill>
              </a:defRPr>
            </a:lvl2pPr>
            <a:lvl3pPr marL="896938" indent="-266700">
              <a:spcBef>
                <a:spcPts val="200"/>
              </a:spcBef>
              <a:buClr>
                <a:schemeClr val="tx2"/>
              </a:buClr>
              <a:defRPr sz="1400">
                <a:solidFill>
                  <a:schemeClr val="tx2"/>
                </a:solidFill>
              </a:defRPr>
            </a:lvl3pPr>
            <a:lvl4pPr marL="1168400" indent="-265113">
              <a:spcBef>
                <a:spcPts val="200"/>
              </a:spcBef>
              <a:buClr>
                <a:schemeClr val="tx2"/>
              </a:buClr>
              <a:defRPr sz="1400">
                <a:solidFill>
                  <a:schemeClr val="tx2"/>
                </a:solidFill>
              </a:defRPr>
            </a:lvl4pPr>
            <a:lvl5pPr marL="1435100" indent="-274638">
              <a:spcBef>
                <a:spcPts val="200"/>
              </a:spcBef>
              <a:buClr>
                <a:schemeClr val="tx2"/>
              </a:buClr>
              <a:defRPr sz="1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8" name="Text Placeholder 2"/>
          <p:cNvSpPr>
            <a:spLocks noGrp="1"/>
          </p:cNvSpPr>
          <p:nvPr>
            <p:ph type="body" idx="13"/>
          </p:nvPr>
        </p:nvSpPr>
        <p:spPr>
          <a:xfrm>
            <a:off x="6505469" y="404813"/>
            <a:ext cx="5254472" cy="215797"/>
          </a:xfrm>
          <a:prstGeom prst="rect">
            <a:avLst/>
          </a:prstGeom>
        </p:spPr>
        <p:txBody>
          <a:bodyPr anchor="t" anchorCtr="0"/>
          <a:lstStyle>
            <a:lvl1pPr marL="0" indent="0">
              <a:lnSpc>
                <a:spcPct val="90000"/>
              </a:lnSpc>
              <a:spcBef>
                <a:spcPts val="0"/>
              </a:spcBef>
              <a:buNone/>
              <a:defRPr sz="14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endParaRPr lang="en-US" altLang="zh-CN"/>
          </a:p>
        </p:txBody>
      </p:sp>
    </p:spTree>
    <p:extLst>
      <p:ext uri="{BB962C8B-B14F-4D97-AF65-F5344CB8AC3E}">
        <p14:creationId xmlns:p14="http://schemas.microsoft.com/office/powerpoint/2010/main" val="56745294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Blue">
    <p:bg>
      <p:bgPr>
        <a:solidFill>
          <a:schemeClr val="tx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0FA31B00-73D2-4680-9397-55AA2172535F}" type="datetime3">
              <a:rPr lang="en-US" smtClean="0"/>
              <a:t>13 April 2022</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
        <p:nvSpPr>
          <p:cNvPr id="7" name="Rectangle 2"/>
          <p:cNvSpPr>
            <a:spLocks noGrp="1" noChangeArrowheads="1"/>
          </p:cNvSpPr>
          <p:nvPr>
            <p:ph type="ctrTitle" hasCustomPrompt="1"/>
          </p:nvPr>
        </p:nvSpPr>
        <p:spPr>
          <a:xfrm>
            <a:off x="409470" y="2421094"/>
            <a:ext cx="10365263" cy="1294358"/>
          </a:xfrm>
          <a:prstGeom prst="rect">
            <a:avLst/>
          </a:prstGeom>
        </p:spPr>
        <p:txBody>
          <a:bodyPr anchor="b" anchorCtr="0"/>
          <a:lstStyle>
            <a:lvl1pPr>
              <a:defRPr sz="4000" cap="none">
                <a:solidFill>
                  <a:schemeClr val="bg1"/>
                </a:solidFill>
              </a:defRPr>
            </a:lvl1pPr>
          </a:lstStyle>
          <a:p>
            <a:pPr lvl="0"/>
            <a:r>
              <a:rPr lang="en-US" noProof="0"/>
              <a:t>Add title text</a:t>
            </a:r>
          </a:p>
        </p:txBody>
      </p:sp>
      <p:sp>
        <p:nvSpPr>
          <p:cNvPr id="8" name="Rectangle 3"/>
          <p:cNvSpPr>
            <a:spLocks noGrp="1" noChangeArrowheads="1"/>
          </p:cNvSpPr>
          <p:nvPr>
            <p:ph type="subTitle" idx="1"/>
          </p:nvPr>
        </p:nvSpPr>
        <p:spPr>
          <a:xfrm>
            <a:off x="409469" y="3789357"/>
            <a:ext cx="10365265" cy="647550"/>
          </a:xfrm>
          <a:prstGeom prst="rect">
            <a:avLst/>
          </a:prstGeom>
        </p:spPr>
        <p:txBody>
          <a:bodyPr anchor="t" anchorCtr="0"/>
          <a:lstStyle>
            <a:lvl1pPr marL="0" indent="0">
              <a:lnSpc>
                <a:spcPct val="100000"/>
              </a:lnSpc>
              <a:spcBef>
                <a:spcPts val="0"/>
              </a:spcBef>
              <a:buFont typeface="Wingdings" pitchFamily="2" charset="2"/>
              <a:buNone/>
              <a:defRPr sz="2000" u="none" cap="all" baseline="0">
                <a:solidFill>
                  <a:schemeClr val="bg1"/>
                </a:solidFill>
                <a:uFillTx/>
              </a:defRPr>
            </a:lvl1pPr>
          </a:lstStyle>
          <a:p>
            <a:pPr lvl="0"/>
            <a:r>
              <a:rPr lang="en-US" noProof="0"/>
              <a:t>Click to edit Master subtitle style</a:t>
            </a:r>
          </a:p>
        </p:txBody>
      </p:sp>
      <p:pic>
        <p:nvPicPr>
          <p:cNvPr id="11" name="Picture 10">
            <a:extLst>
              <a:ext uri="{FF2B5EF4-FFF2-40B4-BE49-F238E27FC236}">
                <a16:creationId xmlns:a16="http://schemas.microsoft.com/office/drawing/2014/main" id="{8154D733-C0E0-144D-AB3C-29952728CE0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64875" y="403225"/>
            <a:ext cx="720725" cy="366270"/>
          </a:xfrm>
          <a:prstGeom prst="rect">
            <a:avLst/>
          </a:prstGeom>
        </p:spPr>
      </p:pic>
    </p:spTree>
    <p:extLst>
      <p:ext uri="{BB962C8B-B14F-4D97-AF65-F5344CB8AC3E}">
        <p14:creationId xmlns:p14="http://schemas.microsoft.com/office/powerpoint/2010/main" val="390636479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enu 5">
    <p:spTree>
      <p:nvGrpSpPr>
        <p:cNvPr id="1" name=""/>
        <p:cNvGrpSpPr/>
        <p:nvPr/>
      </p:nvGrpSpPr>
      <p:grpSpPr>
        <a:xfrm>
          <a:off x="0" y="0"/>
          <a:ext cx="0" cy="0"/>
          <a:chOff x="0" y="0"/>
          <a:chExt cx="0" cy="0"/>
        </a:xfrm>
      </p:grpSpPr>
      <p:sp>
        <p:nvSpPr>
          <p:cNvPr id="12" name="Picture Placeholder 9"/>
          <p:cNvSpPr>
            <a:spLocks noGrp="1"/>
          </p:cNvSpPr>
          <p:nvPr>
            <p:ph type="pic" sz="quarter" idx="18"/>
          </p:nvPr>
        </p:nvSpPr>
        <p:spPr>
          <a:xfrm>
            <a:off x="0" y="0"/>
            <a:ext cx="12192000" cy="6858000"/>
          </a:xfrm>
          <a:solidFill>
            <a:schemeClr val="bg1">
              <a:lumMod val="75000"/>
            </a:schemeClr>
          </a:solidFill>
        </p:spPr>
        <p:txBody>
          <a:bodyPr/>
          <a:lstStyle>
            <a:lvl1pPr marL="0" indent="0">
              <a:buFontTx/>
              <a:buNone/>
              <a:defRPr/>
            </a:lvl1pPr>
          </a:lstStyle>
          <a:p>
            <a:endParaRPr lang="en-GB"/>
          </a:p>
        </p:txBody>
      </p:sp>
      <p:sp>
        <p:nvSpPr>
          <p:cNvPr id="2" name="Date Placeholder 1"/>
          <p:cNvSpPr>
            <a:spLocks noGrp="1"/>
          </p:cNvSpPr>
          <p:nvPr>
            <p:ph type="dt" sz="half" idx="10"/>
          </p:nvPr>
        </p:nvSpPr>
        <p:spPr/>
        <p:txBody>
          <a:bodyPr/>
          <a:lstStyle>
            <a:lvl1pPr>
              <a:defRPr>
                <a:noFill/>
              </a:defRPr>
            </a:lvl1pPr>
          </a:lstStyle>
          <a:p>
            <a:fld id="{AA65B8EB-DB53-445B-99BB-6ABF1338835C}" type="datetime3">
              <a:rPr lang="en-US" smtClean="0"/>
              <a:t>13 April 2022</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
        <p:nvSpPr>
          <p:cNvPr id="8194" name="Rectangle 2"/>
          <p:cNvSpPr>
            <a:spLocks noGrp="1" noChangeArrowheads="1"/>
          </p:cNvSpPr>
          <p:nvPr>
            <p:ph type="ctrTitle" hasCustomPrompt="1"/>
          </p:nvPr>
        </p:nvSpPr>
        <p:spPr>
          <a:xfrm>
            <a:off x="0" y="0"/>
            <a:ext cx="12192000" cy="1628775"/>
          </a:xfrm>
          <a:solidFill>
            <a:srgbClr val="FFFFFF">
              <a:alpha val="95000"/>
            </a:srgbClr>
          </a:solidFill>
        </p:spPr>
        <p:txBody>
          <a:bodyPr lIns="413876" tIns="648000" rIns="395881" bIns="360000" anchor="t" anchorCtr="0"/>
          <a:lstStyle>
            <a:lvl1pPr>
              <a:defRPr sz="2800" cap="none" baseline="0">
                <a:solidFill>
                  <a:schemeClr val="tx2"/>
                </a:solidFill>
                <a:effectLst/>
              </a:defRPr>
            </a:lvl1pPr>
          </a:lstStyle>
          <a:p>
            <a:pPr lvl="0"/>
            <a:r>
              <a:rPr lang="en-US" noProof="0"/>
              <a:t>Add title text</a:t>
            </a:r>
          </a:p>
        </p:txBody>
      </p:sp>
      <p:sp>
        <p:nvSpPr>
          <p:cNvPr id="8" name="Text Placeholder 2"/>
          <p:cNvSpPr>
            <a:spLocks noGrp="1"/>
          </p:cNvSpPr>
          <p:nvPr>
            <p:ph type="body" idx="13"/>
          </p:nvPr>
        </p:nvSpPr>
        <p:spPr>
          <a:xfrm>
            <a:off x="409469" y="404813"/>
            <a:ext cx="5254472" cy="215797"/>
          </a:xfrm>
          <a:prstGeom prst="rect">
            <a:avLst/>
          </a:prstGeom>
        </p:spPr>
        <p:txBody>
          <a:bodyPr anchor="t" anchorCtr="0"/>
          <a:lstStyle>
            <a:lvl1pPr marL="0" indent="0">
              <a:lnSpc>
                <a:spcPct val="90000"/>
              </a:lnSpc>
              <a:spcBef>
                <a:spcPts val="0"/>
              </a:spcBef>
              <a:buNone/>
              <a:defRPr sz="14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endParaRPr lang="en-US" altLang="zh-CN"/>
          </a:p>
        </p:txBody>
      </p:sp>
      <p:sp>
        <p:nvSpPr>
          <p:cNvPr id="9" name="Text Placeholder 6"/>
          <p:cNvSpPr>
            <a:spLocks noGrp="1" noChangeAspect="1"/>
          </p:cNvSpPr>
          <p:nvPr>
            <p:ph type="body" sz="quarter" idx="17" hasCustomPrompt="1"/>
          </p:nvPr>
        </p:nvSpPr>
        <p:spPr>
          <a:xfrm>
            <a:off x="11063519" y="403107"/>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Tree>
    <p:extLst>
      <p:ext uri="{BB962C8B-B14F-4D97-AF65-F5344CB8AC3E}">
        <p14:creationId xmlns:p14="http://schemas.microsoft.com/office/powerpoint/2010/main" val="38243564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ustom 4 pics">
    <p:spTree>
      <p:nvGrpSpPr>
        <p:cNvPr id="1" name=""/>
        <p:cNvGrpSpPr/>
        <p:nvPr/>
      </p:nvGrpSpPr>
      <p:grpSpPr>
        <a:xfrm>
          <a:off x="0" y="0"/>
          <a:ext cx="0" cy="0"/>
          <a:chOff x="0" y="0"/>
          <a:chExt cx="0" cy="0"/>
        </a:xfrm>
      </p:grpSpPr>
      <p:sp>
        <p:nvSpPr>
          <p:cNvPr id="12" name="Picture Placeholder 9"/>
          <p:cNvSpPr>
            <a:spLocks noGrp="1"/>
          </p:cNvSpPr>
          <p:nvPr>
            <p:ph type="pic" sz="quarter" idx="18"/>
          </p:nvPr>
        </p:nvSpPr>
        <p:spPr>
          <a:xfrm>
            <a:off x="0" y="0"/>
            <a:ext cx="12192000" cy="6858000"/>
          </a:xfrm>
          <a:solidFill>
            <a:schemeClr val="bg1">
              <a:lumMod val="75000"/>
            </a:schemeClr>
          </a:solidFill>
        </p:spPr>
        <p:txBody>
          <a:bodyPr/>
          <a:lstStyle>
            <a:lvl1pPr marL="0" indent="0">
              <a:buFontTx/>
              <a:buNone/>
              <a:defRPr/>
            </a:lvl1pPr>
          </a:lstStyle>
          <a:p>
            <a:endParaRPr lang="en-GB"/>
          </a:p>
        </p:txBody>
      </p:sp>
      <p:sp>
        <p:nvSpPr>
          <p:cNvPr id="2" name="Date Placeholder 1"/>
          <p:cNvSpPr>
            <a:spLocks noGrp="1"/>
          </p:cNvSpPr>
          <p:nvPr>
            <p:ph type="dt" sz="half" idx="10"/>
          </p:nvPr>
        </p:nvSpPr>
        <p:spPr/>
        <p:txBody>
          <a:bodyPr/>
          <a:lstStyle>
            <a:lvl1pPr>
              <a:defRPr>
                <a:noFill/>
              </a:defRPr>
            </a:lvl1pPr>
          </a:lstStyle>
          <a:p>
            <a:fld id="{77A6779C-34F5-44AE-8539-C001EBC2A2CD}" type="datetime3">
              <a:rPr lang="en-US" smtClean="0"/>
              <a:t>13 April 2022</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
        <p:nvSpPr>
          <p:cNvPr id="14" name="Rectangle 2"/>
          <p:cNvSpPr>
            <a:spLocks noGrp="1" noChangeArrowheads="1"/>
          </p:cNvSpPr>
          <p:nvPr>
            <p:ph type="ctrTitle" hasCustomPrompt="1"/>
          </p:nvPr>
        </p:nvSpPr>
        <p:spPr>
          <a:xfrm>
            <a:off x="0" y="5229225"/>
            <a:ext cx="12192000" cy="1628775"/>
          </a:xfrm>
          <a:solidFill>
            <a:srgbClr val="FFFFFF">
              <a:alpha val="95000"/>
            </a:srgbClr>
          </a:solidFill>
        </p:spPr>
        <p:txBody>
          <a:bodyPr lIns="413876" tIns="396000" rIns="395881" bIns="360000" anchor="t" anchorCtr="0"/>
          <a:lstStyle>
            <a:lvl1pPr>
              <a:defRPr sz="2800" cap="none" baseline="0">
                <a:solidFill>
                  <a:schemeClr val="tx2"/>
                </a:solidFill>
                <a:effectLst/>
              </a:defRPr>
            </a:lvl1pPr>
          </a:lstStyle>
          <a:p>
            <a:pPr lvl="0"/>
            <a:r>
              <a:rPr lang="en-US" noProof="0"/>
              <a:t>Add title text</a:t>
            </a:r>
          </a:p>
        </p:txBody>
      </p:sp>
      <p:sp>
        <p:nvSpPr>
          <p:cNvPr id="9" name="Text Placeholder 6"/>
          <p:cNvSpPr>
            <a:spLocks noGrp="1" noChangeAspect="1"/>
          </p:cNvSpPr>
          <p:nvPr>
            <p:ph type="body" sz="quarter" idx="17" hasCustomPrompt="1"/>
          </p:nvPr>
        </p:nvSpPr>
        <p:spPr>
          <a:xfrm>
            <a:off x="11063519" y="5661310"/>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Tree>
    <p:extLst>
      <p:ext uri="{BB962C8B-B14F-4D97-AF65-F5344CB8AC3E}">
        <p14:creationId xmlns:p14="http://schemas.microsoft.com/office/powerpoint/2010/main" val="33728772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ustom 4 pics 2">
    <p:spTree>
      <p:nvGrpSpPr>
        <p:cNvPr id="1" name=""/>
        <p:cNvGrpSpPr/>
        <p:nvPr/>
      </p:nvGrpSpPr>
      <p:grpSpPr>
        <a:xfrm>
          <a:off x="0" y="0"/>
          <a:ext cx="0" cy="0"/>
          <a:chOff x="0" y="0"/>
          <a:chExt cx="0" cy="0"/>
        </a:xfrm>
      </p:grpSpPr>
      <p:sp>
        <p:nvSpPr>
          <p:cNvPr id="12" name="Picture Placeholder 9"/>
          <p:cNvSpPr>
            <a:spLocks noGrp="1"/>
          </p:cNvSpPr>
          <p:nvPr>
            <p:ph type="pic" sz="quarter" idx="18"/>
          </p:nvPr>
        </p:nvSpPr>
        <p:spPr>
          <a:xfrm>
            <a:off x="0" y="0"/>
            <a:ext cx="3071580" cy="5229250"/>
          </a:xfrm>
          <a:solidFill>
            <a:schemeClr val="bg1">
              <a:lumMod val="75000"/>
            </a:schemeClr>
          </a:solidFill>
        </p:spPr>
        <p:txBody>
          <a:bodyPr/>
          <a:lstStyle>
            <a:lvl1pPr marL="0" indent="0">
              <a:buFontTx/>
              <a:buNone/>
              <a:defRPr/>
            </a:lvl1pPr>
          </a:lstStyle>
          <a:p>
            <a:endParaRPr lang="en-GB"/>
          </a:p>
        </p:txBody>
      </p:sp>
      <p:sp>
        <p:nvSpPr>
          <p:cNvPr id="2" name="Date Placeholder 1"/>
          <p:cNvSpPr>
            <a:spLocks noGrp="1"/>
          </p:cNvSpPr>
          <p:nvPr>
            <p:ph type="dt" sz="half" idx="10"/>
          </p:nvPr>
        </p:nvSpPr>
        <p:spPr/>
        <p:txBody>
          <a:bodyPr/>
          <a:lstStyle>
            <a:lvl1pPr>
              <a:defRPr>
                <a:noFill/>
              </a:defRPr>
            </a:lvl1pPr>
          </a:lstStyle>
          <a:p>
            <a:fld id="{B9E5913D-50BF-4D5B-8C3C-77B55A1C590E}" type="datetime3">
              <a:rPr lang="en-US" smtClean="0"/>
              <a:t>13 April 2022</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
        <p:nvSpPr>
          <p:cNvPr id="14" name="Rectangle 2"/>
          <p:cNvSpPr>
            <a:spLocks noGrp="1" noChangeArrowheads="1"/>
          </p:cNvSpPr>
          <p:nvPr>
            <p:ph type="ctrTitle" hasCustomPrompt="1"/>
          </p:nvPr>
        </p:nvSpPr>
        <p:spPr>
          <a:xfrm>
            <a:off x="0" y="5229225"/>
            <a:ext cx="12192000" cy="1628775"/>
          </a:xfrm>
          <a:noFill/>
        </p:spPr>
        <p:txBody>
          <a:bodyPr lIns="413876" tIns="396000" rIns="395881" bIns="360000" anchor="t" anchorCtr="0"/>
          <a:lstStyle>
            <a:lvl1pPr>
              <a:defRPr sz="2800" cap="none" baseline="0">
                <a:solidFill>
                  <a:schemeClr val="tx2"/>
                </a:solidFill>
                <a:effectLst/>
              </a:defRPr>
            </a:lvl1pPr>
          </a:lstStyle>
          <a:p>
            <a:pPr lvl="0"/>
            <a:r>
              <a:rPr lang="en-US" noProof="0"/>
              <a:t>Add title text</a:t>
            </a:r>
          </a:p>
        </p:txBody>
      </p:sp>
      <p:sp>
        <p:nvSpPr>
          <p:cNvPr id="9" name="Text Placeholder 6"/>
          <p:cNvSpPr>
            <a:spLocks noGrp="1" noChangeAspect="1"/>
          </p:cNvSpPr>
          <p:nvPr>
            <p:ph type="body" sz="quarter" idx="17" hasCustomPrompt="1"/>
          </p:nvPr>
        </p:nvSpPr>
        <p:spPr>
          <a:xfrm>
            <a:off x="11063519" y="5661310"/>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
        <p:nvSpPr>
          <p:cNvPr id="15" name="Picture Placeholder 9"/>
          <p:cNvSpPr>
            <a:spLocks noGrp="1"/>
          </p:cNvSpPr>
          <p:nvPr>
            <p:ph type="pic" sz="quarter" idx="19"/>
          </p:nvPr>
        </p:nvSpPr>
        <p:spPr>
          <a:xfrm>
            <a:off x="3071580" y="0"/>
            <a:ext cx="3024420" cy="5229250"/>
          </a:xfrm>
          <a:solidFill>
            <a:schemeClr val="bg1">
              <a:lumMod val="75000"/>
            </a:schemeClr>
          </a:solidFill>
        </p:spPr>
        <p:txBody>
          <a:bodyPr/>
          <a:lstStyle>
            <a:lvl1pPr marL="0" indent="0">
              <a:buFontTx/>
              <a:buNone/>
              <a:defRPr/>
            </a:lvl1pPr>
          </a:lstStyle>
          <a:p>
            <a:endParaRPr lang="en-GB"/>
          </a:p>
        </p:txBody>
      </p:sp>
      <p:sp>
        <p:nvSpPr>
          <p:cNvPr id="16" name="Picture Placeholder 9"/>
          <p:cNvSpPr>
            <a:spLocks noGrp="1"/>
          </p:cNvSpPr>
          <p:nvPr>
            <p:ph type="pic" sz="quarter" idx="20"/>
          </p:nvPr>
        </p:nvSpPr>
        <p:spPr>
          <a:xfrm>
            <a:off x="6096000" y="0"/>
            <a:ext cx="3024420" cy="5229250"/>
          </a:xfrm>
          <a:solidFill>
            <a:schemeClr val="bg1">
              <a:lumMod val="75000"/>
            </a:schemeClr>
          </a:solidFill>
        </p:spPr>
        <p:txBody>
          <a:bodyPr/>
          <a:lstStyle>
            <a:lvl1pPr marL="0" indent="0">
              <a:buFontTx/>
              <a:buNone/>
              <a:defRPr/>
            </a:lvl1pPr>
          </a:lstStyle>
          <a:p>
            <a:endParaRPr lang="en-GB"/>
          </a:p>
        </p:txBody>
      </p:sp>
      <p:sp>
        <p:nvSpPr>
          <p:cNvPr id="17" name="Picture Placeholder 9"/>
          <p:cNvSpPr>
            <a:spLocks noGrp="1"/>
          </p:cNvSpPr>
          <p:nvPr>
            <p:ph type="pic" sz="quarter" idx="21"/>
          </p:nvPr>
        </p:nvSpPr>
        <p:spPr>
          <a:xfrm>
            <a:off x="9120420" y="0"/>
            <a:ext cx="3070392" cy="5229250"/>
          </a:xfrm>
          <a:solidFill>
            <a:schemeClr val="bg1">
              <a:lumMod val="75000"/>
            </a:schemeClr>
          </a:solidFill>
        </p:spPr>
        <p:txBody>
          <a:bodyPr/>
          <a:lstStyle>
            <a:lvl1pPr marL="0" indent="0">
              <a:buFontTx/>
              <a:buNone/>
              <a:defRPr/>
            </a:lvl1pPr>
          </a:lstStyle>
          <a:p>
            <a:endParaRPr lang="en-GB"/>
          </a:p>
        </p:txBody>
      </p:sp>
    </p:spTree>
    <p:extLst>
      <p:ext uri="{BB962C8B-B14F-4D97-AF65-F5344CB8AC3E}">
        <p14:creationId xmlns:p14="http://schemas.microsoft.com/office/powerpoint/2010/main" val="393355756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ustom B">
    <p:spTree>
      <p:nvGrpSpPr>
        <p:cNvPr id="1" name=""/>
        <p:cNvGrpSpPr/>
        <p:nvPr/>
      </p:nvGrpSpPr>
      <p:grpSpPr>
        <a:xfrm>
          <a:off x="0" y="0"/>
          <a:ext cx="0" cy="0"/>
          <a:chOff x="0" y="0"/>
          <a:chExt cx="0" cy="0"/>
        </a:xfrm>
      </p:grpSpPr>
      <p:sp>
        <p:nvSpPr>
          <p:cNvPr id="9" name="Title 1"/>
          <p:cNvSpPr>
            <a:spLocks noGrp="1"/>
          </p:cNvSpPr>
          <p:nvPr>
            <p:ph type="title"/>
          </p:nvPr>
        </p:nvSpPr>
        <p:spPr>
          <a:xfrm>
            <a:off x="431800" y="188914"/>
            <a:ext cx="9984317" cy="503783"/>
          </a:xfrm>
        </p:spPr>
        <p:txBody>
          <a:bodyPr/>
          <a:lstStyle/>
          <a:p>
            <a:r>
              <a:rPr lang="en-US"/>
              <a:t>Click to edit Master title style</a:t>
            </a:r>
            <a:endParaRPr lang="fi-FI"/>
          </a:p>
        </p:txBody>
      </p:sp>
      <p:sp>
        <p:nvSpPr>
          <p:cNvPr id="10" name="Text Placeholder 7"/>
          <p:cNvSpPr>
            <a:spLocks noGrp="1"/>
          </p:cNvSpPr>
          <p:nvPr>
            <p:ph type="body" sz="quarter" idx="13"/>
          </p:nvPr>
        </p:nvSpPr>
        <p:spPr>
          <a:xfrm>
            <a:off x="431800" y="692151"/>
            <a:ext cx="9984317" cy="720725"/>
          </a:xfrm>
        </p:spPr>
        <p:txBody>
          <a:bodyPr/>
          <a:lstStyle>
            <a:lvl1pPr marL="0" indent="0">
              <a:buFontTx/>
              <a:buNone/>
              <a:defRPr sz="1800" cap="all" baseline="0">
                <a:solidFill>
                  <a:schemeClr val="tx2"/>
                </a:solidFill>
              </a:defRPr>
            </a:lvl1pPr>
          </a:lstStyle>
          <a:p>
            <a:pPr lvl="0"/>
            <a:r>
              <a:rPr lang="en-US"/>
              <a:t>Click to edit Master text styles</a:t>
            </a:r>
            <a:endParaRPr lang="fi-FI"/>
          </a:p>
        </p:txBody>
      </p:sp>
      <p:sp>
        <p:nvSpPr>
          <p:cNvPr id="4" name="Rectangle 25"/>
          <p:cNvSpPr>
            <a:spLocks noGrp="1" noChangeArrowheads="1"/>
          </p:cNvSpPr>
          <p:nvPr>
            <p:ph type="dt" sz="half" idx="14"/>
          </p:nvPr>
        </p:nvSpPr>
        <p:spPr>
          <a:ln/>
        </p:spPr>
        <p:txBody>
          <a:bodyPr/>
          <a:lstStyle>
            <a:lvl1pPr>
              <a:defRPr/>
            </a:lvl1pPr>
          </a:lstStyle>
          <a:p>
            <a:pPr>
              <a:defRPr/>
            </a:pPr>
            <a:fld id="{82B98B39-96D4-4F39-AAD0-4D21128FC856}" type="datetime3">
              <a:rPr lang="en-US" smtClean="0">
                <a:solidFill>
                  <a:srgbClr val="191919"/>
                </a:solidFill>
              </a:rPr>
              <a:t>13 April 2022</a:t>
            </a:fld>
            <a:endParaRPr lang="en-US">
              <a:solidFill>
                <a:srgbClr val="191919"/>
              </a:solidFill>
            </a:endParaRPr>
          </a:p>
        </p:txBody>
      </p:sp>
      <p:sp>
        <p:nvSpPr>
          <p:cNvPr id="5" name="Rectangle 26"/>
          <p:cNvSpPr>
            <a:spLocks noGrp="1" noChangeArrowheads="1"/>
          </p:cNvSpPr>
          <p:nvPr>
            <p:ph type="ftr" sz="quarter" idx="15"/>
          </p:nvPr>
        </p:nvSpPr>
        <p:spPr>
          <a:ln/>
        </p:spPr>
        <p:txBody>
          <a:bodyPr/>
          <a:lstStyle>
            <a:lvl1pPr>
              <a:defRPr/>
            </a:lvl1pPr>
          </a:lstStyle>
          <a:p>
            <a:pPr>
              <a:defRPr/>
            </a:pPr>
            <a:r>
              <a:rPr lang="en-US">
                <a:solidFill>
                  <a:srgbClr val="191919"/>
                </a:solidFill>
              </a:rPr>
              <a:t>Confidential  |  © KONE Corporation</a:t>
            </a:r>
          </a:p>
        </p:txBody>
      </p:sp>
      <p:sp>
        <p:nvSpPr>
          <p:cNvPr id="6" name="Rectangle 27"/>
          <p:cNvSpPr>
            <a:spLocks noGrp="1" noChangeArrowheads="1"/>
          </p:cNvSpPr>
          <p:nvPr>
            <p:ph type="sldNum" sz="quarter" idx="16"/>
          </p:nvPr>
        </p:nvSpPr>
        <p:spPr>
          <a:ln/>
        </p:spPr>
        <p:txBody>
          <a:bodyPr/>
          <a:lstStyle>
            <a:lvl1pPr>
              <a:defRPr/>
            </a:lvl1pPr>
          </a:lstStyle>
          <a:p>
            <a:pPr>
              <a:defRPr/>
            </a:pPr>
            <a:fld id="{D2248BB5-9DE5-47B6-91F2-4FF412DA9786}" type="slidenum">
              <a:rPr lang="en-US">
                <a:solidFill>
                  <a:srgbClr val="191919"/>
                </a:solidFill>
              </a:rPr>
              <a:pPr>
                <a:defRPr/>
              </a:pPr>
              <a:t>‹#›</a:t>
            </a:fld>
            <a:endParaRPr lang="en-US">
              <a:solidFill>
                <a:srgbClr val="191919"/>
              </a:solidFill>
            </a:endParaRPr>
          </a:p>
        </p:txBody>
      </p:sp>
      <p:sp>
        <p:nvSpPr>
          <p:cNvPr id="7" name="Picture Placeholder 5"/>
          <p:cNvSpPr>
            <a:spLocks noGrp="1"/>
          </p:cNvSpPr>
          <p:nvPr>
            <p:ph type="pic" sz="quarter" idx="17"/>
          </p:nvPr>
        </p:nvSpPr>
        <p:spPr>
          <a:xfrm>
            <a:off x="431800" y="1412875"/>
            <a:ext cx="3744384" cy="4679950"/>
          </a:xfrm>
          <a:solidFill>
            <a:schemeClr val="bg1">
              <a:lumMod val="75000"/>
            </a:schemeClr>
          </a:solidFill>
        </p:spPr>
        <p:txBody>
          <a:bodyPr/>
          <a:lstStyle>
            <a:lvl1pPr marL="0" indent="0">
              <a:buFontTx/>
              <a:buNone/>
              <a:defRPr/>
            </a:lvl1pPr>
          </a:lstStyle>
          <a:p>
            <a:r>
              <a:rPr lang="en-US"/>
              <a:t>Click icon to add picture</a:t>
            </a:r>
          </a:p>
        </p:txBody>
      </p:sp>
      <p:sp>
        <p:nvSpPr>
          <p:cNvPr id="11" name="Picture Placeholder 5"/>
          <p:cNvSpPr>
            <a:spLocks noGrp="1"/>
          </p:cNvSpPr>
          <p:nvPr>
            <p:ph type="pic" sz="quarter" idx="18"/>
          </p:nvPr>
        </p:nvSpPr>
        <p:spPr>
          <a:xfrm>
            <a:off x="4271434" y="1412876"/>
            <a:ext cx="3648769" cy="2304157"/>
          </a:xfrm>
          <a:solidFill>
            <a:schemeClr val="bg1">
              <a:lumMod val="75000"/>
            </a:schemeClr>
          </a:solidFill>
        </p:spPr>
        <p:txBody>
          <a:bodyPr/>
          <a:lstStyle>
            <a:lvl1pPr marL="0" indent="0">
              <a:buFontTx/>
              <a:buNone/>
              <a:defRPr/>
            </a:lvl1pPr>
          </a:lstStyle>
          <a:p>
            <a:r>
              <a:rPr lang="en-US"/>
              <a:t>Click icon to add picture</a:t>
            </a:r>
          </a:p>
        </p:txBody>
      </p:sp>
      <p:sp>
        <p:nvSpPr>
          <p:cNvPr id="12" name="Picture Placeholder 5"/>
          <p:cNvSpPr>
            <a:spLocks noGrp="1"/>
          </p:cNvSpPr>
          <p:nvPr>
            <p:ph type="pic" sz="quarter" idx="19"/>
          </p:nvPr>
        </p:nvSpPr>
        <p:spPr>
          <a:xfrm>
            <a:off x="4271434" y="3788669"/>
            <a:ext cx="3648769" cy="2304157"/>
          </a:xfrm>
          <a:solidFill>
            <a:schemeClr val="bg1">
              <a:lumMod val="75000"/>
            </a:schemeClr>
          </a:solidFill>
        </p:spPr>
        <p:txBody>
          <a:bodyPr/>
          <a:lstStyle>
            <a:lvl1pPr marL="0" indent="0">
              <a:buFontTx/>
              <a:buNone/>
              <a:defRPr/>
            </a:lvl1pPr>
          </a:lstStyle>
          <a:p>
            <a:r>
              <a:rPr lang="en-US"/>
              <a:t>Click icon to add picture</a:t>
            </a:r>
          </a:p>
        </p:txBody>
      </p:sp>
      <p:sp>
        <p:nvSpPr>
          <p:cNvPr id="13" name="Picture Placeholder 5"/>
          <p:cNvSpPr>
            <a:spLocks noGrp="1"/>
          </p:cNvSpPr>
          <p:nvPr>
            <p:ph type="pic" sz="quarter" idx="20"/>
          </p:nvPr>
        </p:nvSpPr>
        <p:spPr>
          <a:xfrm>
            <a:off x="8016213" y="3788669"/>
            <a:ext cx="3743987" cy="2304157"/>
          </a:xfrm>
          <a:solidFill>
            <a:schemeClr val="bg1">
              <a:lumMod val="75000"/>
            </a:schemeClr>
          </a:solidFill>
        </p:spPr>
        <p:txBody>
          <a:bodyPr/>
          <a:lstStyle>
            <a:lvl1pPr marL="0" indent="0">
              <a:buFontTx/>
              <a:buNone/>
              <a:defRPr/>
            </a:lvl1pPr>
          </a:lstStyle>
          <a:p>
            <a:r>
              <a:rPr lang="en-US"/>
              <a:t>Click icon to add picture</a:t>
            </a:r>
          </a:p>
        </p:txBody>
      </p:sp>
      <p:sp>
        <p:nvSpPr>
          <p:cNvPr id="14" name="Picture Placeholder 5"/>
          <p:cNvSpPr>
            <a:spLocks noGrp="1"/>
          </p:cNvSpPr>
          <p:nvPr>
            <p:ph type="pic" sz="quarter" idx="21"/>
          </p:nvPr>
        </p:nvSpPr>
        <p:spPr>
          <a:xfrm>
            <a:off x="8016213" y="1412876"/>
            <a:ext cx="3743987" cy="2304157"/>
          </a:xfrm>
          <a:solidFill>
            <a:schemeClr val="bg1">
              <a:lumMod val="75000"/>
            </a:schemeClr>
          </a:solidFill>
        </p:spPr>
        <p:txBody>
          <a:bodyPr/>
          <a:lstStyle>
            <a:lvl1pPr marL="0" indent="0">
              <a:buFontTx/>
              <a:buNone/>
              <a:defRPr/>
            </a:lvl1pPr>
          </a:lstStyle>
          <a:p>
            <a:r>
              <a:rPr lang="en-US"/>
              <a:t>Click icon to add picture</a:t>
            </a:r>
          </a:p>
        </p:txBody>
      </p:sp>
    </p:spTree>
    <p:extLst>
      <p:ext uri="{BB962C8B-B14F-4D97-AF65-F5344CB8AC3E}">
        <p14:creationId xmlns:p14="http://schemas.microsoft.com/office/powerpoint/2010/main" val="127833219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Section Header Blue (wholepicture) &amp; content">
    <p:spTree>
      <p:nvGrpSpPr>
        <p:cNvPr id="1" name=""/>
        <p:cNvGrpSpPr/>
        <p:nvPr/>
      </p:nvGrpSpPr>
      <p:grpSpPr>
        <a:xfrm>
          <a:off x="0" y="0"/>
          <a:ext cx="0" cy="0"/>
          <a:chOff x="0" y="0"/>
          <a:chExt cx="0" cy="0"/>
        </a:xfrm>
      </p:grpSpPr>
      <p:sp>
        <p:nvSpPr>
          <p:cNvPr id="12" name="Picture Placeholder 9"/>
          <p:cNvSpPr>
            <a:spLocks noGrp="1"/>
          </p:cNvSpPr>
          <p:nvPr>
            <p:ph type="pic" sz="quarter" idx="18"/>
          </p:nvPr>
        </p:nvSpPr>
        <p:spPr>
          <a:xfrm>
            <a:off x="0" y="0"/>
            <a:ext cx="12192000" cy="6858000"/>
          </a:xfrm>
          <a:solidFill>
            <a:schemeClr val="bg1">
              <a:lumMod val="75000"/>
            </a:schemeClr>
          </a:solidFill>
        </p:spPr>
        <p:txBody>
          <a:bodyPr/>
          <a:lstStyle>
            <a:lvl1pPr marL="0" indent="0">
              <a:buFontTx/>
              <a:buNone/>
              <a:defRPr/>
            </a:lvl1pPr>
          </a:lstStyle>
          <a:p>
            <a:endParaRPr lang="en-GB"/>
          </a:p>
        </p:txBody>
      </p:sp>
      <p:sp>
        <p:nvSpPr>
          <p:cNvPr id="2" name="Date Placeholder 1"/>
          <p:cNvSpPr>
            <a:spLocks noGrp="1"/>
          </p:cNvSpPr>
          <p:nvPr>
            <p:ph type="dt" sz="half" idx="10"/>
          </p:nvPr>
        </p:nvSpPr>
        <p:spPr/>
        <p:txBody>
          <a:bodyPr/>
          <a:lstStyle>
            <a:lvl1pPr>
              <a:defRPr>
                <a:noFill/>
              </a:defRPr>
            </a:lvl1pPr>
          </a:lstStyle>
          <a:p>
            <a:fld id="{06DC17E7-C33F-46BF-8655-3F126F803312}" type="datetime3">
              <a:rPr lang="en-US" smtClean="0"/>
              <a:t>13 April 2022</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
        <p:nvSpPr>
          <p:cNvPr id="8194" name="Rectangle 2"/>
          <p:cNvSpPr>
            <a:spLocks noGrp="1" noChangeArrowheads="1"/>
          </p:cNvSpPr>
          <p:nvPr>
            <p:ph type="ctrTitle" hasCustomPrompt="1"/>
          </p:nvPr>
        </p:nvSpPr>
        <p:spPr>
          <a:xfrm>
            <a:off x="0" y="0"/>
            <a:ext cx="6096000" cy="6858000"/>
          </a:xfrm>
          <a:solidFill>
            <a:schemeClr val="tx2">
              <a:alpha val="85000"/>
            </a:schemeClr>
          </a:solidFill>
        </p:spPr>
        <p:txBody>
          <a:bodyPr lIns="413876" tIns="395881" rIns="395881" bIns="3132000" anchor="t" anchorCtr="0"/>
          <a:lstStyle>
            <a:lvl1pPr>
              <a:defRPr sz="3200" cap="none" baseline="0">
                <a:solidFill>
                  <a:schemeClr val="bg1"/>
                </a:solidFill>
                <a:effectLst/>
              </a:defRPr>
            </a:lvl1pPr>
          </a:lstStyle>
          <a:p>
            <a:pPr lvl="0"/>
            <a:r>
              <a:rPr lang="en-US" noProof="0"/>
              <a:t>Add title text</a:t>
            </a:r>
          </a:p>
        </p:txBody>
      </p:sp>
      <p:sp>
        <p:nvSpPr>
          <p:cNvPr id="6" name="Content Placeholder 5"/>
          <p:cNvSpPr>
            <a:spLocks noGrp="1"/>
          </p:cNvSpPr>
          <p:nvPr>
            <p:ph sz="quarter" idx="19"/>
          </p:nvPr>
        </p:nvSpPr>
        <p:spPr>
          <a:xfrm>
            <a:off x="409469" y="1628775"/>
            <a:ext cx="5254845" cy="460707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8" name="Text Placeholder 6"/>
          <p:cNvSpPr>
            <a:spLocks noGrp="1" noChangeAspect="1"/>
          </p:cNvSpPr>
          <p:nvPr>
            <p:ph type="body" sz="quarter" idx="17" hasCustomPrompt="1"/>
          </p:nvPr>
        </p:nvSpPr>
        <p:spPr>
          <a:xfrm>
            <a:off x="11063519" y="403107"/>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Tree>
    <p:extLst>
      <p:ext uri="{BB962C8B-B14F-4D97-AF65-F5344CB8AC3E}">
        <p14:creationId xmlns:p14="http://schemas.microsoft.com/office/powerpoint/2010/main" val="244668330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Section Header Blue  (picture) &amp; content">
    <p:spTree>
      <p:nvGrpSpPr>
        <p:cNvPr id="1" name=""/>
        <p:cNvGrpSpPr/>
        <p:nvPr/>
      </p:nvGrpSpPr>
      <p:grpSpPr>
        <a:xfrm>
          <a:off x="0" y="0"/>
          <a:ext cx="0" cy="0"/>
          <a:chOff x="0" y="0"/>
          <a:chExt cx="0" cy="0"/>
        </a:xfrm>
      </p:grpSpPr>
      <p:sp>
        <p:nvSpPr>
          <p:cNvPr id="12" name="Picture Placeholder 9"/>
          <p:cNvSpPr>
            <a:spLocks noGrp="1"/>
          </p:cNvSpPr>
          <p:nvPr>
            <p:ph type="pic" sz="quarter" idx="18"/>
          </p:nvPr>
        </p:nvSpPr>
        <p:spPr>
          <a:xfrm>
            <a:off x="0" y="0"/>
            <a:ext cx="12192000" cy="6858000"/>
          </a:xfrm>
          <a:solidFill>
            <a:schemeClr val="bg1">
              <a:lumMod val="75000"/>
            </a:schemeClr>
          </a:solidFill>
        </p:spPr>
        <p:txBody>
          <a:bodyPr/>
          <a:lstStyle>
            <a:lvl1pPr marL="0" indent="0">
              <a:buFontTx/>
              <a:buNone/>
              <a:defRPr/>
            </a:lvl1pPr>
          </a:lstStyle>
          <a:p>
            <a:endParaRPr lang="en-GB"/>
          </a:p>
        </p:txBody>
      </p:sp>
      <p:sp>
        <p:nvSpPr>
          <p:cNvPr id="2" name="Date Placeholder 1"/>
          <p:cNvSpPr>
            <a:spLocks noGrp="1"/>
          </p:cNvSpPr>
          <p:nvPr>
            <p:ph type="dt" sz="half" idx="10"/>
          </p:nvPr>
        </p:nvSpPr>
        <p:spPr/>
        <p:txBody>
          <a:bodyPr/>
          <a:lstStyle>
            <a:lvl1pPr>
              <a:defRPr>
                <a:noFill/>
              </a:defRPr>
            </a:lvl1pPr>
          </a:lstStyle>
          <a:p>
            <a:fld id="{44FD9B86-B74D-4950-9506-A59F1B444543}" type="datetime3">
              <a:rPr lang="en-US" smtClean="0"/>
              <a:t>13 April 2022</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
        <p:nvSpPr>
          <p:cNvPr id="8194" name="Rectangle 2"/>
          <p:cNvSpPr>
            <a:spLocks noGrp="1" noChangeArrowheads="1"/>
          </p:cNvSpPr>
          <p:nvPr>
            <p:ph type="ctrTitle" hasCustomPrompt="1"/>
          </p:nvPr>
        </p:nvSpPr>
        <p:spPr>
          <a:xfrm>
            <a:off x="0" y="0"/>
            <a:ext cx="6096000" cy="6858000"/>
          </a:xfrm>
          <a:solidFill>
            <a:srgbClr val="0071B9">
              <a:alpha val="90000"/>
            </a:srgbClr>
          </a:solidFill>
        </p:spPr>
        <p:txBody>
          <a:bodyPr lIns="413876" tIns="395881" rIns="395881" bIns="3132000" anchor="b" anchorCtr="0"/>
          <a:lstStyle>
            <a:lvl1pPr>
              <a:defRPr sz="4000" cap="none" baseline="0">
                <a:solidFill>
                  <a:schemeClr val="bg1"/>
                </a:solidFill>
                <a:effectLst/>
              </a:defRPr>
            </a:lvl1pPr>
          </a:lstStyle>
          <a:p>
            <a:pPr lvl="0"/>
            <a:r>
              <a:rPr lang="en-US" noProof="0"/>
              <a:t>Add title text</a:t>
            </a:r>
          </a:p>
        </p:txBody>
      </p:sp>
      <p:sp>
        <p:nvSpPr>
          <p:cNvPr id="6" name="Content Placeholder 5"/>
          <p:cNvSpPr>
            <a:spLocks noGrp="1"/>
          </p:cNvSpPr>
          <p:nvPr>
            <p:ph sz="quarter" idx="19"/>
          </p:nvPr>
        </p:nvSpPr>
        <p:spPr>
          <a:xfrm>
            <a:off x="409469" y="3789363"/>
            <a:ext cx="5254845" cy="244648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8" name="Text Placeholder 6"/>
          <p:cNvSpPr>
            <a:spLocks noGrp="1" noChangeAspect="1"/>
          </p:cNvSpPr>
          <p:nvPr>
            <p:ph type="body" sz="quarter" idx="17" hasCustomPrompt="1"/>
          </p:nvPr>
        </p:nvSpPr>
        <p:spPr>
          <a:xfrm>
            <a:off x="11063519" y="403107"/>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Tree>
    <p:extLst>
      <p:ext uri="{BB962C8B-B14F-4D97-AF65-F5344CB8AC3E}">
        <p14:creationId xmlns:p14="http://schemas.microsoft.com/office/powerpoint/2010/main" val="107799212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ustom Highlight L">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lvl1pPr>
              <a:defRPr>
                <a:noFill/>
              </a:defRPr>
            </a:lvl1pPr>
          </a:lstStyle>
          <a:p>
            <a:fld id="{2E28BA85-4C28-4376-96D0-7E98AF725BD8}" type="datetime3">
              <a:rPr lang="en-US" smtClean="0"/>
              <a:t>13 April 2022</a:t>
            </a:fld>
            <a:endParaRPr lang="en-US"/>
          </a:p>
        </p:txBody>
      </p:sp>
      <p:sp>
        <p:nvSpPr>
          <p:cNvPr id="17" name="Footer Placeholder 16"/>
          <p:cNvSpPr>
            <a:spLocks noGrp="1"/>
          </p:cNvSpPr>
          <p:nvPr>
            <p:ph type="ftr" sz="quarter" idx="15"/>
          </p:nvPr>
        </p:nvSpPr>
        <p:spPr/>
        <p:txBody>
          <a:bodyPr/>
          <a:lstStyle>
            <a:lvl1pPr>
              <a:defRPr>
                <a:noFill/>
              </a:defRPr>
            </a:lvl1pPr>
          </a:lstStyle>
          <a:p>
            <a:r>
              <a:rPr lang="en-US"/>
              <a:t>Confidential  |  © KONE Corporation</a:t>
            </a:r>
          </a:p>
        </p:txBody>
      </p:sp>
      <p:sp>
        <p:nvSpPr>
          <p:cNvPr id="18" name="Slide Number Placeholder 17"/>
          <p:cNvSpPr>
            <a:spLocks noGrp="1"/>
          </p:cNvSpPr>
          <p:nvPr>
            <p:ph type="sldNum" sz="quarter" idx="16"/>
          </p:nvPr>
        </p:nvSpPr>
        <p:spPr/>
        <p:txBody>
          <a:bodyPr/>
          <a:lstStyle>
            <a:lvl1pPr>
              <a:defRPr>
                <a:noFill/>
              </a:defRPr>
            </a:lvl1pPr>
          </a:lstStyle>
          <a:p>
            <a:fld id="{604FC64F-66B6-486E-8EFE-9FD96A66D16B}" type="slidenum">
              <a:rPr lang="en-US" smtClean="0"/>
              <a:pPr/>
              <a:t>‹#›</a:t>
            </a:fld>
            <a:endParaRPr lang="en-US"/>
          </a:p>
        </p:txBody>
      </p:sp>
      <p:sp>
        <p:nvSpPr>
          <p:cNvPr id="8"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t>Click icon to add picture</a:t>
            </a:r>
            <a:endParaRPr lang="en-GB"/>
          </a:p>
        </p:txBody>
      </p:sp>
      <p:sp>
        <p:nvSpPr>
          <p:cNvPr id="2" name="Title 1"/>
          <p:cNvSpPr>
            <a:spLocks noGrp="1"/>
          </p:cNvSpPr>
          <p:nvPr>
            <p:ph type="title"/>
          </p:nvPr>
        </p:nvSpPr>
        <p:spPr>
          <a:xfrm>
            <a:off x="754898" y="0"/>
            <a:ext cx="3613312" cy="6858000"/>
          </a:xfrm>
          <a:prstGeom prst="rect">
            <a:avLst/>
          </a:prstGeom>
          <a:solidFill>
            <a:srgbClr val="FEFEFE">
              <a:alpha val="89804"/>
            </a:srgbClr>
          </a:solidFill>
          <a:ln>
            <a:noFill/>
          </a:ln>
          <a:effectLst/>
        </p:spPr>
        <p:txBody>
          <a:bodyPr vert="horz" wrap="square" lIns="215978" tIns="215978" rIns="215978" bIns="5328000" numCol="1" anchor="b" anchorCtr="0" compatLnSpc="1">
            <a:prstTxWarp prst="textNoShape">
              <a:avLst/>
            </a:prstTxWarp>
            <a:noAutofit/>
          </a:bodyPr>
          <a:lstStyle>
            <a:lvl1pPr>
              <a:lnSpc>
                <a:spcPct val="100000"/>
              </a:lnSpc>
              <a:defRPr lang="fi-FI" sz="2400" cap="none" spc="0" baseline="0">
                <a:solidFill>
                  <a:schemeClr val="hlink"/>
                </a:solidFill>
              </a:defRPr>
            </a:lvl1pPr>
          </a:lstStyle>
          <a:p>
            <a:pPr lvl="0"/>
            <a:r>
              <a:rPr lang="en-US"/>
              <a:t>Click to edit Master title style</a:t>
            </a:r>
            <a:endParaRPr lang="fi-FI"/>
          </a:p>
        </p:txBody>
      </p:sp>
      <p:sp>
        <p:nvSpPr>
          <p:cNvPr id="5" name="Text Placeholder 4"/>
          <p:cNvSpPr>
            <a:spLocks noGrp="1"/>
          </p:cNvSpPr>
          <p:nvPr>
            <p:ph type="body" sz="quarter" idx="19"/>
          </p:nvPr>
        </p:nvSpPr>
        <p:spPr>
          <a:xfrm>
            <a:off x="983994" y="1628775"/>
            <a:ext cx="3168242" cy="4822919"/>
          </a:xfrm>
          <a:prstGeom prst="rect">
            <a:avLst/>
          </a:prstGeom>
        </p:spPr>
        <p:txBody>
          <a:bodyPr/>
          <a:lstStyle>
            <a:lvl1pPr marL="0" indent="0">
              <a:lnSpc>
                <a:spcPct val="120000"/>
              </a:lnSpc>
              <a:spcBef>
                <a:spcPts val="400"/>
              </a:spcBef>
              <a:buClrTx/>
              <a:buNone/>
              <a:defRPr sz="1600">
                <a:solidFill>
                  <a:schemeClr val="tx2"/>
                </a:solidFill>
              </a:defRPr>
            </a:lvl1pPr>
            <a:lvl2pPr marL="266620" indent="-266620">
              <a:lnSpc>
                <a:spcPct val="120000"/>
              </a:lnSpc>
              <a:spcBef>
                <a:spcPts val="400"/>
              </a:spcBef>
              <a:buClrTx/>
              <a:buFont typeface="Wingdings" pitchFamily="2" charset="2"/>
              <a:buChar char="§"/>
              <a:defRPr sz="1600">
                <a:solidFill>
                  <a:schemeClr val="tx2"/>
                </a:solidFill>
              </a:defRPr>
            </a:lvl2pPr>
            <a:lvl3pPr marL="539588" indent="-272968">
              <a:lnSpc>
                <a:spcPct val="120000"/>
              </a:lnSpc>
              <a:spcBef>
                <a:spcPts val="400"/>
              </a:spcBef>
              <a:buClrTx/>
              <a:buFont typeface="Arial" panose="020B0604020202020204" pitchFamily="34" charset="0"/>
              <a:buChar char="−"/>
              <a:defRPr sz="1400">
                <a:solidFill>
                  <a:schemeClr val="tx2"/>
                </a:solidFill>
              </a:defRPr>
            </a:lvl3pPr>
            <a:lvl4pPr marL="806208" indent="-266620">
              <a:lnSpc>
                <a:spcPct val="120000"/>
              </a:lnSpc>
              <a:spcBef>
                <a:spcPts val="400"/>
              </a:spcBef>
              <a:buClrTx/>
              <a:buFont typeface="Wingdings" panose="05000000000000000000" pitchFamily="2" charset="2"/>
              <a:buChar char="§"/>
              <a:defRPr sz="1200">
                <a:solidFill>
                  <a:schemeClr val="tx2"/>
                </a:solidFill>
              </a:defRPr>
            </a:lvl4pPr>
            <a:lvl5pPr marL="1071242" indent="-265033">
              <a:lnSpc>
                <a:spcPct val="120000"/>
              </a:lnSpc>
              <a:spcBef>
                <a:spcPts val="400"/>
              </a:spcBef>
              <a:buClrTx/>
              <a:buFont typeface="Arial" panose="020B0604020202020204" pitchFamily="34" charset="0"/>
              <a:buChar char="−"/>
              <a:defRPr sz="120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6"/>
          <p:cNvSpPr>
            <a:spLocks noGrp="1" noChangeAspect="1"/>
          </p:cNvSpPr>
          <p:nvPr>
            <p:ph type="body" sz="quarter" idx="17" hasCustomPrompt="1"/>
          </p:nvPr>
        </p:nvSpPr>
        <p:spPr>
          <a:xfrm>
            <a:off x="11063519" y="403107"/>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Tree>
    <p:extLst>
      <p:ext uri="{BB962C8B-B14F-4D97-AF65-F5344CB8AC3E}">
        <p14:creationId xmlns:p14="http://schemas.microsoft.com/office/powerpoint/2010/main" val="352306877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ustom Highlight 2 L">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lvl1pPr>
              <a:defRPr>
                <a:noFill/>
              </a:defRPr>
            </a:lvl1pPr>
          </a:lstStyle>
          <a:p>
            <a:fld id="{CA3312C1-16F8-4B47-B9C6-EA7168F4BB06}" type="datetime3">
              <a:rPr lang="en-US" smtClean="0"/>
              <a:t>13 April 2022</a:t>
            </a:fld>
            <a:endParaRPr lang="en-US"/>
          </a:p>
        </p:txBody>
      </p:sp>
      <p:sp>
        <p:nvSpPr>
          <p:cNvPr id="17" name="Footer Placeholder 16"/>
          <p:cNvSpPr>
            <a:spLocks noGrp="1"/>
          </p:cNvSpPr>
          <p:nvPr>
            <p:ph type="ftr" sz="quarter" idx="15"/>
          </p:nvPr>
        </p:nvSpPr>
        <p:spPr/>
        <p:txBody>
          <a:bodyPr/>
          <a:lstStyle>
            <a:lvl1pPr>
              <a:defRPr>
                <a:noFill/>
              </a:defRPr>
            </a:lvl1pPr>
          </a:lstStyle>
          <a:p>
            <a:r>
              <a:rPr lang="en-US"/>
              <a:t>Confidential  |  © KONE Corporation</a:t>
            </a:r>
          </a:p>
        </p:txBody>
      </p:sp>
      <p:sp>
        <p:nvSpPr>
          <p:cNvPr id="18" name="Slide Number Placeholder 17"/>
          <p:cNvSpPr>
            <a:spLocks noGrp="1"/>
          </p:cNvSpPr>
          <p:nvPr>
            <p:ph type="sldNum" sz="quarter" idx="16"/>
          </p:nvPr>
        </p:nvSpPr>
        <p:spPr/>
        <p:txBody>
          <a:bodyPr/>
          <a:lstStyle>
            <a:lvl1pPr>
              <a:defRPr>
                <a:noFill/>
              </a:defRPr>
            </a:lvl1pPr>
          </a:lstStyle>
          <a:p>
            <a:fld id="{604FC64F-66B6-486E-8EFE-9FD96A66D16B}" type="slidenum">
              <a:rPr lang="en-US" smtClean="0"/>
              <a:pPr/>
              <a:t>‹#›</a:t>
            </a:fld>
            <a:endParaRPr lang="en-US"/>
          </a:p>
        </p:txBody>
      </p:sp>
      <p:sp>
        <p:nvSpPr>
          <p:cNvPr id="8"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t>Click icon to add picture</a:t>
            </a:r>
            <a:endParaRPr lang="en-GB"/>
          </a:p>
        </p:txBody>
      </p:sp>
      <p:sp>
        <p:nvSpPr>
          <p:cNvPr id="2" name="Title 1"/>
          <p:cNvSpPr>
            <a:spLocks noGrp="1"/>
          </p:cNvSpPr>
          <p:nvPr>
            <p:ph type="title"/>
          </p:nvPr>
        </p:nvSpPr>
        <p:spPr>
          <a:xfrm>
            <a:off x="754898" y="0"/>
            <a:ext cx="3613312" cy="6858000"/>
          </a:xfrm>
          <a:prstGeom prst="rect">
            <a:avLst/>
          </a:prstGeom>
          <a:solidFill>
            <a:schemeClr val="tx2">
              <a:alpha val="85098"/>
            </a:schemeClr>
          </a:solidFill>
          <a:ln>
            <a:noFill/>
          </a:ln>
          <a:effectLst/>
        </p:spPr>
        <p:txBody>
          <a:bodyPr vert="horz" wrap="square" lIns="215978" tIns="215978" rIns="215978" bIns="5328000" numCol="1" anchor="b" anchorCtr="0" compatLnSpc="1">
            <a:prstTxWarp prst="textNoShape">
              <a:avLst/>
            </a:prstTxWarp>
            <a:noAutofit/>
          </a:bodyPr>
          <a:lstStyle>
            <a:lvl1pPr>
              <a:lnSpc>
                <a:spcPct val="100000"/>
              </a:lnSpc>
              <a:defRPr lang="fi-FI" sz="2400" cap="none" spc="0" baseline="0">
                <a:solidFill>
                  <a:schemeClr val="bg1"/>
                </a:solidFill>
              </a:defRPr>
            </a:lvl1pPr>
          </a:lstStyle>
          <a:p>
            <a:pPr lvl="0"/>
            <a:r>
              <a:rPr lang="en-US"/>
              <a:t>Click to edit Master title style</a:t>
            </a:r>
            <a:endParaRPr lang="fi-FI"/>
          </a:p>
        </p:txBody>
      </p:sp>
      <p:sp>
        <p:nvSpPr>
          <p:cNvPr id="5" name="Text Placeholder 4"/>
          <p:cNvSpPr>
            <a:spLocks noGrp="1"/>
          </p:cNvSpPr>
          <p:nvPr>
            <p:ph type="body" sz="quarter" idx="19"/>
          </p:nvPr>
        </p:nvSpPr>
        <p:spPr>
          <a:xfrm>
            <a:off x="983994" y="1628775"/>
            <a:ext cx="3168242" cy="4822919"/>
          </a:xfrm>
          <a:prstGeom prst="rect">
            <a:avLst/>
          </a:prstGeom>
        </p:spPr>
        <p:txBody>
          <a:bodyPr/>
          <a:lstStyle>
            <a:lvl1pPr marL="0" indent="0">
              <a:lnSpc>
                <a:spcPct val="120000"/>
              </a:lnSpc>
              <a:spcBef>
                <a:spcPts val="400"/>
              </a:spcBef>
              <a:buClr>
                <a:schemeClr val="bg1"/>
              </a:buClr>
              <a:buNone/>
              <a:defRPr sz="1600">
                <a:solidFill>
                  <a:schemeClr val="bg1"/>
                </a:solidFill>
              </a:defRPr>
            </a:lvl1pPr>
            <a:lvl2pPr marL="266620" indent="-266620">
              <a:lnSpc>
                <a:spcPct val="120000"/>
              </a:lnSpc>
              <a:spcBef>
                <a:spcPts val="400"/>
              </a:spcBef>
              <a:buClr>
                <a:schemeClr val="bg1"/>
              </a:buClr>
              <a:buFont typeface="Wingdings" pitchFamily="2" charset="2"/>
              <a:buChar char="§"/>
              <a:defRPr sz="1600">
                <a:solidFill>
                  <a:schemeClr val="bg1"/>
                </a:solidFill>
              </a:defRPr>
            </a:lvl2pPr>
            <a:lvl3pPr marL="539588" indent="-272968">
              <a:lnSpc>
                <a:spcPct val="120000"/>
              </a:lnSpc>
              <a:spcBef>
                <a:spcPts val="400"/>
              </a:spcBef>
              <a:buClr>
                <a:schemeClr val="bg1"/>
              </a:buClr>
              <a:buFont typeface="Arial" panose="020B0604020202020204" pitchFamily="34" charset="0"/>
              <a:buChar char="−"/>
              <a:defRPr sz="1400">
                <a:solidFill>
                  <a:schemeClr val="bg1"/>
                </a:solidFill>
              </a:defRPr>
            </a:lvl3pPr>
            <a:lvl4pPr marL="806208" indent="-266620">
              <a:lnSpc>
                <a:spcPct val="120000"/>
              </a:lnSpc>
              <a:spcBef>
                <a:spcPts val="400"/>
              </a:spcBef>
              <a:buClr>
                <a:schemeClr val="bg1"/>
              </a:buClr>
              <a:buFont typeface="Wingdings" panose="05000000000000000000" pitchFamily="2" charset="2"/>
              <a:buChar char="§"/>
              <a:defRPr sz="1200">
                <a:solidFill>
                  <a:schemeClr val="bg1"/>
                </a:solidFill>
              </a:defRPr>
            </a:lvl4pPr>
            <a:lvl5pPr marL="1071242" indent="-265033">
              <a:lnSpc>
                <a:spcPct val="120000"/>
              </a:lnSpc>
              <a:spcBef>
                <a:spcPts val="400"/>
              </a:spcBef>
              <a:buClr>
                <a:schemeClr val="bg1"/>
              </a:buClr>
              <a:buFont typeface="Arial" panose="020B0604020202020204" pitchFamily="34" charset="0"/>
              <a:buChar char="−"/>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6"/>
          <p:cNvSpPr>
            <a:spLocks noGrp="1" noChangeAspect="1"/>
          </p:cNvSpPr>
          <p:nvPr>
            <p:ph type="body" sz="quarter" idx="17" hasCustomPrompt="1"/>
          </p:nvPr>
        </p:nvSpPr>
        <p:spPr>
          <a:xfrm>
            <a:off x="11063519" y="403107"/>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Tree>
    <p:extLst>
      <p:ext uri="{BB962C8B-B14F-4D97-AF65-F5344CB8AC3E}">
        <p14:creationId xmlns:p14="http://schemas.microsoft.com/office/powerpoint/2010/main" val="126283660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Custom Highlight L">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lvl1pPr>
              <a:defRPr>
                <a:noFill/>
              </a:defRPr>
            </a:lvl1pPr>
          </a:lstStyle>
          <a:p>
            <a:fld id="{4E6F999E-E2ED-4A8E-B7C5-6EFA7B23C9F4}" type="datetime3">
              <a:rPr lang="en-US" smtClean="0"/>
              <a:t>13 April 2022</a:t>
            </a:fld>
            <a:endParaRPr lang="en-US"/>
          </a:p>
        </p:txBody>
      </p:sp>
      <p:sp>
        <p:nvSpPr>
          <p:cNvPr id="17" name="Footer Placeholder 16"/>
          <p:cNvSpPr>
            <a:spLocks noGrp="1"/>
          </p:cNvSpPr>
          <p:nvPr>
            <p:ph type="ftr" sz="quarter" idx="15"/>
          </p:nvPr>
        </p:nvSpPr>
        <p:spPr/>
        <p:txBody>
          <a:bodyPr/>
          <a:lstStyle>
            <a:lvl1pPr>
              <a:defRPr>
                <a:noFill/>
              </a:defRPr>
            </a:lvl1pPr>
          </a:lstStyle>
          <a:p>
            <a:r>
              <a:rPr lang="en-US"/>
              <a:t>Confidential  |  © KONE Corporation</a:t>
            </a:r>
          </a:p>
        </p:txBody>
      </p:sp>
      <p:sp>
        <p:nvSpPr>
          <p:cNvPr id="18" name="Slide Number Placeholder 17"/>
          <p:cNvSpPr>
            <a:spLocks noGrp="1"/>
          </p:cNvSpPr>
          <p:nvPr>
            <p:ph type="sldNum" sz="quarter" idx="16"/>
          </p:nvPr>
        </p:nvSpPr>
        <p:spPr/>
        <p:txBody>
          <a:bodyPr/>
          <a:lstStyle>
            <a:lvl1pPr>
              <a:defRPr>
                <a:noFill/>
              </a:defRPr>
            </a:lvl1pPr>
          </a:lstStyle>
          <a:p>
            <a:fld id="{604FC64F-66B6-486E-8EFE-9FD96A66D16B}" type="slidenum">
              <a:rPr lang="en-US" smtClean="0"/>
              <a:pPr/>
              <a:t>‹#›</a:t>
            </a:fld>
            <a:endParaRPr lang="en-US"/>
          </a:p>
        </p:txBody>
      </p:sp>
      <p:sp>
        <p:nvSpPr>
          <p:cNvPr id="8"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t>Click icon to add picture</a:t>
            </a:r>
            <a:endParaRPr lang="en-GB"/>
          </a:p>
        </p:txBody>
      </p:sp>
      <p:sp>
        <p:nvSpPr>
          <p:cNvPr id="2" name="Title 1"/>
          <p:cNvSpPr>
            <a:spLocks noGrp="1"/>
          </p:cNvSpPr>
          <p:nvPr>
            <p:ph type="title"/>
          </p:nvPr>
        </p:nvSpPr>
        <p:spPr>
          <a:xfrm>
            <a:off x="7811428" y="0"/>
            <a:ext cx="3613312" cy="6858000"/>
          </a:xfrm>
          <a:prstGeom prst="rect">
            <a:avLst/>
          </a:prstGeom>
          <a:solidFill>
            <a:srgbClr val="FEFEFE">
              <a:alpha val="89804"/>
            </a:srgbClr>
          </a:solidFill>
          <a:ln>
            <a:noFill/>
          </a:ln>
          <a:effectLst/>
        </p:spPr>
        <p:txBody>
          <a:bodyPr vert="horz" wrap="square" lIns="215978" tIns="215978" rIns="215978" bIns="5328000" numCol="1" anchor="b" anchorCtr="0" compatLnSpc="1">
            <a:prstTxWarp prst="textNoShape">
              <a:avLst/>
            </a:prstTxWarp>
            <a:noAutofit/>
          </a:bodyPr>
          <a:lstStyle>
            <a:lvl1pPr>
              <a:lnSpc>
                <a:spcPct val="100000"/>
              </a:lnSpc>
              <a:defRPr lang="fi-FI" sz="2400" cap="none" spc="0" baseline="0">
                <a:solidFill>
                  <a:schemeClr val="hlink"/>
                </a:solidFill>
              </a:defRPr>
            </a:lvl1pPr>
          </a:lstStyle>
          <a:p>
            <a:pPr lvl="0"/>
            <a:r>
              <a:rPr lang="en-US"/>
              <a:t>Click to edit Master title style</a:t>
            </a:r>
            <a:endParaRPr lang="fi-FI"/>
          </a:p>
        </p:txBody>
      </p:sp>
      <p:sp>
        <p:nvSpPr>
          <p:cNvPr id="5" name="Text Placeholder 4"/>
          <p:cNvSpPr>
            <a:spLocks noGrp="1"/>
          </p:cNvSpPr>
          <p:nvPr>
            <p:ph type="body" sz="quarter" idx="19"/>
          </p:nvPr>
        </p:nvSpPr>
        <p:spPr>
          <a:xfrm>
            <a:off x="8040524" y="1628775"/>
            <a:ext cx="3168242" cy="4822919"/>
          </a:xfrm>
          <a:prstGeom prst="rect">
            <a:avLst/>
          </a:prstGeom>
        </p:spPr>
        <p:txBody>
          <a:bodyPr/>
          <a:lstStyle>
            <a:lvl1pPr marL="0" indent="0">
              <a:lnSpc>
                <a:spcPct val="120000"/>
              </a:lnSpc>
              <a:spcBef>
                <a:spcPts val="400"/>
              </a:spcBef>
              <a:buClrTx/>
              <a:buNone/>
              <a:defRPr sz="1600">
                <a:solidFill>
                  <a:schemeClr val="tx2"/>
                </a:solidFill>
              </a:defRPr>
            </a:lvl1pPr>
            <a:lvl2pPr marL="266620" indent="-266620">
              <a:lnSpc>
                <a:spcPct val="120000"/>
              </a:lnSpc>
              <a:spcBef>
                <a:spcPts val="400"/>
              </a:spcBef>
              <a:buClrTx/>
              <a:buFont typeface="Wingdings" pitchFamily="2" charset="2"/>
              <a:buChar char="§"/>
              <a:defRPr sz="1600">
                <a:solidFill>
                  <a:schemeClr val="tx2"/>
                </a:solidFill>
              </a:defRPr>
            </a:lvl2pPr>
            <a:lvl3pPr marL="539588" indent="-272968">
              <a:lnSpc>
                <a:spcPct val="120000"/>
              </a:lnSpc>
              <a:spcBef>
                <a:spcPts val="400"/>
              </a:spcBef>
              <a:buClrTx/>
              <a:buFont typeface="Arial" panose="020B0604020202020204" pitchFamily="34" charset="0"/>
              <a:buChar char="−"/>
              <a:defRPr sz="1400">
                <a:solidFill>
                  <a:schemeClr val="tx2"/>
                </a:solidFill>
              </a:defRPr>
            </a:lvl3pPr>
            <a:lvl4pPr marL="806208" indent="-266620">
              <a:lnSpc>
                <a:spcPct val="120000"/>
              </a:lnSpc>
              <a:spcBef>
                <a:spcPts val="400"/>
              </a:spcBef>
              <a:buClrTx/>
              <a:buFont typeface="Wingdings" panose="05000000000000000000" pitchFamily="2" charset="2"/>
              <a:buChar char="§"/>
              <a:defRPr sz="1200">
                <a:solidFill>
                  <a:schemeClr val="tx2"/>
                </a:solidFill>
              </a:defRPr>
            </a:lvl4pPr>
            <a:lvl5pPr marL="1071242" indent="-265033">
              <a:lnSpc>
                <a:spcPct val="120000"/>
              </a:lnSpc>
              <a:spcBef>
                <a:spcPts val="400"/>
              </a:spcBef>
              <a:buClrTx/>
              <a:buFont typeface="Arial" panose="020B0604020202020204" pitchFamily="34" charset="0"/>
              <a:buChar char="−"/>
              <a:defRPr sz="120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8490437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Custom Highlight 2 L">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lvl1pPr>
              <a:defRPr>
                <a:noFill/>
              </a:defRPr>
            </a:lvl1pPr>
          </a:lstStyle>
          <a:p>
            <a:fld id="{904F681E-BAE8-4190-8061-C669B1596438}" type="datetime3">
              <a:rPr lang="en-US" smtClean="0"/>
              <a:t>13 April 2022</a:t>
            </a:fld>
            <a:endParaRPr lang="en-US"/>
          </a:p>
        </p:txBody>
      </p:sp>
      <p:sp>
        <p:nvSpPr>
          <p:cNvPr id="17" name="Footer Placeholder 16"/>
          <p:cNvSpPr>
            <a:spLocks noGrp="1"/>
          </p:cNvSpPr>
          <p:nvPr>
            <p:ph type="ftr" sz="quarter" idx="15"/>
          </p:nvPr>
        </p:nvSpPr>
        <p:spPr/>
        <p:txBody>
          <a:bodyPr/>
          <a:lstStyle>
            <a:lvl1pPr>
              <a:defRPr>
                <a:noFill/>
              </a:defRPr>
            </a:lvl1pPr>
          </a:lstStyle>
          <a:p>
            <a:r>
              <a:rPr lang="en-US"/>
              <a:t>Confidential  |  © KONE Corporation</a:t>
            </a:r>
          </a:p>
        </p:txBody>
      </p:sp>
      <p:sp>
        <p:nvSpPr>
          <p:cNvPr id="18" name="Slide Number Placeholder 17"/>
          <p:cNvSpPr>
            <a:spLocks noGrp="1"/>
          </p:cNvSpPr>
          <p:nvPr>
            <p:ph type="sldNum" sz="quarter" idx="16"/>
          </p:nvPr>
        </p:nvSpPr>
        <p:spPr/>
        <p:txBody>
          <a:bodyPr/>
          <a:lstStyle>
            <a:lvl1pPr>
              <a:defRPr>
                <a:noFill/>
              </a:defRPr>
            </a:lvl1pPr>
          </a:lstStyle>
          <a:p>
            <a:fld id="{604FC64F-66B6-486E-8EFE-9FD96A66D16B}" type="slidenum">
              <a:rPr lang="en-US" smtClean="0"/>
              <a:pPr/>
              <a:t>‹#›</a:t>
            </a:fld>
            <a:endParaRPr lang="en-US"/>
          </a:p>
        </p:txBody>
      </p:sp>
      <p:sp>
        <p:nvSpPr>
          <p:cNvPr id="8"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t>Click icon to add picture</a:t>
            </a:r>
            <a:endParaRPr lang="en-GB"/>
          </a:p>
        </p:txBody>
      </p:sp>
      <p:sp>
        <p:nvSpPr>
          <p:cNvPr id="2" name="Title 1"/>
          <p:cNvSpPr>
            <a:spLocks noGrp="1"/>
          </p:cNvSpPr>
          <p:nvPr>
            <p:ph type="title"/>
          </p:nvPr>
        </p:nvSpPr>
        <p:spPr>
          <a:xfrm>
            <a:off x="7811428" y="0"/>
            <a:ext cx="3613312" cy="6858000"/>
          </a:xfrm>
          <a:prstGeom prst="rect">
            <a:avLst/>
          </a:prstGeom>
          <a:solidFill>
            <a:schemeClr val="tx2">
              <a:alpha val="85098"/>
            </a:schemeClr>
          </a:solidFill>
          <a:ln>
            <a:noFill/>
          </a:ln>
          <a:effectLst/>
        </p:spPr>
        <p:txBody>
          <a:bodyPr vert="horz" wrap="square" lIns="215978" tIns="215978" rIns="215978" bIns="5328000" numCol="1" anchor="b" anchorCtr="0" compatLnSpc="1">
            <a:prstTxWarp prst="textNoShape">
              <a:avLst/>
            </a:prstTxWarp>
            <a:noAutofit/>
          </a:bodyPr>
          <a:lstStyle>
            <a:lvl1pPr>
              <a:lnSpc>
                <a:spcPct val="100000"/>
              </a:lnSpc>
              <a:defRPr lang="fi-FI" sz="2400" cap="none" spc="0" baseline="0">
                <a:solidFill>
                  <a:schemeClr val="bg1"/>
                </a:solidFill>
              </a:defRPr>
            </a:lvl1pPr>
          </a:lstStyle>
          <a:p>
            <a:pPr lvl="0"/>
            <a:r>
              <a:rPr lang="en-US"/>
              <a:t>Click to edit Master title style</a:t>
            </a:r>
            <a:endParaRPr lang="fi-FI"/>
          </a:p>
        </p:txBody>
      </p:sp>
      <p:sp>
        <p:nvSpPr>
          <p:cNvPr id="5" name="Text Placeholder 4"/>
          <p:cNvSpPr>
            <a:spLocks noGrp="1"/>
          </p:cNvSpPr>
          <p:nvPr>
            <p:ph type="body" sz="quarter" idx="19"/>
          </p:nvPr>
        </p:nvSpPr>
        <p:spPr>
          <a:xfrm>
            <a:off x="8040524" y="1628775"/>
            <a:ext cx="3168242" cy="4822919"/>
          </a:xfrm>
          <a:prstGeom prst="rect">
            <a:avLst/>
          </a:prstGeom>
        </p:spPr>
        <p:txBody>
          <a:bodyPr/>
          <a:lstStyle>
            <a:lvl1pPr marL="0" indent="0">
              <a:lnSpc>
                <a:spcPct val="120000"/>
              </a:lnSpc>
              <a:spcBef>
                <a:spcPts val="400"/>
              </a:spcBef>
              <a:buClr>
                <a:schemeClr val="bg1"/>
              </a:buClr>
              <a:buNone/>
              <a:defRPr sz="1600">
                <a:solidFill>
                  <a:schemeClr val="bg1"/>
                </a:solidFill>
              </a:defRPr>
            </a:lvl1pPr>
            <a:lvl2pPr marL="266620" indent="-266620">
              <a:lnSpc>
                <a:spcPct val="120000"/>
              </a:lnSpc>
              <a:spcBef>
                <a:spcPts val="400"/>
              </a:spcBef>
              <a:buClr>
                <a:schemeClr val="bg1"/>
              </a:buClr>
              <a:buFont typeface="Wingdings" pitchFamily="2" charset="2"/>
              <a:buChar char="§"/>
              <a:defRPr sz="1600">
                <a:solidFill>
                  <a:schemeClr val="bg1"/>
                </a:solidFill>
              </a:defRPr>
            </a:lvl2pPr>
            <a:lvl3pPr marL="539588" indent="-272968">
              <a:lnSpc>
                <a:spcPct val="120000"/>
              </a:lnSpc>
              <a:spcBef>
                <a:spcPts val="400"/>
              </a:spcBef>
              <a:buClr>
                <a:schemeClr val="bg1"/>
              </a:buClr>
              <a:buFont typeface="Arial" panose="020B0604020202020204" pitchFamily="34" charset="0"/>
              <a:buChar char="−"/>
              <a:defRPr sz="1400">
                <a:solidFill>
                  <a:schemeClr val="bg1"/>
                </a:solidFill>
              </a:defRPr>
            </a:lvl3pPr>
            <a:lvl4pPr marL="806208" indent="-266620">
              <a:lnSpc>
                <a:spcPct val="120000"/>
              </a:lnSpc>
              <a:spcBef>
                <a:spcPts val="400"/>
              </a:spcBef>
              <a:buClr>
                <a:schemeClr val="bg1"/>
              </a:buClr>
              <a:buFont typeface="Wingdings" panose="05000000000000000000" pitchFamily="2" charset="2"/>
              <a:buChar char="§"/>
              <a:defRPr sz="1200">
                <a:solidFill>
                  <a:schemeClr val="bg1"/>
                </a:solidFill>
              </a:defRPr>
            </a:lvl4pPr>
            <a:lvl5pPr marL="1071242" indent="-265033">
              <a:lnSpc>
                <a:spcPct val="120000"/>
              </a:lnSpc>
              <a:spcBef>
                <a:spcPts val="400"/>
              </a:spcBef>
              <a:buClr>
                <a:schemeClr val="bg1"/>
              </a:buClr>
              <a:buFont typeface="Arial" panose="020B0604020202020204" pitchFamily="34" charset="0"/>
              <a:buChar char="−"/>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087895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Blue (pictur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2109067A-44F2-4308-858C-74E1DDD89E1C}" type="datetime3">
              <a:rPr lang="en-US" smtClean="0"/>
              <a:t>13 April 2022</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t>Click icon to add picture</a:t>
            </a:r>
            <a:endParaRPr lang="en-GB"/>
          </a:p>
        </p:txBody>
      </p:sp>
      <p:sp>
        <p:nvSpPr>
          <p:cNvPr id="8194" name="Rectangle 2"/>
          <p:cNvSpPr>
            <a:spLocks noGrp="1" noChangeArrowheads="1"/>
          </p:cNvSpPr>
          <p:nvPr>
            <p:ph type="ctrTitle" hasCustomPrompt="1"/>
          </p:nvPr>
        </p:nvSpPr>
        <p:spPr>
          <a:xfrm>
            <a:off x="0" y="0"/>
            <a:ext cx="6096000" cy="6858000"/>
          </a:xfrm>
          <a:prstGeom prst="rect">
            <a:avLst/>
          </a:prstGeom>
          <a:solidFill>
            <a:srgbClr val="0071B9">
              <a:alpha val="85000"/>
            </a:srgbClr>
          </a:solidFill>
        </p:spPr>
        <p:txBody>
          <a:bodyPr lIns="413876" tIns="395881" rIns="395881" bIns="1331600" anchor="b" anchorCtr="0"/>
          <a:lstStyle>
            <a:lvl1pPr>
              <a:defRPr sz="3200" cap="none" baseline="0">
                <a:solidFill>
                  <a:schemeClr val="bg1"/>
                </a:solidFill>
                <a:effectLst/>
              </a:defRPr>
            </a:lvl1pPr>
          </a:lstStyle>
          <a:p>
            <a:pPr lvl="0"/>
            <a:r>
              <a:rPr lang="en-US" noProof="0"/>
              <a:t>Add title text</a:t>
            </a:r>
          </a:p>
        </p:txBody>
      </p:sp>
      <p:sp>
        <p:nvSpPr>
          <p:cNvPr id="8195" name="Rectangle 3"/>
          <p:cNvSpPr>
            <a:spLocks noGrp="1" noChangeArrowheads="1"/>
          </p:cNvSpPr>
          <p:nvPr>
            <p:ph type="subTitle" idx="1"/>
          </p:nvPr>
        </p:nvSpPr>
        <p:spPr>
          <a:xfrm>
            <a:off x="409469" y="5588295"/>
            <a:ext cx="5254585" cy="647549"/>
          </a:xfrm>
          <a:prstGeom prst="rect">
            <a:avLst/>
          </a:prstGeom>
        </p:spPr>
        <p:txBody>
          <a:bodyPr anchor="t" anchorCtr="0"/>
          <a:lstStyle>
            <a:lvl1pPr marL="0" indent="0">
              <a:lnSpc>
                <a:spcPct val="100000"/>
              </a:lnSpc>
              <a:spcBef>
                <a:spcPts val="0"/>
              </a:spcBef>
              <a:buFont typeface="Wingdings" pitchFamily="2" charset="2"/>
              <a:buNone/>
              <a:defRPr sz="1600" u="none" cap="all" baseline="0">
                <a:solidFill>
                  <a:schemeClr val="bg1"/>
                </a:solidFill>
                <a:effectLst/>
                <a:uFillTx/>
              </a:defRPr>
            </a:lvl1pPr>
          </a:lstStyle>
          <a:p>
            <a:pPr lvl="0"/>
            <a:r>
              <a:rPr lang="en-US" noProof="0"/>
              <a:t>Click to edit Master subtitle style</a:t>
            </a:r>
          </a:p>
        </p:txBody>
      </p:sp>
      <p:sp>
        <p:nvSpPr>
          <p:cNvPr id="8" name="Text Placeholder 6"/>
          <p:cNvSpPr>
            <a:spLocks noGrp="1" noChangeAspect="1"/>
          </p:cNvSpPr>
          <p:nvPr>
            <p:ph type="body" sz="quarter" idx="17" hasCustomPrompt="1"/>
          </p:nvPr>
        </p:nvSpPr>
        <p:spPr>
          <a:xfrm>
            <a:off x="11063519" y="403107"/>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Tree>
    <p:extLst>
      <p:ext uri="{BB962C8B-B14F-4D97-AF65-F5344CB8AC3E}">
        <p14:creationId xmlns:p14="http://schemas.microsoft.com/office/powerpoint/2010/main" val="87669549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Highlight L Blue">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lvl1pPr>
              <a:defRPr>
                <a:no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03DBFBB-F6E3-4138-B13E-03A02B667C75}" type="datetime3">
              <a:rPr kumimoji="0" lang="en-US" sz="700" b="0" i="0" u="none" strike="noStrike" kern="1200" cap="none" spc="0" normalizeH="0" baseline="0" noProof="0" smtClean="0">
                <a:ln>
                  <a:noFill/>
                </a:ln>
                <a:noFill/>
                <a:effectLst/>
                <a:uLnTx/>
                <a:uFillTx/>
                <a:latin typeface="Arial"/>
                <a:ea typeface="+mn-ea"/>
                <a:cs typeface="+mn-cs"/>
              </a:rPr>
              <a:t>13 April 2022</a:t>
            </a:fld>
            <a:endParaRPr kumimoji="0" lang="en-US" sz="700" b="0" i="0" u="none" strike="noStrike" kern="1200" cap="none" spc="0" normalizeH="0" baseline="0" noProof="0">
              <a:ln>
                <a:noFill/>
              </a:ln>
              <a:noFill/>
              <a:effectLst/>
              <a:uLnTx/>
              <a:uFillTx/>
              <a:latin typeface="Arial"/>
              <a:ea typeface="+mn-ea"/>
              <a:cs typeface="+mn-cs"/>
            </a:endParaRPr>
          </a:p>
        </p:txBody>
      </p:sp>
      <p:sp>
        <p:nvSpPr>
          <p:cNvPr id="17" name="Footer Placeholder 16"/>
          <p:cNvSpPr>
            <a:spLocks noGrp="1"/>
          </p:cNvSpPr>
          <p:nvPr>
            <p:ph type="ftr" sz="quarter" idx="15"/>
          </p:nvPr>
        </p:nvSpPr>
        <p:spPr/>
        <p:txBody>
          <a:bodyPr/>
          <a:lstStyle>
            <a:lvl1pPr>
              <a:defRPr>
                <a:no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noFill/>
                <a:effectLst/>
                <a:uLnTx/>
                <a:uFillTx/>
                <a:latin typeface="Arial"/>
                <a:ea typeface="+mn-ea"/>
                <a:cs typeface="+mn-cs"/>
              </a:rPr>
              <a:t>Confidential  |  © KONE Corporation</a:t>
            </a:r>
          </a:p>
        </p:txBody>
      </p:sp>
      <p:sp>
        <p:nvSpPr>
          <p:cNvPr id="18" name="Slide Number Placeholder 17"/>
          <p:cNvSpPr>
            <a:spLocks noGrp="1"/>
          </p:cNvSpPr>
          <p:nvPr>
            <p:ph type="sldNum" sz="quarter" idx="16"/>
          </p:nvPr>
        </p:nvSpPr>
        <p:spPr/>
        <p:txBody>
          <a:bodyPr/>
          <a:lstStyle>
            <a:lvl1pPr>
              <a:defRPr>
                <a:no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604FC64F-66B6-486E-8EFE-9FD96A66D16B}" type="slidenum">
              <a:rPr kumimoji="0" lang="en-US" sz="700" b="0" i="0" u="none" strike="noStrike" kern="1200" cap="none" spc="0" normalizeH="0" baseline="0" noProof="0" smtClean="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a:ln>
                <a:noFill/>
              </a:ln>
              <a:noFill/>
              <a:effectLst/>
              <a:uLnTx/>
              <a:uFillTx/>
              <a:latin typeface="Arial"/>
              <a:ea typeface="+mn-ea"/>
              <a:cs typeface="+mn-cs"/>
            </a:endParaRPr>
          </a:p>
        </p:txBody>
      </p:sp>
      <p:sp>
        <p:nvSpPr>
          <p:cNvPr id="8"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t>Click icon to add picture</a:t>
            </a:r>
            <a:endParaRPr lang="en-GB"/>
          </a:p>
        </p:txBody>
      </p:sp>
      <p:sp>
        <p:nvSpPr>
          <p:cNvPr id="2" name="Title 1"/>
          <p:cNvSpPr>
            <a:spLocks noGrp="1"/>
          </p:cNvSpPr>
          <p:nvPr>
            <p:ph type="title"/>
          </p:nvPr>
        </p:nvSpPr>
        <p:spPr>
          <a:xfrm>
            <a:off x="754898" y="0"/>
            <a:ext cx="3613312" cy="6858000"/>
          </a:xfrm>
          <a:prstGeom prst="rect">
            <a:avLst/>
          </a:prstGeom>
          <a:solidFill>
            <a:schemeClr val="tx2">
              <a:alpha val="85098"/>
            </a:schemeClr>
          </a:solidFill>
          <a:ln>
            <a:noFill/>
          </a:ln>
          <a:effectLst/>
        </p:spPr>
        <p:txBody>
          <a:bodyPr vert="horz" wrap="square" lIns="215978" tIns="215978" rIns="215978" bIns="4534639" numCol="1" anchor="b" anchorCtr="0" compatLnSpc="1">
            <a:prstTxWarp prst="textNoShape">
              <a:avLst/>
            </a:prstTxWarp>
            <a:noAutofit/>
          </a:bodyPr>
          <a:lstStyle>
            <a:lvl1pPr>
              <a:lnSpc>
                <a:spcPct val="100000"/>
              </a:lnSpc>
              <a:defRPr lang="fi-FI" sz="2400" cap="none" spc="0" baseline="0">
                <a:solidFill>
                  <a:schemeClr val="bg1"/>
                </a:solidFill>
              </a:defRPr>
            </a:lvl1pPr>
          </a:lstStyle>
          <a:p>
            <a:pPr lvl="0"/>
            <a:r>
              <a:rPr lang="en-US"/>
              <a:t>Click to edit Master title style</a:t>
            </a:r>
            <a:endParaRPr lang="fi-FI"/>
          </a:p>
        </p:txBody>
      </p:sp>
      <p:sp>
        <p:nvSpPr>
          <p:cNvPr id="5" name="Text Placeholder 4"/>
          <p:cNvSpPr>
            <a:spLocks noGrp="1"/>
          </p:cNvSpPr>
          <p:nvPr>
            <p:ph type="body" sz="quarter" idx="19"/>
          </p:nvPr>
        </p:nvSpPr>
        <p:spPr>
          <a:xfrm>
            <a:off x="983994" y="2493087"/>
            <a:ext cx="3168242" cy="3958607"/>
          </a:xfrm>
          <a:prstGeom prst="rect">
            <a:avLst/>
          </a:prstGeom>
        </p:spPr>
        <p:txBody>
          <a:bodyPr/>
          <a:lstStyle>
            <a:lvl1pPr marL="0" indent="0">
              <a:lnSpc>
                <a:spcPct val="120000"/>
              </a:lnSpc>
              <a:spcBef>
                <a:spcPts val="400"/>
              </a:spcBef>
              <a:buClrTx/>
              <a:buNone/>
              <a:defRPr sz="1600">
                <a:solidFill>
                  <a:schemeClr val="bg1"/>
                </a:solidFill>
              </a:defRPr>
            </a:lvl1pPr>
            <a:lvl2pPr marL="266620" indent="-266620">
              <a:lnSpc>
                <a:spcPct val="120000"/>
              </a:lnSpc>
              <a:spcBef>
                <a:spcPts val="400"/>
              </a:spcBef>
              <a:buClrTx/>
              <a:buFont typeface="Wingdings" pitchFamily="2" charset="2"/>
              <a:buChar char="§"/>
              <a:defRPr sz="1600">
                <a:solidFill>
                  <a:schemeClr val="bg1"/>
                </a:solidFill>
              </a:defRPr>
            </a:lvl2pPr>
            <a:lvl3pPr marL="539588" indent="-272968">
              <a:lnSpc>
                <a:spcPct val="120000"/>
              </a:lnSpc>
              <a:spcBef>
                <a:spcPts val="400"/>
              </a:spcBef>
              <a:buClrTx/>
              <a:defRPr sz="1400">
                <a:solidFill>
                  <a:schemeClr val="bg1"/>
                </a:solidFill>
              </a:defRPr>
            </a:lvl3pPr>
            <a:lvl4pPr marL="806208" indent="-266620">
              <a:lnSpc>
                <a:spcPct val="120000"/>
              </a:lnSpc>
              <a:spcBef>
                <a:spcPts val="400"/>
              </a:spcBef>
              <a:buClrTx/>
              <a:defRPr sz="1200">
                <a:solidFill>
                  <a:schemeClr val="bg1"/>
                </a:solidFill>
              </a:defRPr>
            </a:lvl4pPr>
            <a:lvl5pPr marL="1071242" indent="-265033">
              <a:lnSpc>
                <a:spcPct val="120000"/>
              </a:lnSpc>
              <a:spcBef>
                <a:spcPts val="400"/>
              </a:spcBef>
              <a:buClrTx/>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6"/>
          <p:cNvSpPr>
            <a:spLocks noGrp="1" noChangeAspect="1"/>
          </p:cNvSpPr>
          <p:nvPr>
            <p:ph type="body" sz="quarter" idx="17" hasCustomPrompt="1"/>
          </p:nvPr>
        </p:nvSpPr>
        <p:spPr>
          <a:xfrm>
            <a:off x="11063519" y="403107"/>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Tree>
    <p:extLst>
      <p:ext uri="{BB962C8B-B14F-4D97-AF65-F5344CB8AC3E}">
        <p14:creationId xmlns:p14="http://schemas.microsoft.com/office/powerpoint/2010/main" val="387555821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Media">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noFill/>
              </a:defRPr>
            </a:lvl1pPr>
          </a:lstStyle>
          <a:p>
            <a:fld id="{41D66D64-547B-48A4-8BA4-DBFFA1EC1D10}" type="datetime3">
              <a:rPr lang="en-US" smtClean="0"/>
              <a:t>13 April 2022</a:t>
            </a:fld>
            <a:endParaRPr lang="en-US"/>
          </a:p>
        </p:txBody>
      </p:sp>
      <p:sp>
        <p:nvSpPr>
          <p:cNvPr id="8" name="Footer Placeholder 7"/>
          <p:cNvSpPr>
            <a:spLocks noGrp="1"/>
          </p:cNvSpPr>
          <p:nvPr>
            <p:ph type="ftr" sz="quarter" idx="11"/>
          </p:nvPr>
        </p:nvSpPr>
        <p:spPr/>
        <p:txBody>
          <a:bodyPr/>
          <a:lstStyle>
            <a:lvl1pPr>
              <a:defRPr>
                <a:noFill/>
              </a:defRPr>
            </a:lvl1pPr>
          </a:lstStyle>
          <a:p>
            <a:r>
              <a:rPr lang="en-US"/>
              <a:t>Confidential  |  © KONE Corporation</a:t>
            </a:r>
          </a:p>
        </p:txBody>
      </p:sp>
      <p:sp>
        <p:nvSpPr>
          <p:cNvPr id="9" name="Slide Number Placeholder 8"/>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
        <p:nvSpPr>
          <p:cNvPr id="3" name="Media Placeholder 2"/>
          <p:cNvSpPr>
            <a:spLocks noGrp="1"/>
          </p:cNvSpPr>
          <p:nvPr>
            <p:ph type="media" sz="quarter" idx="13"/>
          </p:nvPr>
        </p:nvSpPr>
        <p:spPr>
          <a:xfrm>
            <a:off x="1" y="0"/>
            <a:ext cx="12192000" cy="6858000"/>
          </a:xfrm>
          <a:solidFill>
            <a:schemeClr val="bg2"/>
          </a:solidFill>
        </p:spPr>
        <p:txBody>
          <a:bodyPr/>
          <a:lstStyle>
            <a:lvl1pPr marL="0" indent="0">
              <a:buFontTx/>
              <a:buNone/>
              <a:defRPr sz="1200"/>
            </a:lvl1pPr>
          </a:lstStyle>
          <a:p>
            <a:endParaRPr lang="en-GB"/>
          </a:p>
        </p:txBody>
      </p:sp>
    </p:spTree>
    <p:extLst>
      <p:ext uri="{BB962C8B-B14F-4D97-AF65-F5344CB8AC3E}">
        <p14:creationId xmlns:p14="http://schemas.microsoft.com/office/powerpoint/2010/main" val="143138843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Custom 4 pics 2">
    <p:spTree>
      <p:nvGrpSpPr>
        <p:cNvPr id="1" name=""/>
        <p:cNvGrpSpPr/>
        <p:nvPr/>
      </p:nvGrpSpPr>
      <p:grpSpPr>
        <a:xfrm>
          <a:off x="0" y="0"/>
          <a:ext cx="0" cy="0"/>
          <a:chOff x="0" y="0"/>
          <a:chExt cx="0" cy="0"/>
        </a:xfrm>
      </p:grpSpPr>
      <p:sp>
        <p:nvSpPr>
          <p:cNvPr id="12" name="Picture Placeholder 9"/>
          <p:cNvSpPr>
            <a:spLocks noGrp="1"/>
          </p:cNvSpPr>
          <p:nvPr>
            <p:ph type="pic" sz="quarter" idx="18"/>
          </p:nvPr>
        </p:nvSpPr>
        <p:spPr>
          <a:xfrm>
            <a:off x="0" y="0"/>
            <a:ext cx="3071580" cy="5229250"/>
          </a:xfrm>
          <a:solidFill>
            <a:schemeClr val="bg1">
              <a:lumMod val="75000"/>
            </a:schemeClr>
          </a:solidFill>
        </p:spPr>
        <p:txBody>
          <a:bodyPr/>
          <a:lstStyle>
            <a:lvl1pPr marL="0" indent="0">
              <a:buFontTx/>
              <a:buNone/>
              <a:defRPr sz="1000"/>
            </a:lvl1pPr>
          </a:lstStyle>
          <a:p>
            <a:endParaRPr lang="en-GB"/>
          </a:p>
        </p:txBody>
      </p:sp>
      <p:sp>
        <p:nvSpPr>
          <p:cNvPr id="2" name="Date Placeholder 1"/>
          <p:cNvSpPr>
            <a:spLocks noGrp="1"/>
          </p:cNvSpPr>
          <p:nvPr>
            <p:ph type="dt" sz="half" idx="10"/>
          </p:nvPr>
        </p:nvSpPr>
        <p:spPr/>
        <p:txBody>
          <a:bodyPr/>
          <a:lstStyle>
            <a:lvl1pPr>
              <a:defRPr>
                <a:noFill/>
              </a:defRPr>
            </a:lvl1pPr>
          </a:lstStyle>
          <a:p>
            <a:fld id="{31F78FEF-D6AA-49B6-B744-5395396580E2}" type="datetime3">
              <a:rPr lang="en-US" smtClean="0"/>
              <a:t>13 April 2022</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
        <p:nvSpPr>
          <p:cNvPr id="14" name="Rectangle 2"/>
          <p:cNvSpPr>
            <a:spLocks noGrp="1" noChangeArrowheads="1"/>
          </p:cNvSpPr>
          <p:nvPr>
            <p:ph type="ctrTitle" hasCustomPrompt="1"/>
          </p:nvPr>
        </p:nvSpPr>
        <p:spPr>
          <a:xfrm>
            <a:off x="0" y="5229225"/>
            <a:ext cx="12192000" cy="1628775"/>
          </a:xfrm>
          <a:noFill/>
        </p:spPr>
        <p:txBody>
          <a:bodyPr lIns="413876" tIns="396000" rIns="395881" bIns="360000" anchor="t" anchorCtr="0"/>
          <a:lstStyle>
            <a:lvl1pPr>
              <a:defRPr sz="2800" cap="none" baseline="0">
                <a:solidFill>
                  <a:schemeClr val="tx2"/>
                </a:solidFill>
                <a:effectLst/>
              </a:defRPr>
            </a:lvl1pPr>
          </a:lstStyle>
          <a:p>
            <a:pPr lvl="0"/>
            <a:r>
              <a:rPr lang="en-US" noProof="0"/>
              <a:t>Add title text</a:t>
            </a:r>
          </a:p>
        </p:txBody>
      </p:sp>
      <p:sp>
        <p:nvSpPr>
          <p:cNvPr id="9" name="Text Placeholder 6"/>
          <p:cNvSpPr>
            <a:spLocks noGrp="1" noChangeAspect="1"/>
          </p:cNvSpPr>
          <p:nvPr>
            <p:ph type="body" sz="quarter" idx="17" hasCustomPrompt="1"/>
          </p:nvPr>
        </p:nvSpPr>
        <p:spPr>
          <a:xfrm>
            <a:off x="11063519" y="5661310"/>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
        <p:nvSpPr>
          <p:cNvPr id="15" name="Picture Placeholder 9"/>
          <p:cNvSpPr>
            <a:spLocks noGrp="1"/>
          </p:cNvSpPr>
          <p:nvPr>
            <p:ph type="pic" sz="quarter" idx="19"/>
          </p:nvPr>
        </p:nvSpPr>
        <p:spPr>
          <a:xfrm>
            <a:off x="3071580" y="0"/>
            <a:ext cx="3024420" cy="5229250"/>
          </a:xfrm>
          <a:solidFill>
            <a:schemeClr val="bg1">
              <a:lumMod val="75000"/>
            </a:schemeClr>
          </a:solidFill>
        </p:spPr>
        <p:txBody>
          <a:bodyPr/>
          <a:lstStyle>
            <a:lvl1pPr marL="0" indent="0">
              <a:buFontTx/>
              <a:buNone/>
              <a:defRPr sz="1000"/>
            </a:lvl1pPr>
          </a:lstStyle>
          <a:p>
            <a:endParaRPr lang="en-GB"/>
          </a:p>
        </p:txBody>
      </p:sp>
      <p:sp>
        <p:nvSpPr>
          <p:cNvPr id="16" name="Picture Placeholder 9"/>
          <p:cNvSpPr>
            <a:spLocks noGrp="1"/>
          </p:cNvSpPr>
          <p:nvPr>
            <p:ph type="pic" sz="quarter" idx="20"/>
          </p:nvPr>
        </p:nvSpPr>
        <p:spPr>
          <a:xfrm>
            <a:off x="6096000" y="0"/>
            <a:ext cx="3024420" cy="5229250"/>
          </a:xfrm>
          <a:solidFill>
            <a:schemeClr val="bg1">
              <a:lumMod val="75000"/>
            </a:schemeClr>
          </a:solidFill>
        </p:spPr>
        <p:txBody>
          <a:bodyPr/>
          <a:lstStyle>
            <a:lvl1pPr marL="0" indent="0">
              <a:buFontTx/>
              <a:buNone/>
              <a:defRPr sz="1000"/>
            </a:lvl1pPr>
          </a:lstStyle>
          <a:p>
            <a:endParaRPr lang="en-GB"/>
          </a:p>
        </p:txBody>
      </p:sp>
      <p:sp>
        <p:nvSpPr>
          <p:cNvPr id="17" name="Picture Placeholder 9"/>
          <p:cNvSpPr>
            <a:spLocks noGrp="1"/>
          </p:cNvSpPr>
          <p:nvPr>
            <p:ph type="pic" sz="quarter" idx="21"/>
          </p:nvPr>
        </p:nvSpPr>
        <p:spPr>
          <a:xfrm>
            <a:off x="9120420" y="0"/>
            <a:ext cx="3070392" cy="5229250"/>
          </a:xfrm>
          <a:solidFill>
            <a:schemeClr val="bg1">
              <a:lumMod val="75000"/>
            </a:schemeClr>
          </a:solidFill>
        </p:spPr>
        <p:txBody>
          <a:bodyPr/>
          <a:lstStyle>
            <a:lvl1pPr marL="0" indent="0">
              <a:buFontTx/>
              <a:buNone/>
              <a:defRPr sz="1000"/>
            </a:lvl1pPr>
          </a:lstStyle>
          <a:p>
            <a:endParaRPr lang="en-GB"/>
          </a:p>
        </p:txBody>
      </p:sp>
    </p:spTree>
    <p:extLst>
      <p:ext uri="{BB962C8B-B14F-4D97-AF65-F5344CB8AC3E}">
        <p14:creationId xmlns:p14="http://schemas.microsoft.com/office/powerpoint/2010/main" val="60725520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3 pics b">
    <p:spTree>
      <p:nvGrpSpPr>
        <p:cNvPr id="1" name=""/>
        <p:cNvGrpSpPr/>
        <p:nvPr/>
      </p:nvGrpSpPr>
      <p:grpSpPr>
        <a:xfrm>
          <a:off x="0" y="0"/>
          <a:ext cx="0" cy="0"/>
          <a:chOff x="0" y="0"/>
          <a:chExt cx="0" cy="0"/>
        </a:xfrm>
      </p:grpSpPr>
      <p:sp>
        <p:nvSpPr>
          <p:cNvPr id="12" name="Picture Placeholder 9"/>
          <p:cNvSpPr>
            <a:spLocks noGrp="1"/>
          </p:cNvSpPr>
          <p:nvPr>
            <p:ph type="pic" sz="quarter" idx="18"/>
          </p:nvPr>
        </p:nvSpPr>
        <p:spPr>
          <a:xfrm>
            <a:off x="-1" y="1628750"/>
            <a:ext cx="4079721" cy="5229250"/>
          </a:xfrm>
          <a:solidFill>
            <a:schemeClr val="bg1">
              <a:lumMod val="75000"/>
            </a:schemeClr>
          </a:solidFill>
        </p:spPr>
        <p:txBody>
          <a:bodyPr/>
          <a:lstStyle>
            <a:lvl1pPr marL="0" indent="0">
              <a:buFontTx/>
              <a:buNone/>
              <a:defRPr sz="1000"/>
            </a:lvl1pPr>
          </a:lstStyle>
          <a:p>
            <a:endParaRPr lang="en-GB"/>
          </a:p>
        </p:txBody>
      </p:sp>
      <p:sp>
        <p:nvSpPr>
          <p:cNvPr id="2" name="Date Placeholder 1"/>
          <p:cNvSpPr>
            <a:spLocks noGrp="1"/>
          </p:cNvSpPr>
          <p:nvPr>
            <p:ph type="dt" sz="half" idx="10"/>
          </p:nvPr>
        </p:nvSpPr>
        <p:spPr/>
        <p:txBody>
          <a:bodyPr/>
          <a:lstStyle>
            <a:lvl1pPr>
              <a:defRPr>
                <a:noFill/>
              </a:defRPr>
            </a:lvl1pPr>
          </a:lstStyle>
          <a:p>
            <a:fld id="{AA551FC5-1669-4E36-AEB8-E3E38B99F7F5}" type="datetime3">
              <a:rPr lang="en-US" smtClean="0"/>
              <a:t>13 April 2022</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
        <p:nvSpPr>
          <p:cNvPr id="15" name="Picture Placeholder 9"/>
          <p:cNvSpPr>
            <a:spLocks noGrp="1"/>
          </p:cNvSpPr>
          <p:nvPr>
            <p:ph type="pic" sz="quarter" idx="19"/>
          </p:nvPr>
        </p:nvSpPr>
        <p:spPr>
          <a:xfrm>
            <a:off x="4079720" y="1628750"/>
            <a:ext cx="4032559" cy="5229250"/>
          </a:xfrm>
          <a:solidFill>
            <a:schemeClr val="bg1">
              <a:lumMod val="75000"/>
            </a:schemeClr>
          </a:solidFill>
        </p:spPr>
        <p:txBody>
          <a:bodyPr/>
          <a:lstStyle>
            <a:lvl1pPr marL="0" indent="0">
              <a:buFontTx/>
              <a:buNone/>
              <a:defRPr sz="1000"/>
            </a:lvl1pPr>
          </a:lstStyle>
          <a:p>
            <a:endParaRPr lang="en-GB"/>
          </a:p>
        </p:txBody>
      </p:sp>
      <p:sp>
        <p:nvSpPr>
          <p:cNvPr id="16" name="Picture Placeholder 9"/>
          <p:cNvSpPr>
            <a:spLocks noGrp="1"/>
          </p:cNvSpPr>
          <p:nvPr>
            <p:ph type="pic" sz="quarter" idx="20"/>
          </p:nvPr>
        </p:nvSpPr>
        <p:spPr>
          <a:xfrm>
            <a:off x="8112280" y="1628750"/>
            <a:ext cx="4079719" cy="5229250"/>
          </a:xfrm>
          <a:solidFill>
            <a:schemeClr val="bg1">
              <a:lumMod val="75000"/>
            </a:schemeClr>
          </a:solidFill>
        </p:spPr>
        <p:txBody>
          <a:bodyPr/>
          <a:lstStyle>
            <a:lvl1pPr marL="0" indent="0">
              <a:buFontTx/>
              <a:buNone/>
              <a:defRPr sz="1000"/>
            </a:lvl1pPr>
          </a:lstStyle>
          <a:p>
            <a:endParaRPr lang="en-GB"/>
          </a:p>
        </p:txBody>
      </p:sp>
      <p:sp>
        <p:nvSpPr>
          <p:cNvPr id="5" name="Title 4">
            <a:extLst>
              <a:ext uri="{FF2B5EF4-FFF2-40B4-BE49-F238E27FC236}">
                <a16:creationId xmlns:a16="http://schemas.microsoft.com/office/drawing/2014/main" id="{B49C6E1F-6BB3-4B52-A8BD-D08679A1229E}"/>
              </a:ext>
            </a:extLst>
          </p:cNvPr>
          <p:cNvSpPr>
            <a:spLocks noGrp="1"/>
          </p:cNvSpPr>
          <p:nvPr>
            <p:ph type="title"/>
          </p:nvPr>
        </p:nvSpPr>
        <p:spPr>
          <a:xfrm>
            <a:off x="407988" y="621000"/>
            <a:ext cx="10367962" cy="647413"/>
          </a:xfrm>
        </p:spPr>
        <p:txBody>
          <a:bodyPr/>
          <a:lstStyle>
            <a:lvl1pPr>
              <a:defRPr sz="2800"/>
            </a:lvl1pPr>
          </a:lstStyle>
          <a:p>
            <a:r>
              <a:rPr lang="en-US"/>
              <a:t>Click to edit Master title style</a:t>
            </a:r>
            <a:endParaRPr lang="fi-FI"/>
          </a:p>
        </p:txBody>
      </p:sp>
      <p:sp>
        <p:nvSpPr>
          <p:cNvPr id="11" name="Text Placeholder 2">
            <a:extLst>
              <a:ext uri="{FF2B5EF4-FFF2-40B4-BE49-F238E27FC236}">
                <a16:creationId xmlns:a16="http://schemas.microsoft.com/office/drawing/2014/main" id="{9F1DB978-89F8-4DA3-A80F-18DD65B18F63}"/>
              </a:ext>
            </a:extLst>
          </p:cNvPr>
          <p:cNvSpPr>
            <a:spLocks noGrp="1"/>
          </p:cNvSpPr>
          <p:nvPr>
            <p:ph type="body" idx="13"/>
          </p:nvPr>
        </p:nvSpPr>
        <p:spPr>
          <a:xfrm>
            <a:off x="409468" y="405000"/>
            <a:ext cx="10366531" cy="215610"/>
          </a:xfrm>
          <a:prstGeom prst="rect">
            <a:avLst/>
          </a:prstGeom>
        </p:spPr>
        <p:txBody>
          <a:bodyPr anchor="t" anchorCtr="0"/>
          <a:lstStyle>
            <a:lvl1pPr marL="0" indent="0">
              <a:lnSpc>
                <a:spcPct val="90000"/>
              </a:lnSpc>
              <a:spcBef>
                <a:spcPts val="0"/>
              </a:spcBef>
              <a:buNone/>
              <a:defRPr sz="14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endParaRPr lang="en-US" altLang="zh-CN"/>
          </a:p>
        </p:txBody>
      </p:sp>
    </p:spTree>
    <p:extLst>
      <p:ext uri="{BB962C8B-B14F-4D97-AF65-F5344CB8AC3E}">
        <p14:creationId xmlns:p14="http://schemas.microsoft.com/office/powerpoint/2010/main" val="197317649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ustom 3 pics c">
    <p:spTree>
      <p:nvGrpSpPr>
        <p:cNvPr id="1" name=""/>
        <p:cNvGrpSpPr/>
        <p:nvPr/>
      </p:nvGrpSpPr>
      <p:grpSpPr>
        <a:xfrm>
          <a:off x="0" y="0"/>
          <a:ext cx="0" cy="0"/>
          <a:chOff x="0" y="0"/>
          <a:chExt cx="0" cy="0"/>
        </a:xfrm>
      </p:grpSpPr>
      <p:sp>
        <p:nvSpPr>
          <p:cNvPr id="12" name="Picture Placeholder 9"/>
          <p:cNvSpPr>
            <a:spLocks noGrp="1"/>
          </p:cNvSpPr>
          <p:nvPr>
            <p:ph type="pic" sz="quarter" idx="18"/>
          </p:nvPr>
        </p:nvSpPr>
        <p:spPr>
          <a:xfrm>
            <a:off x="-1" y="0"/>
            <a:ext cx="4079721" cy="5229250"/>
          </a:xfrm>
          <a:solidFill>
            <a:schemeClr val="bg1">
              <a:lumMod val="75000"/>
            </a:schemeClr>
          </a:solidFill>
        </p:spPr>
        <p:txBody>
          <a:bodyPr/>
          <a:lstStyle>
            <a:lvl1pPr marL="0" indent="0">
              <a:buFontTx/>
              <a:buNone/>
              <a:defRPr sz="1000"/>
            </a:lvl1pPr>
          </a:lstStyle>
          <a:p>
            <a:endParaRPr lang="en-GB"/>
          </a:p>
        </p:txBody>
      </p:sp>
      <p:sp>
        <p:nvSpPr>
          <p:cNvPr id="2" name="Date Placeholder 1"/>
          <p:cNvSpPr>
            <a:spLocks noGrp="1"/>
          </p:cNvSpPr>
          <p:nvPr>
            <p:ph type="dt" sz="half" idx="10"/>
          </p:nvPr>
        </p:nvSpPr>
        <p:spPr/>
        <p:txBody>
          <a:bodyPr/>
          <a:lstStyle>
            <a:lvl1pPr>
              <a:defRPr>
                <a:noFill/>
              </a:defRPr>
            </a:lvl1pPr>
          </a:lstStyle>
          <a:p>
            <a:fld id="{4539ACD0-5D59-41EA-AA3B-70743AC564CA}" type="datetime3">
              <a:rPr lang="en-US" smtClean="0"/>
              <a:t>13 April 2022</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
        <p:nvSpPr>
          <p:cNvPr id="15" name="Picture Placeholder 9"/>
          <p:cNvSpPr>
            <a:spLocks noGrp="1"/>
          </p:cNvSpPr>
          <p:nvPr>
            <p:ph type="pic" sz="quarter" idx="19"/>
          </p:nvPr>
        </p:nvSpPr>
        <p:spPr>
          <a:xfrm>
            <a:off x="4079720" y="0"/>
            <a:ext cx="4032559" cy="5229250"/>
          </a:xfrm>
          <a:solidFill>
            <a:schemeClr val="bg1">
              <a:lumMod val="75000"/>
            </a:schemeClr>
          </a:solidFill>
        </p:spPr>
        <p:txBody>
          <a:bodyPr/>
          <a:lstStyle>
            <a:lvl1pPr marL="0" indent="0">
              <a:buFontTx/>
              <a:buNone/>
              <a:defRPr sz="1000"/>
            </a:lvl1pPr>
          </a:lstStyle>
          <a:p>
            <a:endParaRPr lang="en-GB"/>
          </a:p>
        </p:txBody>
      </p:sp>
      <p:sp>
        <p:nvSpPr>
          <p:cNvPr id="16" name="Picture Placeholder 9"/>
          <p:cNvSpPr>
            <a:spLocks noGrp="1"/>
          </p:cNvSpPr>
          <p:nvPr>
            <p:ph type="pic" sz="quarter" idx="20"/>
          </p:nvPr>
        </p:nvSpPr>
        <p:spPr>
          <a:xfrm>
            <a:off x="8112280" y="0"/>
            <a:ext cx="4079719" cy="5229250"/>
          </a:xfrm>
          <a:solidFill>
            <a:schemeClr val="bg1">
              <a:lumMod val="75000"/>
            </a:schemeClr>
          </a:solidFill>
        </p:spPr>
        <p:txBody>
          <a:bodyPr/>
          <a:lstStyle>
            <a:lvl1pPr marL="0" indent="0">
              <a:buFontTx/>
              <a:buNone/>
              <a:defRPr sz="1000"/>
            </a:lvl1pPr>
          </a:lstStyle>
          <a:p>
            <a:endParaRPr lang="en-GB"/>
          </a:p>
        </p:txBody>
      </p:sp>
      <p:sp>
        <p:nvSpPr>
          <p:cNvPr id="10" name="Rectangle 2">
            <a:extLst>
              <a:ext uri="{FF2B5EF4-FFF2-40B4-BE49-F238E27FC236}">
                <a16:creationId xmlns:a16="http://schemas.microsoft.com/office/drawing/2014/main" id="{DC0B9E87-5F43-46B6-877E-30FF7963A92E}"/>
              </a:ext>
            </a:extLst>
          </p:cNvPr>
          <p:cNvSpPr>
            <a:spLocks noGrp="1" noChangeArrowheads="1"/>
          </p:cNvSpPr>
          <p:nvPr>
            <p:ph type="ctrTitle" hasCustomPrompt="1"/>
          </p:nvPr>
        </p:nvSpPr>
        <p:spPr>
          <a:xfrm>
            <a:off x="0" y="5229225"/>
            <a:ext cx="12192000" cy="1628775"/>
          </a:xfrm>
          <a:noFill/>
        </p:spPr>
        <p:txBody>
          <a:bodyPr lIns="413876" tIns="396000" rIns="395881" bIns="360000" anchor="t" anchorCtr="0"/>
          <a:lstStyle>
            <a:lvl1pPr>
              <a:defRPr sz="2800" cap="none" baseline="0">
                <a:solidFill>
                  <a:schemeClr val="tx2"/>
                </a:solidFill>
                <a:effectLst/>
              </a:defRPr>
            </a:lvl1pPr>
          </a:lstStyle>
          <a:p>
            <a:pPr lvl="0"/>
            <a:r>
              <a:rPr lang="en-US" noProof="0"/>
              <a:t>Add title text</a:t>
            </a:r>
          </a:p>
        </p:txBody>
      </p:sp>
      <p:sp>
        <p:nvSpPr>
          <p:cNvPr id="13" name="Text Placeholder 6">
            <a:extLst>
              <a:ext uri="{FF2B5EF4-FFF2-40B4-BE49-F238E27FC236}">
                <a16:creationId xmlns:a16="http://schemas.microsoft.com/office/drawing/2014/main" id="{5389755D-E878-478D-A847-59FAD8D40322}"/>
              </a:ext>
            </a:extLst>
          </p:cNvPr>
          <p:cNvSpPr>
            <a:spLocks noGrp="1" noChangeAspect="1"/>
          </p:cNvSpPr>
          <p:nvPr>
            <p:ph type="body" sz="quarter" idx="17" hasCustomPrompt="1"/>
          </p:nvPr>
        </p:nvSpPr>
        <p:spPr>
          <a:xfrm>
            <a:off x="11063519" y="5661310"/>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
        <p:nvSpPr>
          <p:cNvPr id="14" name="Text Placeholder 2">
            <a:extLst>
              <a:ext uri="{FF2B5EF4-FFF2-40B4-BE49-F238E27FC236}">
                <a16:creationId xmlns:a16="http://schemas.microsoft.com/office/drawing/2014/main" id="{66893748-EB7C-4D57-9FBD-FE9096C954C3}"/>
              </a:ext>
            </a:extLst>
          </p:cNvPr>
          <p:cNvSpPr>
            <a:spLocks noGrp="1"/>
          </p:cNvSpPr>
          <p:nvPr>
            <p:ph type="body" idx="13"/>
          </p:nvPr>
        </p:nvSpPr>
        <p:spPr>
          <a:xfrm>
            <a:off x="409468" y="6021000"/>
            <a:ext cx="10366531" cy="215610"/>
          </a:xfrm>
          <a:prstGeom prst="rect">
            <a:avLst/>
          </a:prstGeom>
        </p:spPr>
        <p:txBody>
          <a:bodyPr anchor="t" anchorCtr="0"/>
          <a:lstStyle>
            <a:lvl1pPr marL="0" indent="0">
              <a:lnSpc>
                <a:spcPct val="90000"/>
              </a:lnSpc>
              <a:spcBef>
                <a:spcPts val="0"/>
              </a:spcBef>
              <a:buNone/>
              <a:defRPr sz="1400" b="0" u="none" cap="all" spc="0" baseline="0">
                <a:solidFill>
                  <a:schemeClr val="tx2"/>
                </a:solidFill>
                <a:uFillTx/>
              </a:defRPr>
            </a:lvl1pPr>
            <a:lvl2pPr marL="609539" indent="0">
              <a:buNone/>
              <a:defRPr sz="2700" b="1"/>
            </a:lvl2pPr>
            <a:lvl3pPr marL="1219078" indent="0">
              <a:buNone/>
              <a:defRPr sz="2400" b="1"/>
            </a:lvl3pPr>
            <a:lvl4pPr marL="1828617" indent="0">
              <a:buNone/>
              <a:defRPr sz="2100" b="1"/>
            </a:lvl4pPr>
            <a:lvl5pPr marL="2438156" indent="0">
              <a:buNone/>
              <a:defRPr sz="2100" b="1"/>
            </a:lvl5pPr>
            <a:lvl6pPr marL="3047695" indent="0">
              <a:buNone/>
              <a:defRPr sz="2100" b="1"/>
            </a:lvl6pPr>
            <a:lvl7pPr marL="3657235" indent="0">
              <a:buNone/>
              <a:defRPr sz="2100" b="1"/>
            </a:lvl7pPr>
            <a:lvl8pPr marL="4266773" indent="0">
              <a:buNone/>
              <a:defRPr sz="2100" b="1"/>
            </a:lvl8pPr>
            <a:lvl9pPr marL="4876312" indent="0">
              <a:buNone/>
              <a:defRPr sz="2100" b="1"/>
            </a:lvl9pPr>
          </a:lstStyle>
          <a:p>
            <a:pPr lvl="0"/>
            <a:endParaRPr lang="en-US" altLang="zh-CN"/>
          </a:p>
        </p:txBody>
      </p:sp>
    </p:spTree>
    <p:extLst>
      <p:ext uri="{BB962C8B-B14F-4D97-AF65-F5344CB8AC3E}">
        <p14:creationId xmlns:p14="http://schemas.microsoft.com/office/powerpoint/2010/main" val="314479362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Title and Conten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409576" y="404813"/>
            <a:ext cx="10368662" cy="863600"/>
          </a:xfrm>
          <a:prstGeom prst="rect">
            <a:avLst/>
          </a:prstGeom>
        </p:spPr>
        <p:txBody>
          <a:bodyPr/>
          <a:lstStyle/>
          <a:p>
            <a:r>
              <a:rPr lang="en-US"/>
              <a:t>Click to edit Master title style</a:t>
            </a:r>
            <a:endParaRPr lang="fi-FI"/>
          </a:p>
        </p:txBody>
      </p:sp>
      <p:sp>
        <p:nvSpPr>
          <p:cNvPr id="3" name="Content Placeholder 2"/>
          <p:cNvSpPr>
            <a:spLocks noGrp="1"/>
          </p:cNvSpPr>
          <p:nvPr>
            <p:ph idx="1"/>
          </p:nvPr>
        </p:nvSpPr>
        <p:spPr>
          <a:xfrm>
            <a:off x="409575" y="1628774"/>
            <a:ext cx="10367963" cy="4608513"/>
          </a:xfrm>
          <a:prstGeom prst="rect">
            <a:avLst/>
          </a:prstGeo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p:cNvSpPr>
            <a:spLocks noGrp="1"/>
          </p:cNvSpPr>
          <p:nvPr>
            <p:ph type="dt" sz="half" idx="10"/>
          </p:nvPr>
        </p:nvSpPr>
        <p:spPr/>
        <p:txBody>
          <a:bodyPr/>
          <a:lstStyle/>
          <a:p>
            <a:fld id="{CEBEC09F-A9B3-4141-BB5E-01638EDF1C5C}" type="datetime3">
              <a:rPr lang="en-US" noProof="0" smtClean="0"/>
              <a:t>13 April 2022</a:t>
            </a:fld>
            <a:endParaRPr lang="en-US" noProof="0"/>
          </a:p>
        </p:txBody>
      </p:sp>
      <p:sp>
        <p:nvSpPr>
          <p:cNvPr id="8" name="Footer Placeholder 7"/>
          <p:cNvSpPr>
            <a:spLocks noGrp="1"/>
          </p:cNvSpPr>
          <p:nvPr>
            <p:ph type="ftr" sz="quarter" idx="11"/>
          </p:nvPr>
        </p:nvSpPr>
        <p:spPr/>
        <p:txBody>
          <a:bodyPr/>
          <a:lstStyle/>
          <a:p>
            <a:r>
              <a:rPr lang="en-US" noProof="0"/>
              <a:t>Confidential  |  © KONE Corporation</a:t>
            </a:r>
          </a:p>
        </p:txBody>
      </p:sp>
      <p:sp>
        <p:nvSpPr>
          <p:cNvPr id="9" name="Slide Number Placeholder 8"/>
          <p:cNvSpPr>
            <a:spLocks noGrp="1"/>
          </p:cNvSpPr>
          <p:nvPr>
            <p:ph type="sldNum" sz="quarter" idx="12"/>
          </p:nvPr>
        </p:nvSpPr>
        <p:spPr/>
        <p:txBody>
          <a:bodyPr/>
          <a:lstStyle/>
          <a:p>
            <a:fld id="{604FC64F-66B6-486E-8EFE-9FD96A66D16B}" type="slidenum">
              <a:rPr lang="en-US" noProof="0" smtClean="0"/>
              <a:pPr/>
              <a:t>‹#›</a:t>
            </a:fld>
            <a:endParaRPr lang="en-US" noProof="0"/>
          </a:p>
        </p:txBody>
      </p:sp>
    </p:spTree>
    <p:extLst>
      <p:ext uri="{BB962C8B-B14F-4D97-AF65-F5344CB8AC3E}">
        <p14:creationId xmlns:p14="http://schemas.microsoft.com/office/powerpoint/2010/main" val="32578968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ictur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noFill/>
              </a:defRPr>
            </a:lvl1pPr>
          </a:lstStyle>
          <a:p>
            <a:fld id="{9581F3CE-1CCB-490A-9707-155C9522A43A}" type="datetime3">
              <a:rPr lang="en-US" smtClean="0"/>
              <a:t>13 April 2022</a:t>
            </a:fld>
            <a:endParaRPr lang="en-US"/>
          </a:p>
        </p:txBody>
      </p:sp>
      <p:sp>
        <p:nvSpPr>
          <p:cNvPr id="3" name="Footer Placeholder 2"/>
          <p:cNvSpPr>
            <a:spLocks noGrp="1"/>
          </p:cNvSpPr>
          <p:nvPr>
            <p:ph type="ftr" sz="quarter" idx="11"/>
          </p:nvPr>
        </p:nvSpPr>
        <p:spPr/>
        <p:txBody>
          <a:bodyPr/>
          <a:lstStyle>
            <a:lvl1pPr>
              <a:defRPr>
                <a:noFill/>
              </a:defRPr>
            </a:lvl1pPr>
          </a:lstStyle>
          <a:p>
            <a:r>
              <a:rPr lang="en-US"/>
              <a:t>Confidential  |  © KONE Corporation</a:t>
            </a:r>
          </a:p>
        </p:txBody>
      </p:sp>
      <p:sp>
        <p:nvSpPr>
          <p:cNvPr id="4" name="Slide Number Placeholder 3"/>
          <p:cNvSpPr>
            <a:spLocks noGrp="1"/>
          </p:cNvSpPr>
          <p:nvPr>
            <p:ph type="sldNum" sz="quarter" idx="12"/>
          </p:nvPr>
        </p:nvSpPr>
        <p:spPr/>
        <p:txBody>
          <a:bodyPr/>
          <a:lstStyle>
            <a:lvl1pPr>
              <a:defRPr>
                <a:noFill/>
              </a:defRPr>
            </a:lvl1pPr>
          </a:lstStyle>
          <a:p>
            <a:fld id="{604FC64F-66B6-486E-8EFE-9FD96A66D16B}" type="slidenum">
              <a:rPr lang="en-US" smtClean="0"/>
              <a:pPr/>
              <a:t>‹#›</a:t>
            </a:fld>
            <a:endParaRPr lang="en-US"/>
          </a:p>
        </p:txBody>
      </p:sp>
      <p:sp>
        <p:nvSpPr>
          <p:cNvPr id="12"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t>Click icon to add picture</a:t>
            </a:r>
            <a:endParaRPr lang="en-GB"/>
          </a:p>
        </p:txBody>
      </p:sp>
      <p:sp>
        <p:nvSpPr>
          <p:cNvPr id="8194" name="Rectangle 2"/>
          <p:cNvSpPr>
            <a:spLocks noGrp="1" noChangeArrowheads="1"/>
          </p:cNvSpPr>
          <p:nvPr>
            <p:ph type="ctrTitle" hasCustomPrompt="1"/>
          </p:nvPr>
        </p:nvSpPr>
        <p:spPr>
          <a:xfrm>
            <a:off x="0" y="0"/>
            <a:ext cx="6096000" cy="6858000"/>
          </a:xfrm>
          <a:prstGeom prst="rect">
            <a:avLst/>
          </a:prstGeom>
          <a:solidFill>
            <a:schemeClr val="bg1">
              <a:alpha val="85000"/>
            </a:schemeClr>
          </a:solidFill>
        </p:spPr>
        <p:txBody>
          <a:bodyPr lIns="413876" tIns="395881" rIns="395881" bIns="1331600" anchor="b" anchorCtr="0"/>
          <a:lstStyle>
            <a:lvl1pPr>
              <a:defRPr sz="3200" cap="none" baseline="0">
                <a:solidFill>
                  <a:schemeClr val="tx2"/>
                </a:solidFill>
                <a:effectLst/>
              </a:defRPr>
            </a:lvl1pPr>
          </a:lstStyle>
          <a:p>
            <a:pPr lvl="0"/>
            <a:r>
              <a:rPr lang="en-US" noProof="0"/>
              <a:t>Add title text</a:t>
            </a:r>
          </a:p>
        </p:txBody>
      </p:sp>
      <p:sp>
        <p:nvSpPr>
          <p:cNvPr id="8195" name="Rectangle 3"/>
          <p:cNvSpPr>
            <a:spLocks noGrp="1" noChangeArrowheads="1"/>
          </p:cNvSpPr>
          <p:nvPr>
            <p:ph type="subTitle" idx="1"/>
          </p:nvPr>
        </p:nvSpPr>
        <p:spPr>
          <a:xfrm>
            <a:off x="409469" y="5588295"/>
            <a:ext cx="5254585" cy="647549"/>
          </a:xfrm>
          <a:prstGeom prst="rect">
            <a:avLst/>
          </a:prstGeom>
        </p:spPr>
        <p:txBody>
          <a:bodyPr anchor="t" anchorCtr="0"/>
          <a:lstStyle>
            <a:lvl1pPr marL="0" indent="0">
              <a:lnSpc>
                <a:spcPct val="100000"/>
              </a:lnSpc>
              <a:spcBef>
                <a:spcPts val="0"/>
              </a:spcBef>
              <a:buFont typeface="Wingdings" pitchFamily="2" charset="2"/>
              <a:buNone/>
              <a:defRPr sz="1600" u="none" cap="all" baseline="0">
                <a:solidFill>
                  <a:schemeClr val="tx2"/>
                </a:solidFill>
                <a:effectLst/>
                <a:uFillTx/>
              </a:defRPr>
            </a:lvl1pPr>
          </a:lstStyle>
          <a:p>
            <a:pPr lvl="0"/>
            <a:r>
              <a:rPr lang="en-US" noProof="0"/>
              <a:t>Click to edit Master subtitle style</a:t>
            </a:r>
          </a:p>
        </p:txBody>
      </p:sp>
      <p:sp>
        <p:nvSpPr>
          <p:cNvPr id="8" name="Text Placeholder 6"/>
          <p:cNvSpPr>
            <a:spLocks noGrp="1" noChangeAspect="1"/>
          </p:cNvSpPr>
          <p:nvPr>
            <p:ph type="body" sz="quarter" idx="17" hasCustomPrompt="1"/>
          </p:nvPr>
        </p:nvSpPr>
        <p:spPr>
          <a:xfrm>
            <a:off x="11063519" y="403107"/>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Tree>
    <p:extLst>
      <p:ext uri="{BB962C8B-B14F-4D97-AF65-F5344CB8AC3E}">
        <p14:creationId xmlns:p14="http://schemas.microsoft.com/office/powerpoint/2010/main" val="193664024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ighlight L">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lvl1pPr>
              <a:defRPr>
                <a:noFill/>
              </a:defRPr>
            </a:lvl1pPr>
          </a:lstStyle>
          <a:p>
            <a:fld id="{B7B288AF-0731-4F37-874D-D9A4A8413AF5}" type="datetime3">
              <a:rPr lang="en-US" smtClean="0"/>
              <a:t>13 April 2022</a:t>
            </a:fld>
            <a:endParaRPr lang="en-US"/>
          </a:p>
        </p:txBody>
      </p:sp>
      <p:sp>
        <p:nvSpPr>
          <p:cNvPr id="17" name="Footer Placeholder 16"/>
          <p:cNvSpPr>
            <a:spLocks noGrp="1"/>
          </p:cNvSpPr>
          <p:nvPr>
            <p:ph type="ftr" sz="quarter" idx="15"/>
          </p:nvPr>
        </p:nvSpPr>
        <p:spPr/>
        <p:txBody>
          <a:bodyPr/>
          <a:lstStyle>
            <a:lvl1pPr>
              <a:defRPr>
                <a:noFill/>
              </a:defRPr>
            </a:lvl1pPr>
          </a:lstStyle>
          <a:p>
            <a:r>
              <a:rPr lang="en-US"/>
              <a:t>Confidential  |  © KONE Corporation</a:t>
            </a:r>
          </a:p>
        </p:txBody>
      </p:sp>
      <p:sp>
        <p:nvSpPr>
          <p:cNvPr id="18" name="Slide Number Placeholder 17"/>
          <p:cNvSpPr>
            <a:spLocks noGrp="1"/>
          </p:cNvSpPr>
          <p:nvPr>
            <p:ph type="sldNum" sz="quarter" idx="16"/>
          </p:nvPr>
        </p:nvSpPr>
        <p:spPr/>
        <p:txBody>
          <a:bodyPr/>
          <a:lstStyle>
            <a:lvl1pPr>
              <a:defRPr>
                <a:noFill/>
              </a:defRPr>
            </a:lvl1pPr>
          </a:lstStyle>
          <a:p>
            <a:fld id="{604FC64F-66B6-486E-8EFE-9FD96A66D16B}" type="slidenum">
              <a:rPr lang="en-US" smtClean="0"/>
              <a:pPr/>
              <a:t>‹#›</a:t>
            </a:fld>
            <a:endParaRPr lang="en-US"/>
          </a:p>
        </p:txBody>
      </p:sp>
      <p:sp>
        <p:nvSpPr>
          <p:cNvPr id="8"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t>Click icon to add picture</a:t>
            </a:r>
            <a:endParaRPr lang="en-GB"/>
          </a:p>
        </p:txBody>
      </p:sp>
      <p:sp>
        <p:nvSpPr>
          <p:cNvPr id="2" name="Title 1"/>
          <p:cNvSpPr>
            <a:spLocks noGrp="1"/>
          </p:cNvSpPr>
          <p:nvPr>
            <p:ph type="title"/>
          </p:nvPr>
        </p:nvSpPr>
        <p:spPr>
          <a:xfrm>
            <a:off x="754898" y="0"/>
            <a:ext cx="3613312" cy="6858000"/>
          </a:xfrm>
          <a:prstGeom prst="rect">
            <a:avLst/>
          </a:prstGeom>
          <a:solidFill>
            <a:srgbClr val="FEFEFE">
              <a:alpha val="85098"/>
            </a:srgbClr>
          </a:solidFill>
          <a:ln>
            <a:noFill/>
          </a:ln>
          <a:effectLst/>
        </p:spPr>
        <p:txBody>
          <a:bodyPr vert="horz" wrap="square" lIns="215978" tIns="215978" rIns="215978" bIns="4534639" numCol="1" anchor="b" anchorCtr="0" compatLnSpc="1">
            <a:prstTxWarp prst="textNoShape">
              <a:avLst/>
            </a:prstTxWarp>
            <a:noAutofit/>
          </a:bodyPr>
          <a:lstStyle>
            <a:lvl1pPr>
              <a:lnSpc>
                <a:spcPct val="100000"/>
              </a:lnSpc>
              <a:defRPr lang="fi-FI" sz="2400" cap="none" spc="0" baseline="0">
                <a:solidFill>
                  <a:schemeClr val="hlink"/>
                </a:solidFill>
              </a:defRPr>
            </a:lvl1pPr>
          </a:lstStyle>
          <a:p>
            <a:pPr lvl="0"/>
            <a:r>
              <a:rPr lang="en-US"/>
              <a:t>Click to edit Master title style</a:t>
            </a:r>
            <a:endParaRPr lang="fi-FI"/>
          </a:p>
        </p:txBody>
      </p:sp>
      <p:sp>
        <p:nvSpPr>
          <p:cNvPr id="5" name="Text Placeholder 4"/>
          <p:cNvSpPr>
            <a:spLocks noGrp="1"/>
          </p:cNvSpPr>
          <p:nvPr>
            <p:ph type="body" sz="quarter" idx="19"/>
          </p:nvPr>
        </p:nvSpPr>
        <p:spPr>
          <a:xfrm>
            <a:off x="983994" y="2493087"/>
            <a:ext cx="3168242" cy="3958607"/>
          </a:xfrm>
          <a:prstGeom prst="rect">
            <a:avLst/>
          </a:prstGeom>
        </p:spPr>
        <p:txBody>
          <a:bodyPr/>
          <a:lstStyle>
            <a:lvl1pPr marL="0" indent="0">
              <a:lnSpc>
                <a:spcPct val="120000"/>
              </a:lnSpc>
              <a:spcBef>
                <a:spcPts val="400"/>
              </a:spcBef>
              <a:buClrTx/>
              <a:buNone/>
              <a:defRPr sz="1600">
                <a:solidFill>
                  <a:schemeClr val="tx2"/>
                </a:solidFill>
              </a:defRPr>
            </a:lvl1pPr>
            <a:lvl2pPr marL="266620" indent="-266620">
              <a:lnSpc>
                <a:spcPct val="120000"/>
              </a:lnSpc>
              <a:spcBef>
                <a:spcPts val="400"/>
              </a:spcBef>
              <a:buClrTx/>
              <a:buFont typeface="Wingdings" pitchFamily="2" charset="2"/>
              <a:buChar char="§"/>
              <a:defRPr sz="1600">
                <a:solidFill>
                  <a:schemeClr val="tx2"/>
                </a:solidFill>
              </a:defRPr>
            </a:lvl2pPr>
            <a:lvl3pPr marL="539588" indent="-272968">
              <a:lnSpc>
                <a:spcPct val="120000"/>
              </a:lnSpc>
              <a:spcBef>
                <a:spcPts val="400"/>
              </a:spcBef>
              <a:buClrTx/>
              <a:buFont typeface="Arial" panose="020B0604020202020204" pitchFamily="34" charset="0"/>
              <a:buChar char="−"/>
              <a:defRPr sz="1400">
                <a:solidFill>
                  <a:schemeClr val="tx2"/>
                </a:solidFill>
              </a:defRPr>
            </a:lvl3pPr>
            <a:lvl4pPr marL="806208" indent="-266620">
              <a:lnSpc>
                <a:spcPct val="120000"/>
              </a:lnSpc>
              <a:spcBef>
                <a:spcPts val="400"/>
              </a:spcBef>
              <a:buClrTx/>
              <a:buFont typeface="Wingdings" panose="05000000000000000000" pitchFamily="2" charset="2"/>
              <a:buChar char="§"/>
              <a:defRPr sz="1200">
                <a:solidFill>
                  <a:schemeClr val="tx2"/>
                </a:solidFill>
              </a:defRPr>
            </a:lvl4pPr>
            <a:lvl5pPr marL="1071242" indent="-265033">
              <a:lnSpc>
                <a:spcPct val="120000"/>
              </a:lnSpc>
              <a:spcBef>
                <a:spcPts val="400"/>
              </a:spcBef>
              <a:buClrTx/>
              <a:buFont typeface="Arial" panose="020B0604020202020204" pitchFamily="34" charset="0"/>
              <a:buChar char="−"/>
              <a:defRPr sz="120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6"/>
          <p:cNvSpPr>
            <a:spLocks noGrp="1" noChangeAspect="1"/>
          </p:cNvSpPr>
          <p:nvPr>
            <p:ph type="body" sz="quarter" idx="17" hasCustomPrompt="1"/>
          </p:nvPr>
        </p:nvSpPr>
        <p:spPr>
          <a:xfrm>
            <a:off x="11063519" y="403107"/>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Tree>
    <p:extLst>
      <p:ext uri="{BB962C8B-B14F-4D97-AF65-F5344CB8AC3E}">
        <p14:creationId xmlns:p14="http://schemas.microsoft.com/office/powerpoint/2010/main" val="3514805722"/>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Highlight L">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lvl1pPr>
              <a:defRPr>
                <a:noFill/>
              </a:defRPr>
            </a:lvl1pPr>
          </a:lstStyle>
          <a:p>
            <a:fld id="{43AC30E1-B7D4-46C1-A632-E26009806767}" type="datetime3">
              <a:rPr lang="en-US" smtClean="0"/>
              <a:t>13 April 2022</a:t>
            </a:fld>
            <a:endParaRPr lang="en-US"/>
          </a:p>
        </p:txBody>
      </p:sp>
      <p:sp>
        <p:nvSpPr>
          <p:cNvPr id="17" name="Footer Placeholder 16"/>
          <p:cNvSpPr>
            <a:spLocks noGrp="1"/>
          </p:cNvSpPr>
          <p:nvPr>
            <p:ph type="ftr" sz="quarter" idx="15"/>
          </p:nvPr>
        </p:nvSpPr>
        <p:spPr/>
        <p:txBody>
          <a:bodyPr/>
          <a:lstStyle>
            <a:lvl1pPr>
              <a:defRPr>
                <a:noFill/>
              </a:defRPr>
            </a:lvl1pPr>
          </a:lstStyle>
          <a:p>
            <a:r>
              <a:rPr lang="en-US"/>
              <a:t>Confidential  |  © KONE Corporation</a:t>
            </a:r>
          </a:p>
        </p:txBody>
      </p:sp>
      <p:sp>
        <p:nvSpPr>
          <p:cNvPr id="18" name="Slide Number Placeholder 17"/>
          <p:cNvSpPr>
            <a:spLocks noGrp="1"/>
          </p:cNvSpPr>
          <p:nvPr>
            <p:ph type="sldNum" sz="quarter" idx="16"/>
          </p:nvPr>
        </p:nvSpPr>
        <p:spPr/>
        <p:txBody>
          <a:bodyPr/>
          <a:lstStyle>
            <a:lvl1pPr>
              <a:defRPr>
                <a:noFill/>
              </a:defRPr>
            </a:lvl1pPr>
          </a:lstStyle>
          <a:p>
            <a:fld id="{604FC64F-66B6-486E-8EFE-9FD96A66D16B}" type="slidenum">
              <a:rPr lang="en-US" smtClean="0"/>
              <a:pPr/>
              <a:t>‹#›</a:t>
            </a:fld>
            <a:endParaRPr lang="en-US"/>
          </a:p>
        </p:txBody>
      </p:sp>
      <p:sp>
        <p:nvSpPr>
          <p:cNvPr id="8" name="Picture Placeholder 9"/>
          <p:cNvSpPr>
            <a:spLocks noGrp="1"/>
          </p:cNvSpPr>
          <p:nvPr>
            <p:ph type="pic" sz="quarter" idx="18"/>
          </p:nvPr>
        </p:nvSpPr>
        <p:spPr>
          <a:xfrm>
            <a:off x="0" y="0"/>
            <a:ext cx="12192000" cy="6858000"/>
          </a:xfrm>
          <a:prstGeom prst="rect">
            <a:avLst/>
          </a:prstGeom>
          <a:solidFill>
            <a:schemeClr val="bg1">
              <a:lumMod val="75000"/>
            </a:schemeClr>
          </a:solidFill>
        </p:spPr>
        <p:txBody>
          <a:bodyPr/>
          <a:lstStyle>
            <a:lvl1pPr marL="0" marR="0" indent="0" algn="r" defTabSz="914126" rtl="0" eaLnBrk="1" fontAlgn="base" latinLnBrk="0" hangingPunct="1">
              <a:lnSpc>
                <a:spcPct val="120000"/>
              </a:lnSpc>
              <a:spcBef>
                <a:spcPts val="400"/>
              </a:spcBef>
              <a:spcAft>
                <a:spcPts val="0"/>
              </a:spcAft>
              <a:buClr>
                <a:schemeClr val="tx2"/>
              </a:buClr>
              <a:buSzTx/>
              <a:buFontTx/>
              <a:buNone/>
              <a:tabLst/>
              <a:defRPr sz="1400"/>
            </a:lvl1pPr>
          </a:lstStyle>
          <a:p>
            <a:r>
              <a:rPr lang="en-US"/>
              <a:t>Click icon to add picture</a:t>
            </a:r>
            <a:endParaRPr lang="en-GB"/>
          </a:p>
        </p:txBody>
      </p:sp>
      <p:sp>
        <p:nvSpPr>
          <p:cNvPr id="2" name="Title 1"/>
          <p:cNvSpPr>
            <a:spLocks noGrp="1"/>
          </p:cNvSpPr>
          <p:nvPr>
            <p:ph type="title"/>
          </p:nvPr>
        </p:nvSpPr>
        <p:spPr>
          <a:xfrm>
            <a:off x="754898" y="0"/>
            <a:ext cx="3613312" cy="6858000"/>
          </a:xfrm>
          <a:prstGeom prst="rect">
            <a:avLst/>
          </a:prstGeom>
          <a:solidFill>
            <a:schemeClr val="tx2">
              <a:alpha val="85098"/>
            </a:schemeClr>
          </a:solidFill>
          <a:ln>
            <a:noFill/>
          </a:ln>
          <a:effectLst/>
        </p:spPr>
        <p:txBody>
          <a:bodyPr vert="horz" wrap="square" lIns="215978" tIns="215978" rIns="215978" bIns="4534639" numCol="1" anchor="b" anchorCtr="0" compatLnSpc="1">
            <a:prstTxWarp prst="textNoShape">
              <a:avLst/>
            </a:prstTxWarp>
            <a:noAutofit/>
          </a:bodyPr>
          <a:lstStyle>
            <a:lvl1pPr>
              <a:lnSpc>
                <a:spcPct val="100000"/>
              </a:lnSpc>
              <a:defRPr lang="fi-FI" sz="2400" cap="none" spc="0" baseline="0">
                <a:solidFill>
                  <a:schemeClr val="bg1"/>
                </a:solidFill>
              </a:defRPr>
            </a:lvl1pPr>
          </a:lstStyle>
          <a:p>
            <a:pPr lvl="0"/>
            <a:r>
              <a:rPr lang="en-US"/>
              <a:t>Click to edit Master title style</a:t>
            </a:r>
            <a:endParaRPr lang="fi-FI"/>
          </a:p>
        </p:txBody>
      </p:sp>
      <p:sp>
        <p:nvSpPr>
          <p:cNvPr id="5" name="Text Placeholder 4"/>
          <p:cNvSpPr>
            <a:spLocks noGrp="1"/>
          </p:cNvSpPr>
          <p:nvPr>
            <p:ph type="body" sz="quarter" idx="19"/>
          </p:nvPr>
        </p:nvSpPr>
        <p:spPr>
          <a:xfrm>
            <a:off x="983994" y="2493087"/>
            <a:ext cx="3168242" cy="3958607"/>
          </a:xfrm>
          <a:prstGeom prst="rect">
            <a:avLst/>
          </a:prstGeom>
        </p:spPr>
        <p:txBody>
          <a:bodyPr/>
          <a:lstStyle>
            <a:lvl1pPr marL="0" indent="0">
              <a:lnSpc>
                <a:spcPct val="120000"/>
              </a:lnSpc>
              <a:spcBef>
                <a:spcPts val="400"/>
              </a:spcBef>
              <a:buClr>
                <a:schemeClr val="bg1"/>
              </a:buClr>
              <a:buNone/>
              <a:defRPr sz="1600">
                <a:solidFill>
                  <a:schemeClr val="bg1"/>
                </a:solidFill>
              </a:defRPr>
            </a:lvl1pPr>
            <a:lvl2pPr marL="266620" indent="-266620">
              <a:lnSpc>
                <a:spcPct val="120000"/>
              </a:lnSpc>
              <a:spcBef>
                <a:spcPts val="400"/>
              </a:spcBef>
              <a:buClr>
                <a:schemeClr val="bg1"/>
              </a:buClr>
              <a:buFont typeface="Wingdings" pitchFamily="2" charset="2"/>
              <a:buChar char="§"/>
              <a:defRPr sz="1600">
                <a:solidFill>
                  <a:schemeClr val="bg1"/>
                </a:solidFill>
              </a:defRPr>
            </a:lvl2pPr>
            <a:lvl3pPr marL="539588" indent="-272968">
              <a:lnSpc>
                <a:spcPct val="120000"/>
              </a:lnSpc>
              <a:spcBef>
                <a:spcPts val="400"/>
              </a:spcBef>
              <a:buClr>
                <a:schemeClr val="bg1"/>
              </a:buClr>
              <a:buFont typeface="Arial" panose="020B0604020202020204" pitchFamily="34" charset="0"/>
              <a:buChar char="−"/>
              <a:defRPr sz="1400">
                <a:solidFill>
                  <a:schemeClr val="bg1"/>
                </a:solidFill>
              </a:defRPr>
            </a:lvl3pPr>
            <a:lvl4pPr marL="806208" indent="-266620">
              <a:lnSpc>
                <a:spcPct val="120000"/>
              </a:lnSpc>
              <a:spcBef>
                <a:spcPts val="400"/>
              </a:spcBef>
              <a:buClr>
                <a:schemeClr val="bg1"/>
              </a:buClr>
              <a:buFont typeface="Wingdings" panose="05000000000000000000" pitchFamily="2" charset="2"/>
              <a:buChar char="§"/>
              <a:defRPr sz="1200">
                <a:solidFill>
                  <a:schemeClr val="bg1"/>
                </a:solidFill>
              </a:defRPr>
            </a:lvl4pPr>
            <a:lvl5pPr marL="1071242" indent="-265033">
              <a:lnSpc>
                <a:spcPct val="120000"/>
              </a:lnSpc>
              <a:spcBef>
                <a:spcPts val="400"/>
              </a:spcBef>
              <a:buClr>
                <a:schemeClr val="bg1"/>
              </a:buClr>
              <a:buFont typeface="Arial" panose="020B0604020202020204" pitchFamily="34" charset="0"/>
              <a:buChar char="−"/>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6"/>
          <p:cNvSpPr>
            <a:spLocks noGrp="1" noChangeAspect="1"/>
          </p:cNvSpPr>
          <p:nvPr>
            <p:ph type="body" sz="quarter" idx="17" hasCustomPrompt="1"/>
          </p:nvPr>
        </p:nvSpPr>
        <p:spPr>
          <a:xfrm>
            <a:off x="11063519" y="403107"/>
            <a:ext cx="719813" cy="3635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FontTx/>
              <a:buNone/>
              <a:defRPr sz="200">
                <a:noFill/>
              </a:defRPr>
            </a:lvl1pPr>
          </a:lstStyle>
          <a:p>
            <a:pPr lvl="0"/>
            <a:r>
              <a:rPr lang="en-US"/>
              <a:t>KONE logo</a:t>
            </a:r>
          </a:p>
        </p:txBody>
      </p:sp>
    </p:spTree>
    <p:extLst>
      <p:ext uri="{BB962C8B-B14F-4D97-AF65-F5344CB8AC3E}">
        <p14:creationId xmlns:p14="http://schemas.microsoft.com/office/powerpoint/2010/main" val="298008824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F40826-2924-4E3B-9D34-0A9AEB671B91}"/>
              </a:ext>
            </a:extLst>
          </p:cNvPr>
          <p:cNvGraphicFramePr>
            <a:graphicFrameLocks noChangeAspect="1"/>
          </p:cNvGraphicFramePr>
          <p:nvPr userDrawn="1">
            <p:custDataLst>
              <p:tags r:id="rId67"/>
            </p:custDataLst>
            <p:extLst>
              <p:ext uri="{D42A27DB-BD31-4B8C-83A1-F6EECF244321}">
                <p14:modId xmlns:p14="http://schemas.microsoft.com/office/powerpoint/2010/main" val="3271692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8" imgW="360" imgH="360" progId="TCLayout.ActiveDocument.1">
                  <p:embed/>
                </p:oleObj>
              </mc:Choice>
              <mc:Fallback>
                <p:oleObj name="think-cell Slide" r:id="rId68" imgW="360" imgH="360" progId="TCLayout.ActiveDocument.1">
                  <p:embed/>
                  <p:pic>
                    <p:nvPicPr>
                      <p:cNvPr id="3" name="Object 2" hidden="1">
                        <a:extLst>
                          <a:ext uri="{FF2B5EF4-FFF2-40B4-BE49-F238E27FC236}">
                            <a16:creationId xmlns:a16="http://schemas.microsoft.com/office/drawing/2014/main" id="{B4F40826-2924-4E3B-9D34-0A9AEB671B91}"/>
                          </a:ext>
                        </a:extLst>
                      </p:cNvPr>
                      <p:cNvPicPr/>
                      <p:nvPr/>
                    </p:nvPicPr>
                    <p:blipFill>
                      <a:blip r:embed="rId69"/>
                      <a:stretch>
                        <a:fillRect/>
                      </a:stretch>
                    </p:blipFill>
                    <p:spPr>
                      <a:xfrm>
                        <a:off x="1588" y="1588"/>
                        <a:ext cx="1588" cy="1588"/>
                      </a:xfrm>
                      <a:prstGeom prst="rect">
                        <a:avLst/>
                      </a:prstGeom>
                    </p:spPr>
                  </p:pic>
                </p:oleObj>
              </mc:Fallback>
            </mc:AlternateContent>
          </a:graphicData>
        </a:graphic>
      </p:graphicFrame>
      <p:sp>
        <p:nvSpPr>
          <p:cNvPr id="8" name="Rectangle 25"/>
          <p:cNvSpPr>
            <a:spLocks noGrp="1" noChangeArrowheads="1"/>
          </p:cNvSpPr>
          <p:nvPr>
            <p:ph type="dt" sz="half" idx="2"/>
          </p:nvPr>
        </p:nvSpPr>
        <p:spPr bwMode="auto">
          <a:xfrm>
            <a:off x="696913" y="6454214"/>
            <a:ext cx="2087562" cy="1440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sz="700">
                <a:solidFill>
                  <a:schemeClr val="tx2"/>
                </a:solidFill>
              </a:defRPr>
            </a:lvl1pPr>
          </a:lstStyle>
          <a:p>
            <a:fld id="{BFC3EEDC-C779-4ADA-8710-FF34806A38F3}" type="datetime3">
              <a:rPr lang="en-US" noProof="0" smtClean="0"/>
              <a:t>13 April 2022</a:t>
            </a:fld>
            <a:endParaRPr lang="en-US" noProof="0"/>
          </a:p>
        </p:txBody>
      </p:sp>
      <p:sp>
        <p:nvSpPr>
          <p:cNvPr id="9" name="Rectangle 26"/>
          <p:cNvSpPr>
            <a:spLocks noGrp="1" noChangeArrowheads="1"/>
          </p:cNvSpPr>
          <p:nvPr>
            <p:ph type="ftr" sz="quarter" idx="3"/>
          </p:nvPr>
        </p:nvSpPr>
        <p:spPr bwMode="auto">
          <a:xfrm>
            <a:off x="9410700" y="6454214"/>
            <a:ext cx="2374900" cy="144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r">
              <a:defRPr sz="700">
                <a:solidFill>
                  <a:schemeClr val="tx2"/>
                </a:solidFill>
              </a:defRPr>
            </a:lvl1pPr>
          </a:lstStyle>
          <a:p>
            <a:r>
              <a:rPr lang="en-US" noProof="0"/>
              <a:t>Confidential  |  © KONE Corporation</a:t>
            </a:r>
          </a:p>
        </p:txBody>
      </p:sp>
      <p:sp>
        <p:nvSpPr>
          <p:cNvPr id="10" name="Rectangle 27"/>
          <p:cNvSpPr>
            <a:spLocks noGrp="1" noChangeArrowheads="1"/>
          </p:cNvSpPr>
          <p:nvPr>
            <p:ph type="sldNum" sz="quarter" idx="4"/>
          </p:nvPr>
        </p:nvSpPr>
        <p:spPr bwMode="auto">
          <a:xfrm>
            <a:off x="409576" y="6453188"/>
            <a:ext cx="287338" cy="145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defRPr sz="700">
                <a:solidFill>
                  <a:schemeClr val="tx2"/>
                </a:solidFill>
              </a:defRPr>
            </a:lvl1pPr>
          </a:lstStyle>
          <a:p>
            <a:fld id="{604FC64F-66B6-486E-8EFE-9FD96A66D16B}" type="slidenum">
              <a:rPr lang="en-US" noProof="0" smtClean="0"/>
              <a:pPr/>
              <a:t>‹#›</a:t>
            </a:fld>
            <a:endParaRPr lang="en-US" noProof="0"/>
          </a:p>
        </p:txBody>
      </p:sp>
      <p:sp>
        <p:nvSpPr>
          <p:cNvPr id="13" name="Text Placeholder 12"/>
          <p:cNvSpPr>
            <a:spLocks noGrp="1"/>
          </p:cNvSpPr>
          <p:nvPr>
            <p:ph type="body" idx="1"/>
          </p:nvPr>
        </p:nvSpPr>
        <p:spPr>
          <a:xfrm>
            <a:off x="407988" y="1628774"/>
            <a:ext cx="10367962" cy="4608514"/>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itle Placeholder 13"/>
          <p:cNvSpPr>
            <a:spLocks noGrp="1"/>
          </p:cNvSpPr>
          <p:nvPr>
            <p:ph type="title"/>
          </p:nvPr>
        </p:nvSpPr>
        <p:spPr>
          <a:xfrm>
            <a:off x="407988" y="404812"/>
            <a:ext cx="10367962" cy="863601"/>
          </a:xfrm>
          <a:prstGeom prst="rect">
            <a:avLst/>
          </a:prstGeom>
        </p:spPr>
        <p:txBody>
          <a:bodyPr vert="horz" lIns="0" tIns="0" rIns="0" bIns="0" rtlCol="0" anchor="t" anchorCtr="0">
            <a:noAutofit/>
          </a:bodyPr>
          <a:lstStyle/>
          <a:p>
            <a:r>
              <a:rPr lang="en-US" noProof="0"/>
              <a:t>Click to edit Master title style</a:t>
            </a:r>
          </a:p>
        </p:txBody>
      </p:sp>
      <p:sp>
        <p:nvSpPr>
          <p:cNvPr id="15" name="(c)" hidden="1"/>
          <p:cNvSpPr txBox="1"/>
          <p:nvPr/>
        </p:nvSpPr>
        <p:spPr>
          <a:xfrm>
            <a:off x="11863353" y="6886274"/>
            <a:ext cx="331822" cy="30778"/>
          </a:xfrm>
          <a:prstGeom prst="rect">
            <a:avLst/>
          </a:prstGeom>
          <a:noFill/>
        </p:spPr>
        <p:txBody>
          <a:bodyPr wrap="none" lIns="0" tIns="0" rIns="0" bIns="0" rtlCol="0">
            <a:spAutoFit/>
          </a:bodyPr>
          <a:lstStyle/>
          <a:p>
            <a:pPr algn="r"/>
            <a:r>
              <a:rPr lang="fi-FI" sz="200">
                <a:solidFill>
                  <a:schemeClr val="bg1"/>
                </a:solidFill>
              </a:rPr>
              <a:t>©grow. for</a:t>
            </a:r>
            <a:r>
              <a:rPr lang="fi-FI" sz="200" baseline="0">
                <a:solidFill>
                  <a:schemeClr val="bg1"/>
                </a:solidFill>
              </a:rPr>
              <a:t> KONE corporation</a:t>
            </a:r>
            <a:endParaRPr lang="en-GB" sz="200">
              <a:solidFill>
                <a:schemeClr val="bg1"/>
              </a:solidFill>
            </a:endParaRPr>
          </a:p>
        </p:txBody>
      </p:sp>
      <p:grpSp>
        <p:nvGrpSpPr>
          <p:cNvPr id="16" name="Group 15"/>
          <p:cNvGrpSpPr>
            <a:grpSpLocks noChangeAspect="1"/>
          </p:cNvGrpSpPr>
          <p:nvPr/>
        </p:nvGrpSpPr>
        <p:grpSpPr>
          <a:xfrm>
            <a:off x="11064013" y="404664"/>
            <a:ext cx="720000" cy="364398"/>
            <a:chOff x="3498850" y="2112963"/>
            <a:chExt cx="5197475" cy="2630487"/>
          </a:xfrm>
        </p:grpSpPr>
        <p:sp>
          <p:nvSpPr>
            <p:cNvPr id="17" name="Freeform 6"/>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8" name="Freeform 7"/>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784401873"/>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4379" r:id="rId9"/>
    <p:sldLayoutId id="2147483670" r:id="rId10"/>
    <p:sldLayoutId id="2147483671" r:id="rId11"/>
    <p:sldLayoutId id="2147483672" r:id="rId12"/>
    <p:sldLayoutId id="2147483673" r:id="rId13"/>
    <p:sldLayoutId id="2147483674" r:id="rId14"/>
    <p:sldLayoutId id="2147485187"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4" r:id="rId25"/>
    <p:sldLayoutId id="2147483685" r:id="rId26"/>
    <p:sldLayoutId id="2147483686" r:id="rId27"/>
    <p:sldLayoutId id="2147483687" r:id="rId28"/>
    <p:sldLayoutId id="2147484380" r:id="rId29"/>
    <p:sldLayoutId id="2147483688" r:id="rId30"/>
    <p:sldLayoutId id="2147483690" r:id="rId31"/>
    <p:sldLayoutId id="2147483691" r:id="rId32"/>
    <p:sldLayoutId id="2147483692" r:id="rId33"/>
    <p:sldLayoutId id="2147483693" r:id="rId34"/>
    <p:sldLayoutId id="2147483694" r:id="rId35"/>
    <p:sldLayoutId id="2147484378" r:id="rId36"/>
    <p:sldLayoutId id="2147484375" r:id="rId37"/>
    <p:sldLayoutId id="2147485039" r:id="rId38"/>
    <p:sldLayoutId id="2147484858" r:id="rId39"/>
    <p:sldLayoutId id="2147485048" r:id="rId40"/>
    <p:sldLayoutId id="2147484859" r:id="rId41"/>
    <p:sldLayoutId id="2147485040" r:id="rId42"/>
    <p:sldLayoutId id="2147485119" r:id="rId43"/>
    <p:sldLayoutId id="2147485044" r:id="rId44"/>
    <p:sldLayoutId id="2147485121" r:id="rId45"/>
    <p:sldLayoutId id="2147485041" r:id="rId46"/>
    <p:sldLayoutId id="2147485043" r:id="rId47"/>
    <p:sldLayoutId id="2147485042" r:id="rId48"/>
    <p:sldLayoutId id="2147485186" r:id="rId49"/>
    <p:sldLayoutId id="2147485176" r:id="rId50"/>
    <p:sldLayoutId id="2147485177" r:id="rId51"/>
    <p:sldLayoutId id="2147485180" r:id="rId52"/>
    <p:sldLayoutId id="2147485105" r:id="rId53"/>
    <p:sldLayoutId id="2147485108" r:id="rId54"/>
    <p:sldLayoutId id="2147485110" r:id="rId55"/>
    <p:sldLayoutId id="2147485115" r:id="rId56"/>
    <p:sldLayoutId id="2147485116" r:id="rId57"/>
    <p:sldLayoutId id="2147485117" r:id="rId58"/>
    <p:sldLayoutId id="2147485118" r:id="rId59"/>
    <p:sldLayoutId id="2147485178" r:id="rId60"/>
    <p:sldLayoutId id="2147485179" r:id="rId61"/>
    <p:sldLayoutId id="2147485183" r:id="rId62"/>
    <p:sldLayoutId id="2147485184" r:id="rId63"/>
    <p:sldLayoutId id="2147485185" r:id="rId64"/>
    <p:sldLayoutId id="2147485189" r:id="rId65"/>
  </p:sldLayoutIdLst>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hf hdr="0"/>
  <p:txStyles>
    <p:title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p:titleStyle>
    <p:body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svg"/><Relationship Id="rId12" Type="http://schemas.openxmlformats.org/officeDocument/2006/relationships/slide" Target="slide2.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image" Target="../media/image24.sv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svg"/></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2.xml"/><Relationship Id="rId6" Type="http://schemas.openxmlformats.org/officeDocument/2006/relationships/slide" Target="slide2.xml"/><Relationship Id="rId5" Type="http://schemas.openxmlformats.org/officeDocument/2006/relationships/image" Target="../media/image34.png"/><Relationship Id="rId4" Type="http://schemas.openxmlformats.org/officeDocument/2006/relationships/image" Target="../media/image33.jpeg"/></Relationships>
</file>

<file path=ppt/slides/_rels/slide1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slide" Target="slide2.xml"/><Relationship Id="rId5" Type="http://schemas.openxmlformats.org/officeDocument/2006/relationships/image" Target="../media/image36.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tags" Target="../tags/tag33.xml"/><Relationship Id="rId39" Type="http://schemas.openxmlformats.org/officeDocument/2006/relationships/notesSlide" Target="../notesSlides/notesSlide8.xml"/><Relationship Id="rId21" Type="http://schemas.openxmlformats.org/officeDocument/2006/relationships/tags" Target="../tags/tag28.xml"/><Relationship Id="rId34" Type="http://schemas.openxmlformats.org/officeDocument/2006/relationships/tags" Target="../tags/tag41.xml"/><Relationship Id="rId42" Type="http://schemas.openxmlformats.org/officeDocument/2006/relationships/chart" Target="../charts/chart1.xml"/><Relationship Id="rId7" Type="http://schemas.openxmlformats.org/officeDocument/2006/relationships/tags" Target="../tags/tag14.xml"/><Relationship Id="rId2" Type="http://schemas.openxmlformats.org/officeDocument/2006/relationships/tags" Target="../tags/tag9.xml"/><Relationship Id="rId16" Type="http://schemas.openxmlformats.org/officeDocument/2006/relationships/tags" Target="../tags/tag23.xml"/><Relationship Id="rId29" Type="http://schemas.openxmlformats.org/officeDocument/2006/relationships/tags" Target="../tags/tag36.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tags" Target="../tags/tag31.xml"/><Relationship Id="rId32" Type="http://schemas.openxmlformats.org/officeDocument/2006/relationships/tags" Target="../tags/tag39.xml"/><Relationship Id="rId37" Type="http://schemas.openxmlformats.org/officeDocument/2006/relationships/tags" Target="../tags/tag44.xml"/><Relationship Id="rId40" Type="http://schemas.openxmlformats.org/officeDocument/2006/relationships/oleObject" Target="../embeddings/oleObject5.bin"/><Relationship Id="rId45" Type="http://schemas.openxmlformats.org/officeDocument/2006/relationships/slide" Target="slide2.xml"/><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tags" Target="../tags/tag30.xml"/><Relationship Id="rId28" Type="http://schemas.openxmlformats.org/officeDocument/2006/relationships/tags" Target="../tags/tag35.xml"/><Relationship Id="rId36" Type="http://schemas.openxmlformats.org/officeDocument/2006/relationships/tags" Target="../tags/tag43.xml"/><Relationship Id="rId10" Type="http://schemas.openxmlformats.org/officeDocument/2006/relationships/tags" Target="../tags/tag17.xml"/><Relationship Id="rId19" Type="http://schemas.openxmlformats.org/officeDocument/2006/relationships/tags" Target="../tags/tag26.xml"/><Relationship Id="rId31" Type="http://schemas.openxmlformats.org/officeDocument/2006/relationships/tags" Target="../tags/tag38.xml"/><Relationship Id="rId44" Type="http://schemas.openxmlformats.org/officeDocument/2006/relationships/image" Target="../media/image39.sv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tags" Target="../tags/tag34.xml"/><Relationship Id="rId30" Type="http://schemas.openxmlformats.org/officeDocument/2006/relationships/tags" Target="../tags/tag37.xml"/><Relationship Id="rId35" Type="http://schemas.openxmlformats.org/officeDocument/2006/relationships/tags" Target="../tags/tag42.xml"/><Relationship Id="rId43" Type="http://schemas.openxmlformats.org/officeDocument/2006/relationships/image" Target="../media/image38.png"/><Relationship Id="rId8" Type="http://schemas.openxmlformats.org/officeDocument/2006/relationships/tags" Target="../tags/tag15.xml"/><Relationship Id="rId3" Type="http://schemas.openxmlformats.org/officeDocument/2006/relationships/tags" Target="../tags/tag10.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tags" Target="../tags/tag32.xml"/><Relationship Id="rId33" Type="http://schemas.openxmlformats.org/officeDocument/2006/relationships/tags" Target="../tags/tag40.xml"/><Relationship Id="rId38" Type="http://schemas.openxmlformats.org/officeDocument/2006/relationships/slideLayout" Target="../slideLayouts/slideLayout65.xml"/><Relationship Id="rId20" Type="http://schemas.openxmlformats.org/officeDocument/2006/relationships/tags" Target="../tags/tag27.xml"/><Relationship Id="rId41" Type="http://schemas.openxmlformats.org/officeDocument/2006/relationships/image" Target="../media/image37.emf"/></Relationships>
</file>

<file path=ppt/slides/_rels/slide1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tiff"/><Relationship Id="rId1" Type="http://schemas.openxmlformats.org/officeDocument/2006/relationships/slideLayout" Target="../slideLayouts/slideLayout2.xml"/><Relationship Id="rId4" Type="http://schemas.openxmlformats.org/officeDocument/2006/relationships/slide" Target="slide2.xml"/></Relationships>
</file>

<file path=ppt/slides/_rels/slide1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2.xml"/><Relationship Id="rId5" Type="http://schemas.openxmlformats.org/officeDocument/2006/relationships/slide" Target="slide2.xml"/><Relationship Id="rId4" Type="http://schemas.openxmlformats.org/officeDocument/2006/relationships/image" Target="../media/image44.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0.jpeg"/><Relationship Id="rId18" Type="http://schemas.openxmlformats.org/officeDocument/2006/relationships/image" Target="../media/image12.svg"/><Relationship Id="rId3" Type="http://schemas.openxmlformats.org/officeDocument/2006/relationships/slideLayout" Target="../slideLayouts/slideLayout50.xml"/><Relationship Id="rId7" Type="http://schemas.openxmlformats.org/officeDocument/2006/relationships/slide" Target="slide7.xml"/><Relationship Id="rId12" Type="http://schemas.openxmlformats.org/officeDocument/2006/relationships/slide" Target="slide9.xml"/><Relationship Id="rId17" Type="http://schemas.openxmlformats.org/officeDocument/2006/relationships/image" Target="../media/image11.png"/><Relationship Id="rId2" Type="http://schemas.openxmlformats.org/officeDocument/2006/relationships/tags" Target="../tags/tag6.xml"/><Relationship Id="rId16" Type="http://schemas.openxmlformats.org/officeDocument/2006/relationships/slide" Target="slide8.xml"/><Relationship Id="rId1" Type="http://schemas.openxmlformats.org/officeDocument/2006/relationships/tags" Target="../tags/tag5.xml"/><Relationship Id="rId6" Type="http://schemas.openxmlformats.org/officeDocument/2006/relationships/image" Target="../media/image6.jpeg"/><Relationship Id="rId11" Type="http://schemas.openxmlformats.org/officeDocument/2006/relationships/image" Target="../media/image9.png"/><Relationship Id="rId5" Type="http://schemas.openxmlformats.org/officeDocument/2006/relationships/slide" Target="slide3.xml"/><Relationship Id="rId15" Type="http://schemas.openxmlformats.org/officeDocument/2006/relationships/image" Target="../media/image1.emf"/><Relationship Id="rId10" Type="http://schemas.openxmlformats.org/officeDocument/2006/relationships/slide" Target="slide15.xml"/><Relationship Id="rId4" Type="http://schemas.openxmlformats.org/officeDocument/2006/relationships/notesSlide" Target="../notesSlides/notesSlide1.xml"/><Relationship Id="rId9" Type="http://schemas.openxmlformats.org/officeDocument/2006/relationships/image" Target="../media/image8.jpeg"/><Relationship Id="rId1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3.tif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slide" Target="slide2.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slide" Target="slide2.xml"/></Relationships>
</file>

<file path=ppt/slides/_rels/slide7.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slide" Target="slide2.xml"/><Relationship Id="rId4" Type="http://schemas.openxmlformats.org/officeDocument/2006/relationships/image" Target="../media/image17.emf"/></Relationships>
</file>

<file path=ppt/slides/_rels/slide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tiff"/><Relationship Id="rId1" Type="http://schemas.openxmlformats.org/officeDocument/2006/relationships/slideLayout" Target="../slideLayouts/slideLayout2.xml"/><Relationship Id="rId4" Type="http://schemas.openxmlformats.org/officeDocument/2006/relationships/slide" Target="slide2.xml"/></Relationships>
</file>

<file path=ppt/slides/_rels/slide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slide" Target="slide2.xml"/><Relationship Id="rId4" Type="http://schemas.openxmlformats.org/officeDocument/2006/relationships/image" Target="../media/image2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32B2C8B-A69A-784B-A46C-F2517B51429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itle 6">
            <a:extLst>
              <a:ext uri="{FF2B5EF4-FFF2-40B4-BE49-F238E27FC236}">
                <a16:creationId xmlns:a16="http://schemas.microsoft.com/office/drawing/2014/main" id="{A075F767-EA81-5C40-9CEF-B6ADC6E5917A}"/>
              </a:ext>
            </a:extLst>
          </p:cNvPr>
          <p:cNvSpPr>
            <a:spLocks noGrp="1"/>
          </p:cNvSpPr>
          <p:nvPr>
            <p:ph type="ctrTitle"/>
          </p:nvPr>
        </p:nvSpPr>
        <p:spPr/>
        <p:txBody>
          <a:bodyPr/>
          <a:lstStyle/>
          <a:p>
            <a:r>
              <a:rPr lang="en-US" sz="6000" dirty="0">
                <a:solidFill>
                  <a:srgbClr val="FFFFFF"/>
                </a:solidFill>
              </a:rPr>
              <a:t>KONE Care™ DX</a:t>
            </a:r>
            <a:endParaRPr lang="en-US" sz="5400" dirty="0">
              <a:solidFill>
                <a:srgbClr val="FFFFFF"/>
              </a:solidFill>
            </a:endParaRPr>
          </a:p>
        </p:txBody>
      </p:sp>
      <p:sp>
        <p:nvSpPr>
          <p:cNvPr id="3" name="Subtitle 2">
            <a:extLst>
              <a:ext uri="{FF2B5EF4-FFF2-40B4-BE49-F238E27FC236}">
                <a16:creationId xmlns:a16="http://schemas.microsoft.com/office/drawing/2014/main" id="{743A6860-3925-4A4D-9695-A8F9529F4B6D}"/>
              </a:ext>
            </a:extLst>
          </p:cNvPr>
          <p:cNvSpPr>
            <a:spLocks noGrp="1"/>
          </p:cNvSpPr>
          <p:nvPr>
            <p:ph type="subTitle" idx="1"/>
          </p:nvPr>
        </p:nvSpPr>
        <p:spPr/>
        <p:txBody>
          <a:bodyPr/>
          <a:lstStyle/>
          <a:p>
            <a:r>
              <a:rPr lang="en-GB" sz="2400" cap="none">
                <a:solidFill>
                  <a:srgbClr val="FFFFFF"/>
                </a:solidFill>
              </a:rPr>
              <a:t>The future of smart and sustainable maintenance</a:t>
            </a:r>
            <a:endParaRPr lang="en-FI" sz="2400" cap="none">
              <a:solidFill>
                <a:srgbClr val="FFFFFF"/>
              </a:solidFill>
            </a:endParaRPr>
          </a:p>
        </p:txBody>
      </p:sp>
      <p:sp>
        <p:nvSpPr>
          <p:cNvPr id="4" name="Date Placeholder 3">
            <a:extLst>
              <a:ext uri="{FF2B5EF4-FFF2-40B4-BE49-F238E27FC236}">
                <a16:creationId xmlns:a16="http://schemas.microsoft.com/office/drawing/2014/main" id="{997642DB-BB9C-1347-B0E5-81F4C3599885}"/>
              </a:ext>
            </a:extLst>
          </p:cNvPr>
          <p:cNvSpPr>
            <a:spLocks noGrp="1"/>
          </p:cNvSpPr>
          <p:nvPr>
            <p:ph type="dt" sz="half" idx="10"/>
          </p:nvPr>
        </p:nvSpPr>
        <p:spPr/>
        <p:txBody>
          <a:bodyPr/>
          <a:lstStyle/>
          <a:p>
            <a:fld id="{7B063993-D8AC-48B8-9E98-5E3339943654}" type="datetime3">
              <a:rPr lang="en-US" smtClean="0"/>
              <a:t>13 April 2022</a:t>
            </a:fld>
            <a:endParaRPr lang="en-US"/>
          </a:p>
        </p:txBody>
      </p:sp>
      <p:sp>
        <p:nvSpPr>
          <p:cNvPr id="5" name="Footer Placeholder 4">
            <a:extLst>
              <a:ext uri="{FF2B5EF4-FFF2-40B4-BE49-F238E27FC236}">
                <a16:creationId xmlns:a16="http://schemas.microsoft.com/office/drawing/2014/main" id="{09ADCB69-8D3B-B646-A6D6-C47F4D0A89E8}"/>
              </a:ext>
            </a:extLst>
          </p:cNvPr>
          <p:cNvSpPr>
            <a:spLocks noGrp="1"/>
          </p:cNvSpPr>
          <p:nvPr>
            <p:ph type="ftr" sz="quarter" idx="11"/>
          </p:nvPr>
        </p:nvSpPr>
        <p:spPr/>
        <p:txBody>
          <a:bodyPr/>
          <a:lstStyle/>
          <a:p>
            <a:r>
              <a:rPr lang="en-US"/>
              <a:t>Confidential  |  © KONE Corporation</a:t>
            </a:r>
          </a:p>
        </p:txBody>
      </p:sp>
      <p:sp>
        <p:nvSpPr>
          <p:cNvPr id="6" name="Slide Number Placeholder 5">
            <a:extLst>
              <a:ext uri="{FF2B5EF4-FFF2-40B4-BE49-F238E27FC236}">
                <a16:creationId xmlns:a16="http://schemas.microsoft.com/office/drawing/2014/main" id="{4853CEC2-09B9-DD4C-94CE-21AA45CD3301}"/>
              </a:ext>
            </a:extLst>
          </p:cNvPr>
          <p:cNvSpPr>
            <a:spLocks noGrp="1"/>
          </p:cNvSpPr>
          <p:nvPr>
            <p:ph type="sldNum" sz="quarter" idx="12"/>
          </p:nvPr>
        </p:nvSpPr>
        <p:spPr/>
        <p:txBody>
          <a:bodyPr/>
          <a:lstStyle/>
          <a:p>
            <a:fld id="{604FC64F-66B6-486E-8EFE-9FD96A66D16B}" type="slidenum">
              <a:rPr lang="en-US" smtClean="0"/>
              <a:pPr/>
              <a:t>1</a:t>
            </a:fld>
            <a:endParaRPr lang="en-US"/>
          </a:p>
        </p:txBody>
      </p:sp>
      <p:grpSp>
        <p:nvGrpSpPr>
          <p:cNvPr id="11" name="Group 10">
            <a:extLst>
              <a:ext uri="{FF2B5EF4-FFF2-40B4-BE49-F238E27FC236}">
                <a16:creationId xmlns:a16="http://schemas.microsoft.com/office/drawing/2014/main" id="{95988186-45BA-8946-8A88-C3ADE8083D0C}"/>
              </a:ext>
            </a:extLst>
          </p:cNvPr>
          <p:cNvGrpSpPr>
            <a:grpSpLocks noChangeAspect="1"/>
          </p:cNvGrpSpPr>
          <p:nvPr/>
        </p:nvGrpSpPr>
        <p:grpSpPr>
          <a:xfrm>
            <a:off x="11064013" y="404664"/>
            <a:ext cx="720000" cy="364398"/>
            <a:chOff x="3498850" y="2112963"/>
            <a:chExt cx="5197475" cy="2630487"/>
          </a:xfrm>
        </p:grpSpPr>
        <p:sp>
          <p:nvSpPr>
            <p:cNvPr id="12" name="Freeform 6">
              <a:extLst>
                <a:ext uri="{FF2B5EF4-FFF2-40B4-BE49-F238E27FC236}">
                  <a16:creationId xmlns:a16="http://schemas.microsoft.com/office/drawing/2014/main" id="{1711C463-69FB-4C49-ADAD-3D02F054177C}"/>
                </a:ext>
              </a:extLst>
            </p:cNvPr>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3" name="Freeform 7">
              <a:extLst>
                <a:ext uri="{FF2B5EF4-FFF2-40B4-BE49-F238E27FC236}">
                  <a16:creationId xmlns:a16="http://schemas.microsoft.com/office/drawing/2014/main" id="{BBA5E2FF-CC3F-C945-89A6-4DF9FCF63981}"/>
                </a:ext>
              </a:extLst>
            </p:cNvPr>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283839857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B6BAC35-77B8-E940-A403-806995AECFA3}"/>
              </a:ext>
            </a:extLst>
          </p:cNvPr>
          <p:cNvSpPr>
            <a:spLocks noGrp="1"/>
          </p:cNvSpPr>
          <p:nvPr>
            <p:ph sz="quarter" idx="13"/>
          </p:nvPr>
        </p:nvSpPr>
        <p:spPr>
          <a:xfrm>
            <a:off x="407988" y="1268413"/>
            <a:ext cx="1800000" cy="5085523"/>
          </a:xfrm>
          <a:noFill/>
          <a:ln w="12700">
            <a:noFill/>
          </a:ln>
        </p:spPr>
        <p:txBody>
          <a:bodyPr lIns="0" tIns="720000" rIns="0" bIns="0" anchor="t" anchorCtr="0"/>
          <a:lstStyle/>
          <a:p>
            <a:pPr marL="0" indent="0" algn="ctr">
              <a:buNone/>
            </a:pPr>
            <a:r>
              <a:rPr lang="en-FI" sz="1400" b="1"/>
              <a:t>ENERGY EFFICIENT ELEVATORS</a:t>
            </a:r>
          </a:p>
        </p:txBody>
      </p:sp>
      <p:sp>
        <p:nvSpPr>
          <p:cNvPr id="19" name="Content Placeholder 4">
            <a:extLst>
              <a:ext uri="{FF2B5EF4-FFF2-40B4-BE49-F238E27FC236}">
                <a16:creationId xmlns:a16="http://schemas.microsoft.com/office/drawing/2014/main" id="{10C825C0-A70B-CE4C-A5D6-C39E49059776}"/>
              </a:ext>
            </a:extLst>
          </p:cNvPr>
          <p:cNvSpPr txBox="1">
            <a:spLocks/>
          </p:cNvSpPr>
          <p:nvPr/>
        </p:nvSpPr>
        <p:spPr>
          <a:xfrm>
            <a:off x="2322064" y="1268413"/>
            <a:ext cx="1800000" cy="5085523"/>
          </a:xfrm>
          <a:prstGeom prst="rect">
            <a:avLst/>
          </a:prstGeom>
          <a:noFill/>
          <a:ln w="12700">
            <a:noFill/>
          </a:ln>
        </p:spPr>
        <p:txBody>
          <a:bodyPr vert="horz" lIns="0" tIns="720000" rIns="0" bIns="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indent="0" algn="ctr">
              <a:buFont typeface="Wingdings" panose="05000000000000000000" pitchFamily="2" charset="2"/>
              <a:buNone/>
            </a:pPr>
            <a:r>
              <a:rPr lang="en-FI" sz="1400" b="1">
                <a:solidFill>
                  <a:schemeClr val="accent1"/>
                </a:solidFill>
              </a:rPr>
              <a:t>MEASURE</a:t>
            </a:r>
          </a:p>
        </p:txBody>
      </p:sp>
      <p:sp>
        <p:nvSpPr>
          <p:cNvPr id="20" name="Content Placeholder 4">
            <a:extLst>
              <a:ext uri="{FF2B5EF4-FFF2-40B4-BE49-F238E27FC236}">
                <a16:creationId xmlns:a16="http://schemas.microsoft.com/office/drawing/2014/main" id="{EEC84B36-AD71-E244-AADB-289529281561}"/>
              </a:ext>
            </a:extLst>
          </p:cNvPr>
          <p:cNvSpPr txBox="1">
            <a:spLocks/>
          </p:cNvSpPr>
          <p:nvPr/>
        </p:nvSpPr>
        <p:spPr>
          <a:xfrm>
            <a:off x="9978369" y="1268413"/>
            <a:ext cx="1800000" cy="5085523"/>
          </a:xfrm>
          <a:prstGeom prst="rect">
            <a:avLst/>
          </a:prstGeom>
          <a:noFill/>
          <a:ln w="12700">
            <a:noFill/>
          </a:ln>
        </p:spPr>
        <p:txBody>
          <a:bodyPr vert="horz" lIns="0" tIns="720000" rIns="0" bIns="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indent="0" algn="ctr">
              <a:buFont typeface="Wingdings" panose="05000000000000000000" pitchFamily="2" charset="2"/>
              <a:buNone/>
            </a:pPr>
            <a:r>
              <a:rPr lang="en-FI" sz="1400" b="1">
                <a:solidFill>
                  <a:schemeClr val="accent2"/>
                </a:solidFill>
              </a:rPr>
              <a:t>COMPENSATE</a:t>
            </a:r>
          </a:p>
        </p:txBody>
      </p:sp>
      <p:sp>
        <p:nvSpPr>
          <p:cNvPr id="27" name="Content Placeholder 4">
            <a:extLst>
              <a:ext uri="{FF2B5EF4-FFF2-40B4-BE49-F238E27FC236}">
                <a16:creationId xmlns:a16="http://schemas.microsoft.com/office/drawing/2014/main" id="{7901B5B6-5C99-6D47-8FA2-49E9A467C49C}"/>
              </a:ext>
            </a:extLst>
          </p:cNvPr>
          <p:cNvSpPr txBox="1">
            <a:spLocks/>
          </p:cNvSpPr>
          <p:nvPr/>
        </p:nvSpPr>
        <p:spPr>
          <a:xfrm>
            <a:off x="4234502" y="1268414"/>
            <a:ext cx="5626514" cy="4148596"/>
          </a:xfrm>
          <a:prstGeom prst="rect">
            <a:avLst/>
          </a:prstGeom>
          <a:noFill/>
          <a:ln w="12700">
            <a:noFill/>
          </a:ln>
        </p:spPr>
        <p:txBody>
          <a:bodyPr vert="horz" lIns="0" tIns="720000" rIns="0" bIns="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indent="0" algn="ctr">
              <a:buFont typeface="Wingdings" panose="05000000000000000000" pitchFamily="2" charset="2"/>
              <a:buNone/>
            </a:pPr>
            <a:r>
              <a:rPr lang="en-FI" sz="1400" b="1">
                <a:solidFill>
                  <a:schemeClr val="tx2"/>
                </a:solidFill>
              </a:rPr>
              <a:t>REDUCE</a:t>
            </a:r>
          </a:p>
        </p:txBody>
      </p:sp>
      <p:sp>
        <p:nvSpPr>
          <p:cNvPr id="2" name="Date Placeholder 1">
            <a:extLst>
              <a:ext uri="{FF2B5EF4-FFF2-40B4-BE49-F238E27FC236}">
                <a16:creationId xmlns:a16="http://schemas.microsoft.com/office/drawing/2014/main" id="{AC4250F1-6A9D-0D42-AAB4-47435D72011B}"/>
              </a:ext>
            </a:extLst>
          </p:cNvPr>
          <p:cNvSpPr>
            <a:spLocks noGrp="1"/>
          </p:cNvSpPr>
          <p:nvPr>
            <p:ph type="dt" sz="half" idx="10"/>
          </p:nvPr>
        </p:nvSpPr>
        <p:spPr/>
        <p:txBody>
          <a:bodyPr/>
          <a:lstStyle/>
          <a:p>
            <a:fld id="{10A855FF-A7DB-4496-86BC-B306FA607763}" type="datetime3">
              <a:rPr lang="en-US" noProof="0" smtClean="0"/>
              <a:t>13 April 2022</a:t>
            </a:fld>
            <a:endParaRPr lang="en-US" noProof="0"/>
          </a:p>
        </p:txBody>
      </p:sp>
      <p:sp>
        <p:nvSpPr>
          <p:cNvPr id="3" name="Footer Placeholder 2">
            <a:extLst>
              <a:ext uri="{FF2B5EF4-FFF2-40B4-BE49-F238E27FC236}">
                <a16:creationId xmlns:a16="http://schemas.microsoft.com/office/drawing/2014/main" id="{CADF07B0-1B17-A44C-A820-F7F030349108}"/>
              </a:ext>
            </a:extLst>
          </p:cNvPr>
          <p:cNvSpPr>
            <a:spLocks noGrp="1"/>
          </p:cNvSpPr>
          <p:nvPr>
            <p:ph type="ftr" sz="quarter" idx="11"/>
          </p:nvPr>
        </p:nvSpPr>
        <p:spPr/>
        <p:txBody>
          <a:bodyPr/>
          <a:lstStyle/>
          <a:p>
            <a:r>
              <a:rPr lang="en-US" noProof="0"/>
              <a:t>Confidential  |  © KONE Corporation</a:t>
            </a:r>
          </a:p>
        </p:txBody>
      </p:sp>
      <p:sp>
        <p:nvSpPr>
          <p:cNvPr id="4" name="Slide Number Placeholder 3">
            <a:extLst>
              <a:ext uri="{FF2B5EF4-FFF2-40B4-BE49-F238E27FC236}">
                <a16:creationId xmlns:a16="http://schemas.microsoft.com/office/drawing/2014/main" id="{711BAA23-9095-7744-BC7A-8938957228D0}"/>
              </a:ext>
            </a:extLst>
          </p:cNvPr>
          <p:cNvSpPr>
            <a:spLocks noGrp="1"/>
          </p:cNvSpPr>
          <p:nvPr>
            <p:ph type="sldNum" sz="quarter" idx="12"/>
          </p:nvPr>
        </p:nvSpPr>
        <p:spPr/>
        <p:txBody>
          <a:bodyPr/>
          <a:lstStyle/>
          <a:p>
            <a:fld id="{604FC64F-66B6-486E-8EFE-9FD96A66D16B}" type="slidenum">
              <a:rPr lang="en-US" noProof="0" smtClean="0"/>
              <a:pPr/>
              <a:t>10</a:t>
            </a:fld>
            <a:endParaRPr lang="en-US" noProof="0"/>
          </a:p>
        </p:txBody>
      </p:sp>
      <p:sp>
        <p:nvSpPr>
          <p:cNvPr id="6" name="Title 5">
            <a:extLst>
              <a:ext uri="{FF2B5EF4-FFF2-40B4-BE49-F238E27FC236}">
                <a16:creationId xmlns:a16="http://schemas.microsoft.com/office/drawing/2014/main" id="{C8E12808-E3BD-554A-B368-F47F91DF7ACD}"/>
              </a:ext>
            </a:extLst>
          </p:cNvPr>
          <p:cNvSpPr>
            <a:spLocks noGrp="1"/>
          </p:cNvSpPr>
          <p:nvPr>
            <p:ph type="title"/>
          </p:nvPr>
        </p:nvSpPr>
        <p:spPr/>
        <p:txBody>
          <a:bodyPr/>
          <a:lstStyle/>
          <a:p>
            <a:r>
              <a:rPr lang="en-FI"/>
              <a:t>Carbon neutral maintenance – how do we do it? </a:t>
            </a:r>
          </a:p>
        </p:txBody>
      </p:sp>
      <p:sp>
        <p:nvSpPr>
          <p:cNvPr id="7" name="Content Placeholder 4">
            <a:extLst>
              <a:ext uri="{FF2B5EF4-FFF2-40B4-BE49-F238E27FC236}">
                <a16:creationId xmlns:a16="http://schemas.microsoft.com/office/drawing/2014/main" id="{6366AB37-F1CB-C841-A91A-4FCCFCCD65EE}"/>
              </a:ext>
            </a:extLst>
          </p:cNvPr>
          <p:cNvSpPr txBox="1">
            <a:spLocks/>
          </p:cNvSpPr>
          <p:nvPr/>
        </p:nvSpPr>
        <p:spPr>
          <a:xfrm>
            <a:off x="6254073" y="3462859"/>
            <a:ext cx="1495818" cy="1038185"/>
          </a:xfrm>
          <a:prstGeom prst="rect">
            <a:avLst/>
          </a:prstGeom>
          <a:solidFill>
            <a:schemeClr val="tx2"/>
          </a:solidFill>
        </p:spPr>
        <p:txBody>
          <a:bodyPr vert="horz" lIns="0" tIns="72000" rIns="0" bIns="0" rtlCol="0" anchor="ctr"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indent="0" algn="ctr">
              <a:buFont typeface="Wingdings" panose="05000000000000000000" pitchFamily="2" charset="2"/>
              <a:buNone/>
            </a:pPr>
            <a:r>
              <a:rPr lang="en-FI" sz="1400">
                <a:solidFill>
                  <a:schemeClr val="bg1"/>
                </a:solidFill>
              </a:rPr>
              <a:t>Maintenance </a:t>
            </a:r>
            <a:br>
              <a:rPr lang="fi-FI" sz="1400">
                <a:solidFill>
                  <a:schemeClr val="bg1"/>
                </a:solidFill>
              </a:rPr>
            </a:br>
            <a:r>
              <a:rPr lang="en-FI" sz="1400">
                <a:solidFill>
                  <a:schemeClr val="bg1"/>
                </a:solidFill>
              </a:rPr>
              <a:t>visits</a:t>
            </a:r>
          </a:p>
        </p:txBody>
      </p:sp>
      <p:sp>
        <p:nvSpPr>
          <p:cNvPr id="8" name="Content Placeholder 4">
            <a:extLst>
              <a:ext uri="{FF2B5EF4-FFF2-40B4-BE49-F238E27FC236}">
                <a16:creationId xmlns:a16="http://schemas.microsoft.com/office/drawing/2014/main" id="{ADC6C7F5-077C-494F-AA09-9F1CA557775F}"/>
              </a:ext>
            </a:extLst>
          </p:cNvPr>
          <p:cNvSpPr txBox="1">
            <a:spLocks/>
          </p:cNvSpPr>
          <p:nvPr/>
        </p:nvSpPr>
        <p:spPr>
          <a:xfrm>
            <a:off x="7914882" y="3467214"/>
            <a:ext cx="1495818" cy="1038181"/>
          </a:xfrm>
          <a:prstGeom prst="rect">
            <a:avLst/>
          </a:prstGeom>
          <a:solidFill>
            <a:schemeClr val="tx2"/>
          </a:solidFill>
        </p:spPr>
        <p:txBody>
          <a:bodyPr vert="horz" lIns="0" tIns="72000" rIns="0" bIns="0" rtlCol="0" anchor="ctr"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indent="0" algn="ctr">
              <a:buFont typeface="Wingdings" panose="05000000000000000000" pitchFamily="2" charset="2"/>
              <a:buNone/>
            </a:pPr>
            <a:r>
              <a:rPr lang="en-FI" sz="1400">
                <a:solidFill>
                  <a:schemeClr val="bg1"/>
                </a:solidFill>
              </a:rPr>
              <a:t>Facilities</a:t>
            </a:r>
          </a:p>
        </p:txBody>
      </p:sp>
      <p:sp>
        <p:nvSpPr>
          <p:cNvPr id="9" name="Content Placeholder 4">
            <a:extLst>
              <a:ext uri="{FF2B5EF4-FFF2-40B4-BE49-F238E27FC236}">
                <a16:creationId xmlns:a16="http://schemas.microsoft.com/office/drawing/2014/main" id="{6F77D452-00CE-9946-8546-9902CBF3C96A}"/>
              </a:ext>
            </a:extLst>
          </p:cNvPr>
          <p:cNvSpPr txBox="1">
            <a:spLocks/>
          </p:cNvSpPr>
          <p:nvPr/>
        </p:nvSpPr>
        <p:spPr>
          <a:xfrm>
            <a:off x="407988" y="3069092"/>
            <a:ext cx="1800000" cy="2303243"/>
          </a:xfrm>
          <a:prstGeom prst="rect">
            <a:avLst/>
          </a:prstGeom>
        </p:spPr>
        <p:txBody>
          <a:bodyPr vert="horz" lIns="72000" tIns="0" rIns="72000" bIns="0" rtlCol="0" anchor="t">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133350" indent="-133350">
              <a:buClrTx/>
            </a:pPr>
            <a:r>
              <a:rPr lang="en-GB" sz="1200"/>
              <a:t>21 elevators with the best A-class rating</a:t>
            </a:r>
          </a:p>
          <a:p>
            <a:pPr marL="133350" indent="-133350">
              <a:buClrTx/>
            </a:pPr>
            <a:r>
              <a:rPr lang="en-GB" sz="1200"/>
              <a:t>Regenerative drive and other innovations</a:t>
            </a:r>
          </a:p>
        </p:txBody>
      </p:sp>
      <p:pic>
        <p:nvPicPr>
          <p:cNvPr id="13" name="Picture 12" descr="Logo&#10;&#10;Description automatically generated with medium confidence">
            <a:extLst>
              <a:ext uri="{FF2B5EF4-FFF2-40B4-BE49-F238E27FC236}">
                <a16:creationId xmlns:a16="http://schemas.microsoft.com/office/drawing/2014/main" id="{024629F9-E1F5-854E-8F7A-5E40650441F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42497" y="5145015"/>
            <a:ext cx="1333785" cy="764703"/>
          </a:xfrm>
          <a:prstGeom prst="rect">
            <a:avLst/>
          </a:prstGeom>
        </p:spPr>
      </p:pic>
      <p:sp>
        <p:nvSpPr>
          <p:cNvPr id="14" name="Content Placeholder 4">
            <a:extLst>
              <a:ext uri="{FF2B5EF4-FFF2-40B4-BE49-F238E27FC236}">
                <a16:creationId xmlns:a16="http://schemas.microsoft.com/office/drawing/2014/main" id="{64170569-CBD1-4E44-A297-E4EBBCA139AE}"/>
              </a:ext>
            </a:extLst>
          </p:cNvPr>
          <p:cNvSpPr txBox="1">
            <a:spLocks/>
          </p:cNvSpPr>
          <p:nvPr/>
        </p:nvSpPr>
        <p:spPr>
          <a:xfrm>
            <a:off x="6036140" y="4829720"/>
            <a:ext cx="3828152" cy="1395294"/>
          </a:xfrm>
          <a:prstGeom prst="rect">
            <a:avLst/>
          </a:prstGeom>
        </p:spPr>
        <p:txBody>
          <a:bodyPr vert="horz" lIns="0" tIns="0" rIns="0" bIns="0" rtlCol="0" anchor="ctr">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indent="0">
              <a:buNone/>
            </a:pPr>
            <a:r>
              <a:rPr lang="en-GB" sz="1200">
                <a:solidFill>
                  <a:schemeClr val="tx2"/>
                </a:solidFill>
              </a:rPr>
              <a:t>In line with KONE’s Climate Pledge targets. </a:t>
            </a:r>
            <a:br>
              <a:rPr lang="en-GB" sz="1200">
                <a:solidFill>
                  <a:schemeClr val="tx2"/>
                </a:solidFill>
              </a:rPr>
            </a:br>
            <a:r>
              <a:rPr lang="en-GB" sz="1200">
                <a:solidFill>
                  <a:schemeClr val="tx2"/>
                </a:solidFill>
              </a:rPr>
              <a:t>According to KONE’s Environmental Guidelines and </a:t>
            </a:r>
            <a:br>
              <a:rPr lang="en-GB" sz="1200">
                <a:solidFill>
                  <a:schemeClr val="tx2"/>
                </a:solidFill>
              </a:rPr>
            </a:br>
            <a:r>
              <a:rPr lang="en-GB" sz="1200">
                <a:solidFill>
                  <a:schemeClr val="tx2"/>
                </a:solidFill>
              </a:rPr>
              <a:t>overall emission reduction targets </a:t>
            </a:r>
          </a:p>
        </p:txBody>
      </p:sp>
      <p:cxnSp>
        <p:nvCxnSpPr>
          <p:cNvPr id="16" name="Straight Connector 15">
            <a:extLst>
              <a:ext uri="{FF2B5EF4-FFF2-40B4-BE49-F238E27FC236}">
                <a16:creationId xmlns:a16="http://schemas.microsoft.com/office/drawing/2014/main" id="{FA9544E3-E29D-A945-8661-0E02BF9E4DC2}"/>
              </a:ext>
            </a:extLst>
          </p:cNvPr>
          <p:cNvCxnSpPr>
            <a:cxnSpLocks/>
          </p:cNvCxnSpPr>
          <p:nvPr/>
        </p:nvCxnSpPr>
        <p:spPr>
          <a:xfrm>
            <a:off x="4593265" y="2924944"/>
            <a:ext cx="481743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Content Placeholder 4">
            <a:extLst>
              <a:ext uri="{FF2B5EF4-FFF2-40B4-BE49-F238E27FC236}">
                <a16:creationId xmlns:a16="http://schemas.microsoft.com/office/drawing/2014/main" id="{1113325F-540E-1C48-B550-224367F03E55}"/>
              </a:ext>
            </a:extLst>
          </p:cNvPr>
          <p:cNvSpPr txBox="1">
            <a:spLocks/>
          </p:cNvSpPr>
          <p:nvPr/>
        </p:nvSpPr>
        <p:spPr>
          <a:xfrm>
            <a:off x="4593265" y="3452639"/>
            <a:ext cx="1495818" cy="1038181"/>
          </a:xfrm>
          <a:prstGeom prst="rect">
            <a:avLst/>
          </a:prstGeom>
          <a:solidFill>
            <a:schemeClr val="tx2"/>
          </a:solidFill>
        </p:spPr>
        <p:txBody>
          <a:bodyPr vert="horz" lIns="0" tIns="72000" rIns="0" bIns="0" rtlCol="0" anchor="ctr"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indent="0" algn="ctr">
              <a:buFont typeface="Wingdings" panose="05000000000000000000" pitchFamily="2" charset="2"/>
              <a:buNone/>
            </a:pPr>
            <a:r>
              <a:rPr lang="en-FI" sz="1400">
                <a:solidFill>
                  <a:schemeClr val="bg1"/>
                </a:solidFill>
              </a:rPr>
              <a:t>Spare parts</a:t>
            </a:r>
          </a:p>
        </p:txBody>
      </p:sp>
      <p:sp>
        <p:nvSpPr>
          <p:cNvPr id="28" name="Content Placeholder 4">
            <a:extLst>
              <a:ext uri="{FF2B5EF4-FFF2-40B4-BE49-F238E27FC236}">
                <a16:creationId xmlns:a16="http://schemas.microsoft.com/office/drawing/2014/main" id="{21E2639E-DCAB-674D-9260-66A1204BFB14}"/>
              </a:ext>
            </a:extLst>
          </p:cNvPr>
          <p:cNvSpPr txBox="1">
            <a:spLocks/>
          </p:cNvSpPr>
          <p:nvPr/>
        </p:nvSpPr>
        <p:spPr>
          <a:xfrm>
            <a:off x="2321245" y="3069092"/>
            <a:ext cx="1800000" cy="2303243"/>
          </a:xfrm>
          <a:prstGeom prst="rect">
            <a:avLst/>
          </a:prstGeom>
        </p:spPr>
        <p:txBody>
          <a:bodyPr vert="horz" lIns="72000" tIns="0" rIns="72000" bIns="0" rtlCol="0" anchor="t">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133350" indent="-133350">
              <a:buClr>
                <a:schemeClr val="accent1"/>
              </a:buClr>
            </a:pPr>
            <a:r>
              <a:rPr lang="en-GB" sz="1200"/>
              <a:t>We calculate the CO2 impacts of all the activities associated with maintaining the equipment and verify the results with third party verifiers</a:t>
            </a:r>
          </a:p>
        </p:txBody>
      </p:sp>
      <p:sp>
        <p:nvSpPr>
          <p:cNvPr id="32" name="Content Placeholder 4">
            <a:extLst>
              <a:ext uri="{FF2B5EF4-FFF2-40B4-BE49-F238E27FC236}">
                <a16:creationId xmlns:a16="http://schemas.microsoft.com/office/drawing/2014/main" id="{91C52F2C-7629-9249-B2F6-C86CE2A6FC2B}"/>
              </a:ext>
            </a:extLst>
          </p:cNvPr>
          <p:cNvSpPr txBox="1">
            <a:spLocks/>
          </p:cNvSpPr>
          <p:nvPr/>
        </p:nvSpPr>
        <p:spPr>
          <a:xfrm>
            <a:off x="9974275" y="3069092"/>
            <a:ext cx="1800000" cy="2303243"/>
          </a:xfrm>
          <a:prstGeom prst="rect">
            <a:avLst/>
          </a:prstGeom>
        </p:spPr>
        <p:txBody>
          <a:bodyPr vert="horz" lIns="72000" tIns="0" rIns="72000" bIns="0" rtlCol="0" anchor="t">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133350" indent="-133350">
              <a:buClr>
                <a:schemeClr val="accent2"/>
              </a:buClr>
            </a:pPr>
            <a:r>
              <a:rPr lang="en-GB" sz="1200"/>
              <a:t>The remaining carbon emissions will be calculated and compensated</a:t>
            </a:r>
          </a:p>
        </p:txBody>
      </p:sp>
      <p:pic>
        <p:nvPicPr>
          <p:cNvPr id="33" name="Graphic 32">
            <a:extLst>
              <a:ext uri="{FF2B5EF4-FFF2-40B4-BE49-F238E27FC236}">
                <a16:creationId xmlns:a16="http://schemas.microsoft.com/office/drawing/2014/main" id="{1276C0FD-E885-554F-9ABE-E702511E425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48272" y="1394520"/>
            <a:ext cx="516155" cy="516155"/>
          </a:xfrm>
          <a:prstGeom prst="rect">
            <a:avLst/>
          </a:prstGeom>
        </p:spPr>
      </p:pic>
      <p:pic>
        <p:nvPicPr>
          <p:cNvPr id="37" name="Graphic 36">
            <a:extLst>
              <a:ext uri="{FF2B5EF4-FFF2-40B4-BE49-F238E27FC236}">
                <a16:creationId xmlns:a16="http://schemas.microsoft.com/office/drawing/2014/main" id="{94F7891E-DCF5-5D44-ADB1-3AA6E403B62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700000">
            <a:off x="6789681" y="1394520"/>
            <a:ext cx="516155" cy="516155"/>
          </a:xfrm>
          <a:prstGeom prst="rect">
            <a:avLst/>
          </a:prstGeom>
        </p:spPr>
      </p:pic>
      <p:pic>
        <p:nvPicPr>
          <p:cNvPr id="39" name="Graphic 38">
            <a:extLst>
              <a:ext uri="{FF2B5EF4-FFF2-40B4-BE49-F238E27FC236}">
                <a16:creationId xmlns:a16="http://schemas.microsoft.com/office/drawing/2014/main" id="{2EB5B626-5BA0-024C-9B4E-8F8C50D795C4}"/>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616197" y="1394520"/>
            <a:ext cx="516155" cy="516155"/>
          </a:xfrm>
          <a:prstGeom prst="rect">
            <a:avLst/>
          </a:prstGeom>
        </p:spPr>
      </p:pic>
      <p:pic>
        <p:nvPicPr>
          <p:cNvPr id="41" name="Graphic 40">
            <a:extLst>
              <a:ext uri="{FF2B5EF4-FFF2-40B4-BE49-F238E27FC236}">
                <a16:creationId xmlns:a16="http://schemas.microsoft.com/office/drawing/2014/main" id="{4D588287-6CB5-6849-8976-FBF34D5CF8E3}"/>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959892" y="1394519"/>
            <a:ext cx="516155" cy="516155"/>
          </a:xfrm>
          <a:prstGeom prst="rect">
            <a:avLst/>
          </a:prstGeom>
        </p:spPr>
      </p:pic>
      <p:cxnSp>
        <p:nvCxnSpPr>
          <p:cNvPr id="11" name="Straight Connector 10">
            <a:extLst>
              <a:ext uri="{FF2B5EF4-FFF2-40B4-BE49-F238E27FC236}">
                <a16:creationId xmlns:a16="http://schemas.microsoft.com/office/drawing/2014/main" id="{7428A187-3A36-A347-B546-35113CCAD307}"/>
              </a:ext>
            </a:extLst>
          </p:cNvPr>
          <p:cNvCxnSpPr>
            <a:cxnSpLocks/>
          </p:cNvCxnSpPr>
          <p:nvPr/>
        </p:nvCxnSpPr>
        <p:spPr>
          <a:xfrm>
            <a:off x="2264616" y="1268413"/>
            <a:ext cx="0" cy="5085523"/>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E6F3D7A-3993-2641-8749-8445EEC0FCFA}"/>
              </a:ext>
            </a:extLst>
          </p:cNvPr>
          <p:cNvCxnSpPr>
            <a:cxnSpLocks/>
          </p:cNvCxnSpPr>
          <p:nvPr/>
        </p:nvCxnSpPr>
        <p:spPr>
          <a:xfrm>
            <a:off x="4204345" y="1268413"/>
            <a:ext cx="0" cy="5085523"/>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957809A-01EA-A148-AFF9-3C5B761E878F}"/>
              </a:ext>
            </a:extLst>
          </p:cNvPr>
          <p:cNvCxnSpPr>
            <a:cxnSpLocks/>
          </p:cNvCxnSpPr>
          <p:nvPr/>
        </p:nvCxnSpPr>
        <p:spPr>
          <a:xfrm>
            <a:off x="9893892" y="1268413"/>
            <a:ext cx="0" cy="5085523"/>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91DFDDD-A81D-6646-AD9E-E2C205E32206}"/>
              </a:ext>
            </a:extLst>
          </p:cNvPr>
          <p:cNvCxnSpPr>
            <a:cxnSpLocks/>
          </p:cNvCxnSpPr>
          <p:nvPr/>
        </p:nvCxnSpPr>
        <p:spPr>
          <a:xfrm>
            <a:off x="10374313" y="2924944"/>
            <a:ext cx="1008112"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3F19C0F-9A92-AB49-AB33-BE042A8BD84A}"/>
              </a:ext>
            </a:extLst>
          </p:cNvPr>
          <p:cNvCxnSpPr>
            <a:cxnSpLocks/>
          </p:cNvCxnSpPr>
          <p:nvPr/>
        </p:nvCxnSpPr>
        <p:spPr>
          <a:xfrm>
            <a:off x="2718008" y="2924944"/>
            <a:ext cx="1008112"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7DBBA04-8FA6-264A-A53D-4ADDF3A30DEF}"/>
              </a:ext>
            </a:extLst>
          </p:cNvPr>
          <p:cNvCxnSpPr>
            <a:cxnSpLocks/>
          </p:cNvCxnSpPr>
          <p:nvPr/>
        </p:nvCxnSpPr>
        <p:spPr>
          <a:xfrm>
            <a:off x="803932" y="2924944"/>
            <a:ext cx="100811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Freeform 9">
            <a:hlinkClick r:id="rId12" action="ppaction://hlinksldjump"/>
            <a:extLst>
              <a:ext uri="{FF2B5EF4-FFF2-40B4-BE49-F238E27FC236}">
                <a16:creationId xmlns:a16="http://schemas.microsoft.com/office/drawing/2014/main" id="{F799BF3C-2D52-482B-9765-609D2D463861}"/>
              </a:ext>
            </a:extLst>
          </p:cNvPr>
          <p:cNvSpPr>
            <a:spLocks noChangeAspect="1" noEditPoints="1"/>
          </p:cNvSpPr>
          <p:nvPr/>
        </p:nvSpPr>
        <p:spPr bwMode="auto">
          <a:xfrm rot="10800000" flipV="1">
            <a:off x="191181" y="90916"/>
            <a:ext cx="108000" cy="108000"/>
          </a:xfrm>
          <a:custGeom>
            <a:avLst/>
            <a:gdLst>
              <a:gd name="T0" fmla="*/ 1082 w 2142"/>
              <a:gd name="T1" fmla="*/ 1607 h 2142"/>
              <a:gd name="T2" fmla="*/ 990 w 2142"/>
              <a:gd name="T3" fmla="*/ 1578 h 2142"/>
              <a:gd name="T4" fmla="*/ 494 w 2142"/>
              <a:gd name="T5" fmla="*/ 1025 h 2142"/>
              <a:gd name="T6" fmla="*/ 999 w 2142"/>
              <a:gd name="T7" fmla="*/ 1002 h 2142"/>
              <a:gd name="T8" fmla="*/ 1060 w 2142"/>
              <a:gd name="T9" fmla="*/ 534 h 2142"/>
              <a:gd name="T10" fmla="*/ 1153 w 2142"/>
              <a:gd name="T11" fmla="*/ 564 h 2142"/>
              <a:gd name="T12" fmla="*/ 1666 w 2142"/>
              <a:gd name="T13" fmla="*/ 1064 h 2142"/>
              <a:gd name="T14" fmla="*/ 1641 w 2142"/>
              <a:gd name="T15" fmla="*/ 1124 h 2142"/>
              <a:gd name="T16" fmla="*/ 539 w 2142"/>
              <a:gd name="T17" fmla="*/ 1140 h 2142"/>
              <a:gd name="T18" fmla="*/ 488 w 2142"/>
              <a:gd name="T19" fmla="*/ 1109 h 2142"/>
              <a:gd name="T20" fmla="*/ 988 w 2142"/>
              <a:gd name="T21" fmla="*/ 2139 h 2142"/>
              <a:gd name="T22" fmla="*/ 728 w 2142"/>
              <a:gd name="T23" fmla="*/ 2086 h 2142"/>
              <a:gd name="T24" fmla="*/ 494 w 2142"/>
              <a:gd name="T25" fmla="*/ 1973 h 2142"/>
              <a:gd name="T26" fmla="*/ 296 w 2142"/>
              <a:gd name="T27" fmla="*/ 1810 h 2142"/>
              <a:gd name="T28" fmla="*/ 142 w 2142"/>
              <a:gd name="T29" fmla="*/ 1604 h 2142"/>
              <a:gd name="T30" fmla="*/ 41 w 2142"/>
              <a:gd name="T31" fmla="*/ 1364 h 2142"/>
              <a:gd name="T32" fmla="*/ 0 w 2142"/>
              <a:gd name="T33" fmla="*/ 1098 h 2142"/>
              <a:gd name="T34" fmla="*/ 27 w 2142"/>
              <a:gd name="T35" fmla="*/ 829 h 2142"/>
              <a:gd name="T36" fmla="*/ 117 w 2142"/>
              <a:gd name="T37" fmla="*/ 584 h 2142"/>
              <a:gd name="T38" fmla="*/ 261 w 2142"/>
              <a:gd name="T39" fmla="*/ 370 h 2142"/>
              <a:gd name="T40" fmla="*/ 452 w 2142"/>
              <a:gd name="T41" fmla="*/ 198 h 2142"/>
              <a:gd name="T42" fmla="*/ 679 w 2142"/>
              <a:gd name="T43" fmla="*/ 74 h 2142"/>
              <a:gd name="T44" fmla="*/ 936 w 2142"/>
              <a:gd name="T45" fmla="*/ 8 h 2142"/>
              <a:gd name="T46" fmla="*/ 1208 w 2142"/>
              <a:gd name="T47" fmla="*/ 8 h 2142"/>
              <a:gd name="T48" fmla="*/ 1463 w 2142"/>
              <a:gd name="T49" fmla="*/ 74 h 2142"/>
              <a:gd name="T50" fmla="*/ 1691 w 2142"/>
              <a:gd name="T51" fmla="*/ 198 h 2142"/>
              <a:gd name="T52" fmla="*/ 1881 w 2142"/>
              <a:gd name="T53" fmla="*/ 370 h 2142"/>
              <a:gd name="T54" fmla="*/ 2025 w 2142"/>
              <a:gd name="T55" fmla="*/ 584 h 2142"/>
              <a:gd name="T56" fmla="*/ 2115 w 2142"/>
              <a:gd name="T57" fmla="*/ 829 h 2142"/>
              <a:gd name="T58" fmla="*/ 2142 w 2142"/>
              <a:gd name="T59" fmla="*/ 1098 h 2142"/>
              <a:gd name="T60" fmla="*/ 2101 w 2142"/>
              <a:gd name="T61" fmla="*/ 1364 h 2142"/>
              <a:gd name="T62" fmla="*/ 2000 w 2142"/>
              <a:gd name="T63" fmla="*/ 1604 h 2142"/>
              <a:gd name="T64" fmla="*/ 1846 w 2142"/>
              <a:gd name="T65" fmla="*/ 1810 h 2142"/>
              <a:gd name="T66" fmla="*/ 1648 w 2142"/>
              <a:gd name="T67" fmla="*/ 1973 h 2142"/>
              <a:gd name="T68" fmla="*/ 1414 w 2142"/>
              <a:gd name="T69" fmla="*/ 2086 h 2142"/>
              <a:gd name="T70" fmla="*/ 1154 w 2142"/>
              <a:gd name="T71" fmla="*/ 2139 h 2142"/>
              <a:gd name="T72" fmla="*/ 924 w 2142"/>
              <a:gd name="T73" fmla="*/ 113 h 2142"/>
              <a:gd name="T74" fmla="*/ 695 w 2142"/>
              <a:gd name="T75" fmla="*/ 179 h 2142"/>
              <a:gd name="T76" fmla="*/ 492 w 2142"/>
              <a:gd name="T77" fmla="*/ 296 h 2142"/>
              <a:gd name="T78" fmla="*/ 324 w 2142"/>
              <a:gd name="T79" fmla="*/ 456 h 2142"/>
              <a:gd name="T80" fmla="*/ 200 w 2142"/>
              <a:gd name="T81" fmla="*/ 652 h 2142"/>
              <a:gd name="T82" fmla="*/ 123 w 2142"/>
              <a:gd name="T83" fmla="*/ 876 h 2142"/>
              <a:gd name="T84" fmla="*/ 105 w 2142"/>
              <a:gd name="T85" fmla="*/ 1121 h 2142"/>
              <a:gd name="T86" fmla="*/ 147 w 2142"/>
              <a:gd name="T87" fmla="*/ 1358 h 2142"/>
              <a:gd name="T88" fmla="*/ 243 w 2142"/>
              <a:gd name="T89" fmla="*/ 1572 h 2142"/>
              <a:gd name="T90" fmla="*/ 388 w 2142"/>
              <a:gd name="T91" fmla="*/ 1755 h 2142"/>
              <a:gd name="T92" fmla="*/ 570 w 2142"/>
              <a:gd name="T93" fmla="*/ 1899 h 2142"/>
              <a:gd name="T94" fmla="*/ 784 w 2142"/>
              <a:gd name="T95" fmla="*/ 1996 h 2142"/>
              <a:gd name="T96" fmla="*/ 1021 w 2142"/>
              <a:gd name="T97" fmla="*/ 2037 h 2142"/>
              <a:gd name="T98" fmla="*/ 1266 w 2142"/>
              <a:gd name="T99" fmla="*/ 2019 h 2142"/>
              <a:gd name="T100" fmla="*/ 1490 w 2142"/>
              <a:gd name="T101" fmla="*/ 1943 h 2142"/>
              <a:gd name="T102" fmla="*/ 1686 w 2142"/>
              <a:gd name="T103" fmla="*/ 1818 h 2142"/>
              <a:gd name="T104" fmla="*/ 1846 w 2142"/>
              <a:gd name="T105" fmla="*/ 1650 h 2142"/>
              <a:gd name="T106" fmla="*/ 1963 w 2142"/>
              <a:gd name="T107" fmla="*/ 1447 h 2142"/>
              <a:gd name="T108" fmla="*/ 2028 w 2142"/>
              <a:gd name="T109" fmla="*/ 1218 h 2142"/>
              <a:gd name="T110" fmla="*/ 2034 w 2142"/>
              <a:gd name="T111" fmla="*/ 972 h 2142"/>
              <a:gd name="T112" fmla="*/ 1980 w 2142"/>
              <a:gd name="T113" fmla="*/ 738 h 2142"/>
              <a:gd name="T114" fmla="*/ 1873 w 2142"/>
              <a:gd name="T115" fmla="*/ 530 h 2142"/>
              <a:gd name="T116" fmla="*/ 1721 w 2142"/>
              <a:gd name="T117" fmla="*/ 354 h 2142"/>
              <a:gd name="T118" fmla="*/ 1532 w 2142"/>
              <a:gd name="T119" fmla="*/ 219 h 2142"/>
              <a:gd name="T120" fmla="*/ 1313 w 2142"/>
              <a:gd name="T121" fmla="*/ 134 h 2142"/>
              <a:gd name="T122" fmla="*/ 1072 w 2142"/>
              <a:gd name="T123" fmla="*/ 103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2" h="2142">
                <a:moveTo>
                  <a:pt x="1372" y="1210"/>
                </a:moveTo>
                <a:lnTo>
                  <a:pt x="1565" y="1210"/>
                </a:lnTo>
                <a:lnTo>
                  <a:pt x="1153" y="1578"/>
                </a:lnTo>
                <a:lnTo>
                  <a:pt x="1144" y="1585"/>
                </a:lnTo>
                <a:lnTo>
                  <a:pt x="1135" y="1590"/>
                </a:lnTo>
                <a:lnTo>
                  <a:pt x="1125" y="1596"/>
                </a:lnTo>
                <a:lnTo>
                  <a:pt x="1114" y="1601"/>
                </a:lnTo>
                <a:lnTo>
                  <a:pt x="1104" y="1604"/>
                </a:lnTo>
                <a:lnTo>
                  <a:pt x="1093" y="1606"/>
                </a:lnTo>
                <a:lnTo>
                  <a:pt x="1082" y="1607"/>
                </a:lnTo>
                <a:lnTo>
                  <a:pt x="1072" y="1608"/>
                </a:lnTo>
                <a:lnTo>
                  <a:pt x="1060" y="1607"/>
                </a:lnTo>
                <a:lnTo>
                  <a:pt x="1049" y="1606"/>
                </a:lnTo>
                <a:lnTo>
                  <a:pt x="1039" y="1604"/>
                </a:lnTo>
                <a:lnTo>
                  <a:pt x="1033" y="1603"/>
                </a:lnTo>
                <a:lnTo>
                  <a:pt x="1028" y="1601"/>
                </a:lnTo>
                <a:lnTo>
                  <a:pt x="1018" y="1596"/>
                </a:lnTo>
                <a:lnTo>
                  <a:pt x="1009" y="1590"/>
                </a:lnTo>
                <a:lnTo>
                  <a:pt x="999" y="1585"/>
                </a:lnTo>
                <a:lnTo>
                  <a:pt x="990" y="1578"/>
                </a:lnTo>
                <a:lnTo>
                  <a:pt x="975" y="1564"/>
                </a:lnTo>
                <a:lnTo>
                  <a:pt x="1372" y="1210"/>
                </a:lnTo>
                <a:close/>
                <a:moveTo>
                  <a:pt x="476" y="1070"/>
                </a:moveTo>
                <a:lnTo>
                  <a:pt x="478" y="1064"/>
                </a:lnTo>
                <a:lnTo>
                  <a:pt x="479" y="1056"/>
                </a:lnTo>
                <a:lnTo>
                  <a:pt x="481" y="1049"/>
                </a:lnTo>
                <a:lnTo>
                  <a:pt x="484" y="1042"/>
                </a:lnTo>
                <a:lnTo>
                  <a:pt x="487" y="1035"/>
                </a:lnTo>
                <a:lnTo>
                  <a:pt x="491" y="1030"/>
                </a:lnTo>
                <a:lnTo>
                  <a:pt x="494" y="1025"/>
                </a:lnTo>
                <a:lnTo>
                  <a:pt x="499" y="1020"/>
                </a:lnTo>
                <a:lnTo>
                  <a:pt x="505" y="1016"/>
                </a:lnTo>
                <a:lnTo>
                  <a:pt x="509" y="1012"/>
                </a:lnTo>
                <a:lnTo>
                  <a:pt x="515" y="1008"/>
                </a:lnTo>
                <a:lnTo>
                  <a:pt x="520" y="1006"/>
                </a:lnTo>
                <a:lnTo>
                  <a:pt x="527" y="1004"/>
                </a:lnTo>
                <a:lnTo>
                  <a:pt x="533" y="1003"/>
                </a:lnTo>
                <a:lnTo>
                  <a:pt x="539" y="1002"/>
                </a:lnTo>
                <a:lnTo>
                  <a:pt x="546" y="1002"/>
                </a:lnTo>
                <a:lnTo>
                  <a:pt x="999" y="1002"/>
                </a:lnTo>
                <a:lnTo>
                  <a:pt x="1451" y="1002"/>
                </a:lnTo>
                <a:lnTo>
                  <a:pt x="975" y="577"/>
                </a:lnTo>
                <a:lnTo>
                  <a:pt x="990" y="564"/>
                </a:lnTo>
                <a:lnTo>
                  <a:pt x="999" y="557"/>
                </a:lnTo>
                <a:lnTo>
                  <a:pt x="1009" y="550"/>
                </a:lnTo>
                <a:lnTo>
                  <a:pt x="1018" y="546"/>
                </a:lnTo>
                <a:lnTo>
                  <a:pt x="1028" y="541"/>
                </a:lnTo>
                <a:lnTo>
                  <a:pt x="1039" y="538"/>
                </a:lnTo>
                <a:lnTo>
                  <a:pt x="1049" y="536"/>
                </a:lnTo>
                <a:lnTo>
                  <a:pt x="1060" y="534"/>
                </a:lnTo>
                <a:lnTo>
                  <a:pt x="1072" y="533"/>
                </a:lnTo>
                <a:lnTo>
                  <a:pt x="1082" y="534"/>
                </a:lnTo>
                <a:lnTo>
                  <a:pt x="1093" y="536"/>
                </a:lnTo>
                <a:lnTo>
                  <a:pt x="1104" y="538"/>
                </a:lnTo>
                <a:lnTo>
                  <a:pt x="1109" y="539"/>
                </a:lnTo>
                <a:lnTo>
                  <a:pt x="1114" y="541"/>
                </a:lnTo>
                <a:lnTo>
                  <a:pt x="1125" y="546"/>
                </a:lnTo>
                <a:lnTo>
                  <a:pt x="1135" y="550"/>
                </a:lnTo>
                <a:lnTo>
                  <a:pt x="1144" y="557"/>
                </a:lnTo>
                <a:lnTo>
                  <a:pt x="1153" y="564"/>
                </a:lnTo>
                <a:lnTo>
                  <a:pt x="1629" y="988"/>
                </a:lnTo>
                <a:lnTo>
                  <a:pt x="1637" y="996"/>
                </a:lnTo>
                <a:lnTo>
                  <a:pt x="1643" y="1004"/>
                </a:lnTo>
                <a:lnTo>
                  <a:pt x="1650" y="1013"/>
                </a:lnTo>
                <a:lnTo>
                  <a:pt x="1655" y="1023"/>
                </a:lnTo>
                <a:lnTo>
                  <a:pt x="1657" y="1028"/>
                </a:lnTo>
                <a:lnTo>
                  <a:pt x="1659" y="1032"/>
                </a:lnTo>
                <a:lnTo>
                  <a:pt x="1662" y="1042"/>
                </a:lnTo>
                <a:lnTo>
                  <a:pt x="1665" y="1053"/>
                </a:lnTo>
                <a:lnTo>
                  <a:pt x="1666" y="1064"/>
                </a:lnTo>
                <a:lnTo>
                  <a:pt x="1666" y="1071"/>
                </a:lnTo>
                <a:lnTo>
                  <a:pt x="1665" y="1080"/>
                </a:lnTo>
                <a:lnTo>
                  <a:pt x="1664" y="1087"/>
                </a:lnTo>
                <a:lnTo>
                  <a:pt x="1661" y="1095"/>
                </a:lnTo>
                <a:lnTo>
                  <a:pt x="1658" y="1102"/>
                </a:lnTo>
                <a:lnTo>
                  <a:pt x="1655" y="1109"/>
                </a:lnTo>
                <a:lnTo>
                  <a:pt x="1650" y="1114"/>
                </a:lnTo>
                <a:lnTo>
                  <a:pt x="1646" y="1120"/>
                </a:lnTo>
                <a:lnTo>
                  <a:pt x="1643" y="1122"/>
                </a:lnTo>
                <a:lnTo>
                  <a:pt x="1641" y="1124"/>
                </a:lnTo>
                <a:lnTo>
                  <a:pt x="1635" y="1129"/>
                </a:lnTo>
                <a:lnTo>
                  <a:pt x="1630" y="1132"/>
                </a:lnTo>
                <a:lnTo>
                  <a:pt x="1624" y="1136"/>
                </a:lnTo>
                <a:lnTo>
                  <a:pt x="1617" y="1138"/>
                </a:lnTo>
                <a:lnTo>
                  <a:pt x="1611" y="1139"/>
                </a:lnTo>
                <a:lnTo>
                  <a:pt x="1604" y="1140"/>
                </a:lnTo>
                <a:lnTo>
                  <a:pt x="1596" y="1141"/>
                </a:lnTo>
                <a:lnTo>
                  <a:pt x="1071" y="1141"/>
                </a:lnTo>
                <a:lnTo>
                  <a:pt x="546" y="1141"/>
                </a:lnTo>
                <a:lnTo>
                  <a:pt x="539" y="1140"/>
                </a:lnTo>
                <a:lnTo>
                  <a:pt x="533" y="1139"/>
                </a:lnTo>
                <a:lnTo>
                  <a:pt x="527" y="1138"/>
                </a:lnTo>
                <a:lnTo>
                  <a:pt x="520" y="1136"/>
                </a:lnTo>
                <a:lnTo>
                  <a:pt x="515" y="1133"/>
                </a:lnTo>
                <a:lnTo>
                  <a:pt x="509" y="1130"/>
                </a:lnTo>
                <a:lnTo>
                  <a:pt x="505" y="1127"/>
                </a:lnTo>
                <a:lnTo>
                  <a:pt x="499" y="1122"/>
                </a:lnTo>
                <a:lnTo>
                  <a:pt x="494" y="1118"/>
                </a:lnTo>
                <a:lnTo>
                  <a:pt x="491" y="1113"/>
                </a:lnTo>
                <a:lnTo>
                  <a:pt x="488" y="1109"/>
                </a:lnTo>
                <a:lnTo>
                  <a:pt x="484" y="1103"/>
                </a:lnTo>
                <a:lnTo>
                  <a:pt x="481" y="1097"/>
                </a:lnTo>
                <a:lnTo>
                  <a:pt x="480" y="1091"/>
                </a:lnTo>
                <a:lnTo>
                  <a:pt x="478" y="1085"/>
                </a:lnTo>
                <a:lnTo>
                  <a:pt x="476" y="1078"/>
                </a:lnTo>
                <a:lnTo>
                  <a:pt x="476" y="1070"/>
                </a:lnTo>
                <a:close/>
                <a:moveTo>
                  <a:pt x="1072" y="2142"/>
                </a:moveTo>
                <a:lnTo>
                  <a:pt x="1044" y="2142"/>
                </a:lnTo>
                <a:lnTo>
                  <a:pt x="1017" y="2141"/>
                </a:lnTo>
                <a:lnTo>
                  <a:pt x="988" y="2139"/>
                </a:lnTo>
                <a:lnTo>
                  <a:pt x="961" y="2136"/>
                </a:lnTo>
                <a:lnTo>
                  <a:pt x="936" y="2133"/>
                </a:lnTo>
                <a:lnTo>
                  <a:pt x="909" y="2130"/>
                </a:lnTo>
                <a:lnTo>
                  <a:pt x="882" y="2125"/>
                </a:lnTo>
                <a:lnTo>
                  <a:pt x="856" y="2121"/>
                </a:lnTo>
                <a:lnTo>
                  <a:pt x="830" y="2115"/>
                </a:lnTo>
                <a:lnTo>
                  <a:pt x="804" y="2108"/>
                </a:lnTo>
                <a:lnTo>
                  <a:pt x="778" y="2101"/>
                </a:lnTo>
                <a:lnTo>
                  <a:pt x="753" y="2094"/>
                </a:lnTo>
                <a:lnTo>
                  <a:pt x="728" y="2086"/>
                </a:lnTo>
                <a:lnTo>
                  <a:pt x="704" y="2077"/>
                </a:lnTo>
                <a:lnTo>
                  <a:pt x="679" y="2068"/>
                </a:lnTo>
                <a:lnTo>
                  <a:pt x="654" y="2058"/>
                </a:lnTo>
                <a:lnTo>
                  <a:pt x="631" y="2047"/>
                </a:lnTo>
                <a:lnTo>
                  <a:pt x="607" y="2036"/>
                </a:lnTo>
                <a:lnTo>
                  <a:pt x="584" y="2025"/>
                </a:lnTo>
                <a:lnTo>
                  <a:pt x="561" y="2013"/>
                </a:lnTo>
                <a:lnTo>
                  <a:pt x="538" y="2000"/>
                </a:lnTo>
                <a:lnTo>
                  <a:pt x="516" y="1987"/>
                </a:lnTo>
                <a:lnTo>
                  <a:pt x="494" y="1973"/>
                </a:lnTo>
                <a:lnTo>
                  <a:pt x="473" y="1959"/>
                </a:lnTo>
                <a:lnTo>
                  <a:pt x="452" y="1944"/>
                </a:lnTo>
                <a:lnTo>
                  <a:pt x="431" y="1929"/>
                </a:lnTo>
                <a:lnTo>
                  <a:pt x="410" y="1913"/>
                </a:lnTo>
                <a:lnTo>
                  <a:pt x="391" y="1898"/>
                </a:lnTo>
                <a:lnTo>
                  <a:pt x="371" y="1881"/>
                </a:lnTo>
                <a:lnTo>
                  <a:pt x="351" y="1864"/>
                </a:lnTo>
                <a:lnTo>
                  <a:pt x="332" y="1846"/>
                </a:lnTo>
                <a:lnTo>
                  <a:pt x="314" y="1828"/>
                </a:lnTo>
                <a:lnTo>
                  <a:pt x="296" y="1810"/>
                </a:lnTo>
                <a:lnTo>
                  <a:pt x="278" y="1791"/>
                </a:lnTo>
                <a:lnTo>
                  <a:pt x="261" y="1772"/>
                </a:lnTo>
                <a:lnTo>
                  <a:pt x="245" y="1751"/>
                </a:lnTo>
                <a:lnTo>
                  <a:pt x="229" y="1732"/>
                </a:lnTo>
                <a:lnTo>
                  <a:pt x="213" y="1712"/>
                </a:lnTo>
                <a:lnTo>
                  <a:pt x="198" y="1691"/>
                </a:lnTo>
                <a:lnTo>
                  <a:pt x="184" y="1669"/>
                </a:lnTo>
                <a:lnTo>
                  <a:pt x="169" y="1648"/>
                </a:lnTo>
                <a:lnTo>
                  <a:pt x="156" y="1626"/>
                </a:lnTo>
                <a:lnTo>
                  <a:pt x="142" y="1604"/>
                </a:lnTo>
                <a:lnTo>
                  <a:pt x="130" y="1581"/>
                </a:lnTo>
                <a:lnTo>
                  <a:pt x="117" y="1558"/>
                </a:lnTo>
                <a:lnTo>
                  <a:pt x="106" y="1535"/>
                </a:lnTo>
                <a:lnTo>
                  <a:pt x="95" y="1512"/>
                </a:lnTo>
                <a:lnTo>
                  <a:pt x="85" y="1488"/>
                </a:lnTo>
                <a:lnTo>
                  <a:pt x="75" y="1463"/>
                </a:lnTo>
                <a:lnTo>
                  <a:pt x="66" y="1438"/>
                </a:lnTo>
                <a:lnTo>
                  <a:pt x="57" y="1414"/>
                </a:lnTo>
                <a:lnTo>
                  <a:pt x="49" y="1389"/>
                </a:lnTo>
                <a:lnTo>
                  <a:pt x="41" y="1364"/>
                </a:lnTo>
                <a:lnTo>
                  <a:pt x="34" y="1338"/>
                </a:lnTo>
                <a:lnTo>
                  <a:pt x="27" y="1312"/>
                </a:lnTo>
                <a:lnTo>
                  <a:pt x="22" y="1286"/>
                </a:lnTo>
                <a:lnTo>
                  <a:pt x="17" y="1261"/>
                </a:lnTo>
                <a:lnTo>
                  <a:pt x="13" y="1234"/>
                </a:lnTo>
                <a:lnTo>
                  <a:pt x="9" y="1208"/>
                </a:lnTo>
                <a:lnTo>
                  <a:pt x="6" y="1181"/>
                </a:lnTo>
                <a:lnTo>
                  <a:pt x="4" y="1154"/>
                </a:lnTo>
                <a:lnTo>
                  <a:pt x="2" y="1125"/>
                </a:lnTo>
                <a:lnTo>
                  <a:pt x="0" y="1098"/>
                </a:lnTo>
                <a:lnTo>
                  <a:pt x="0" y="1070"/>
                </a:lnTo>
                <a:lnTo>
                  <a:pt x="0" y="1043"/>
                </a:lnTo>
                <a:lnTo>
                  <a:pt x="2" y="1016"/>
                </a:lnTo>
                <a:lnTo>
                  <a:pt x="4" y="988"/>
                </a:lnTo>
                <a:lnTo>
                  <a:pt x="6" y="961"/>
                </a:lnTo>
                <a:lnTo>
                  <a:pt x="9" y="934"/>
                </a:lnTo>
                <a:lnTo>
                  <a:pt x="13" y="908"/>
                </a:lnTo>
                <a:lnTo>
                  <a:pt x="17" y="881"/>
                </a:lnTo>
                <a:lnTo>
                  <a:pt x="22" y="855"/>
                </a:lnTo>
                <a:lnTo>
                  <a:pt x="27" y="829"/>
                </a:lnTo>
                <a:lnTo>
                  <a:pt x="34" y="803"/>
                </a:lnTo>
                <a:lnTo>
                  <a:pt x="41" y="778"/>
                </a:lnTo>
                <a:lnTo>
                  <a:pt x="49" y="753"/>
                </a:lnTo>
                <a:lnTo>
                  <a:pt x="57" y="728"/>
                </a:lnTo>
                <a:lnTo>
                  <a:pt x="66" y="703"/>
                </a:lnTo>
                <a:lnTo>
                  <a:pt x="75" y="679"/>
                </a:lnTo>
                <a:lnTo>
                  <a:pt x="85" y="654"/>
                </a:lnTo>
                <a:lnTo>
                  <a:pt x="95" y="630"/>
                </a:lnTo>
                <a:lnTo>
                  <a:pt x="106" y="606"/>
                </a:lnTo>
                <a:lnTo>
                  <a:pt x="117" y="584"/>
                </a:lnTo>
                <a:lnTo>
                  <a:pt x="130" y="560"/>
                </a:lnTo>
                <a:lnTo>
                  <a:pt x="142" y="538"/>
                </a:lnTo>
                <a:lnTo>
                  <a:pt x="156" y="515"/>
                </a:lnTo>
                <a:lnTo>
                  <a:pt x="169" y="494"/>
                </a:lnTo>
                <a:lnTo>
                  <a:pt x="184" y="473"/>
                </a:lnTo>
                <a:lnTo>
                  <a:pt x="198" y="451"/>
                </a:lnTo>
                <a:lnTo>
                  <a:pt x="213" y="430"/>
                </a:lnTo>
                <a:lnTo>
                  <a:pt x="229" y="409"/>
                </a:lnTo>
                <a:lnTo>
                  <a:pt x="245" y="389"/>
                </a:lnTo>
                <a:lnTo>
                  <a:pt x="261" y="370"/>
                </a:lnTo>
                <a:lnTo>
                  <a:pt x="278" y="351"/>
                </a:lnTo>
                <a:lnTo>
                  <a:pt x="296" y="332"/>
                </a:lnTo>
                <a:lnTo>
                  <a:pt x="314" y="314"/>
                </a:lnTo>
                <a:lnTo>
                  <a:pt x="332" y="296"/>
                </a:lnTo>
                <a:lnTo>
                  <a:pt x="351" y="278"/>
                </a:lnTo>
                <a:lnTo>
                  <a:pt x="371" y="261"/>
                </a:lnTo>
                <a:lnTo>
                  <a:pt x="391" y="244"/>
                </a:lnTo>
                <a:lnTo>
                  <a:pt x="410" y="228"/>
                </a:lnTo>
                <a:lnTo>
                  <a:pt x="431" y="212"/>
                </a:lnTo>
                <a:lnTo>
                  <a:pt x="452" y="198"/>
                </a:lnTo>
                <a:lnTo>
                  <a:pt x="473" y="183"/>
                </a:lnTo>
                <a:lnTo>
                  <a:pt x="494" y="169"/>
                </a:lnTo>
                <a:lnTo>
                  <a:pt x="516" y="155"/>
                </a:lnTo>
                <a:lnTo>
                  <a:pt x="538" y="142"/>
                </a:lnTo>
                <a:lnTo>
                  <a:pt x="561" y="129"/>
                </a:lnTo>
                <a:lnTo>
                  <a:pt x="584" y="117"/>
                </a:lnTo>
                <a:lnTo>
                  <a:pt x="607" y="106"/>
                </a:lnTo>
                <a:lnTo>
                  <a:pt x="631" y="94"/>
                </a:lnTo>
                <a:lnTo>
                  <a:pt x="654" y="84"/>
                </a:lnTo>
                <a:lnTo>
                  <a:pt x="679" y="74"/>
                </a:lnTo>
                <a:lnTo>
                  <a:pt x="704" y="65"/>
                </a:lnTo>
                <a:lnTo>
                  <a:pt x="728" y="56"/>
                </a:lnTo>
                <a:lnTo>
                  <a:pt x="753" y="48"/>
                </a:lnTo>
                <a:lnTo>
                  <a:pt x="778" y="40"/>
                </a:lnTo>
                <a:lnTo>
                  <a:pt x="804" y="33"/>
                </a:lnTo>
                <a:lnTo>
                  <a:pt x="830" y="27"/>
                </a:lnTo>
                <a:lnTo>
                  <a:pt x="856" y="21"/>
                </a:lnTo>
                <a:lnTo>
                  <a:pt x="882" y="17"/>
                </a:lnTo>
                <a:lnTo>
                  <a:pt x="909" y="12"/>
                </a:lnTo>
                <a:lnTo>
                  <a:pt x="936" y="8"/>
                </a:lnTo>
                <a:lnTo>
                  <a:pt x="961" y="5"/>
                </a:lnTo>
                <a:lnTo>
                  <a:pt x="988" y="3"/>
                </a:lnTo>
                <a:lnTo>
                  <a:pt x="1017" y="1"/>
                </a:lnTo>
                <a:lnTo>
                  <a:pt x="1044" y="0"/>
                </a:lnTo>
                <a:lnTo>
                  <a:pt x="1072" y="0"/>
                </a:lnTo>
                <a:lnTo>
                  <a:pt x="1099" y="0"/>
                </a:lnTo>
                <a:lnTo>
                  <a:pt x="1126" y="1"/>
                </a:lnTo>
                <a:lnTo>
                  <a:pt x="1154" y="3"/>
                </a:lnTo>
                <a:lnTo>
                  <a:pt x="1181" y="5"/>
                </a:lnTo>
                <a:lnTo>
                  <a:pt x="1208" y="8"/>
                </a:lnTo>
                <a:lnTo>
                  <a:pt x="1234" y="12"/>
                </a:lnTo>
                <a:lnTo>
                  <a:pt x="1261" y="17"/>
                </a:lnTo>
                <a:lnTo>
                  <a:pt x="1287" y="21"/>
                </a:lnTo>
                <a:lnTo>
                  <a:pt x="1313" y="27"/>
                </a:lnTo>
                <a:lnTo>
                  <a:pt x="1338" y="33"/>
                </a:lnTo>
                <a:lnTo>
                  <a:pt x="1364" y="40"/>
                </a:lnTo>
                <a:lnTo>
                  <a:pt x="1389" y="48"/>
                </a:lnTo>
                <a:lnTo>
                  <a:pt x="1414" y="56"/>
                </a:lnTo>
                <a:lnTo>
                  <a:pt x="1439" y="65"/>
                </a:lnTo>
                <a:lnTo>
                  <a:pt x="1463" y="74"/>
                </a:lnTo>
                <a:lnTo>
                  <a:pt x="1488" y="84"/>
                </a:lnTo>
                <a:lnTo>
                  <a:pt x="1512" y="94"/>
                </a:lnTo>
                <a:lnTo>
                  <a:pt x="1535" y="106"/>
                </a:lnTo>
                <a:lnTo>
                  <a:pt x="1558" y="117"/>
                </a:lnTo>
                <a:lnTo>
                  <a:pt x="1581" y="129"/>
                </a:lnTo>
                <a:lnTo>
                  <a:pt x="1604" y="142"/>
                </a:lnTo>
                <a:lnTo>
                  <a:pt x="1626" y="155"/>
                </a:lnTo>
                <a:lnTo>
                  <a:pt x="1648" y="169"/>
                </a:lnTo>
                <a:lnTo>
                  <a:pt x="1669" y="183"/>
                </a:lnTo>
                <a:lnTo>
                  <a:pt x="1691" y="198"/>
                </a:lnTo>
                <a:lnTo>
                  <a:pt x="1712" y="212"/>
                </a:lnTo>
                <a:lnTo>
                  <a:pt x="1732" y="228"/>
                </a:lnTo>
                <a:lnTo>
                  <a:pt x="1753" y="244"/>
                </a:lnTo>
                <a:lnTo>
                  <a:pt x="1772" y="261"/>
                </a:lnTo>
                <a:lnTo>
                  <a:pt x="1791" y="278"/>
                </a:lnTo>
                <a:lnTo>
                  <a:pt x="1810" y="296"/>
                </a:lnTo>
                <a:lnTo>
                  <a:pt x="1828" y="314"/>
                </a:lnTo>
                <a:lnTo>
                  <a:pt x="1846" y="332"/>
                </a:lnTo>
                <a:lnTo>
                  <a:pt x="1864" y="351"/>
                </a:lnTo>
                <a:lnTo>
                  <a:pt x="1881" y="370"/>
                </a:lnTo>
                <a:lnTo>
                  <a:pt x="1898" y="389"/>
                </a:lnTo>
                <a:lnTo>
                  <a:pt x="1913" y="409"/>
                </a:lnTo>
                <a:lnTo>
                  <a:pt x="1929" y="430"/>
                </a:lnTo>
                <a:lnTo>
                  <a:pt x="1944" y="451"/>
                </a:lnTo>
                <a:lnTo>
                  <a:pt x="1958" y="473"/>
                </a:lnTo>
                <a:lnTo>
                  <a:pt x="1973" y="494"/>
                </a:lnTo>
                <a:lnTo>
                  <a:pt x="1987" y="515"/>
                </a:lnTo>
                <a:lnTo>
                  <a:pt x="2000" y="538"/>
                </a:lnTo>
                <a:lnTo>
                  <a:pt x="2012" y="560"/>
                </a:lnTo>
                <a:lnTo>
                  <a:pt x="2025" y="584"/>
                </a:lnTo>
                <a:lnTo>
                  <a:pt x="2036" y="606"/>
                </a:lnTo>
                <a:lnTo>
                  <a:pt x="2047" y="630"/>
                </a:lnTo>
                <a:lnTo>
                  <a:pt x="2057" y="654"/>
                </a:lnTo>
                <a:lnTo>
                  <a:pt x="2068" y="679"/>
                </a:lnTo>
                <a:lnTo>
                  <a:pt x="2077" y="703"/>
                </a:lnTo>
                <a:lnTo>
                  <a:pt x="2086" y="728"/>
                </a:lnTo>
                <a:lnTo>
                  <a:pt x="2093" y="753"/>
                </a:lnTo>
                <a:lnTo>
                  <a:pt x="2101" y="778"/>
                </a:lnTo>
                <a:lnTo>
                  <a:pt x="2108" y="803"/>
                </a:lnTo>
                <a:lnTo>
                  <a:pt x="2115" y="829"/>
                </a:lnTo>
                <a:lnTo>
                  <a:pt x="2121" y="855"/>
                </a:lnTo>
                <a:lnTo>
                  <a:pt x="2125" y="881"/>
                </a:lnTo>
                <a:lnTo>
                  <a:pt x="2130" y="908"/>
                </a:lnTo>
                <a:lnTo>
                  <a:pt x="2134" y="934"/>
                </a:lnTo>
                <a:lnTo>
                  <a:pt x="2136" y="961"/>
                </a:lnTo>
                <a:lnTo>
                  <a:pt x="2139" y="988"/>
                </a:lnTo>
                <a:lnTo>
                  <a:pt x="2141" y="1016"/>
                </a:lnTo>
                <a:lnTo>
                  <a:pt x="2142" y="1043"/>
                </a:lnTo>
                <a:lnTo>
                  <a:pt x="2142" y="1070"/>
                </a:lnTo>
                <a:lnTo>
                  <a:pt x="2142" y="1098"/>
                </a:lnTo>
                <a:lnTo>
                  <a:pt x="2141" y="1125"/>
                </a:lnTo>
                <a:lnTo>
                  <a:pt x="2139" y="1154"/>
                </a:lnTo>
                <a:lnTo>
                  <a:pt x="2136" y="1181"/>
                </a:lnTo>
                <a:lnTo>
                  <a:pt x="2134" y="1208"/>
                </a:lnTo>
                <a:lnTo>
                  <a:pt x="2130" y="1234"/>
                </a:lnTo>
                <a:lnTo>
                  <a:pt x="2125" y="1261"/>
                </a:lnTo>
                <a:lnTo>
                  <a:pt x="2121" y="1286"/>
                </a:lnTo>
                <a:lnTo>
                  <a:pt x="2115" y="1312"/>
                </a:lnTo>
                <a:lnTo>
                  <a:pt x="2108" y="1338"/>
                </a:lnTo>
                <a:lnTo>
                  <a:pt x="2101" y="1364"/>
                </a:lnTo>
                <a:lnTo>
                  <a:pt x="2093" y="1389"/>
                </a:lnTo>
                <a:lnTo>
                  <a:pt x="2086" y="1414"/>
                </a:lnTo>
                <a:lnTo>
                  <a:pt x="2077" y="1438"/>
                </a:lnTo>
                <a:lnTo>
                  <a:pt x="2068" y="1463"/>
                </a:lnTo>
                <a:lnTo>
                  <a:pt x="2057" y="1488"/>
                </a:lnTo>
                <a:lnTo>
                  <a:pt x="2047" y="1512"/>
                </a:lnTo>
                <a:lnTo>
                  <a:pt x="2036" y="1535"/>
                </a:lnTo>
                <a:lnTo>
                  <a:pt x="2025" y="1558"/>
                </a:lnTo>
                <a:lnTo>
                  <a:pt x="2012" y="1581"/>
                </a:lnTo>
                <a:lnTo>
                  <a:pt x="2000" y="1604"/>
                </a:lnTo>
                <a:lnTo>
                  <a:pt x="1987" y="1626"/>
                </a:lnTo>
                <a:lnTo>
                  <a:pt x="1973" y="1648"/>
                </a:lnTo>
                <a:lnTo>
                  <a:pt x="1958" y="1669"/>
                </a:lnTo>
                <a:lnTo>
                  <a:pt x="1944" y="1691"/>
                </a:lnTo>
                <a:lnTo>
                  <a:pt x="1929" y="1712"/>
                </a:lnTo>
                <a:lnTo>
                  <a:pt x="1913" y="1732"/>
                </a:lnTo>
                <a:lnTo>
                  <a:pt x="1898" y="1751"/>
                </a:lnTo>
                <a:lnTo>
                  <a:pt x="1881" y="1772"/>
                </a:lnTo>
                <a:lnTo>
                  <a:pt x="1864" y="1791"/>
                </a:lnTo>
                <a:lnTo>
                  <a:pt x="1846" y="1810"/>
                </a:lnTo>
                <a:lnTo>
                  <a:pt x="1828" y="1828"/>
                </a:lnTo>
                <a:lnTo>
                  <a:pt x="1810" y="1846"/>
                </a:lnTo>
                <a:lnTo>
                  <a:pt x="1791" y="1864"/>
                </a:lnTo>
                <a:lnTo>
                  <a:pt x="1772" y="1881"/>
                </a:lnTo>
                <a:lnTo>
                  <a:pt x="1753" y="1898"/>
                </a:lnTo>
                <a:lnTo>
                  <a:pt x="1732" y="1913"/>
                </a:lnTo>
                <a:lnTo>
                  <a:pt x="1712" y="1929"/>
                </a:lnTo>
                <a:lnTo>
                  <a:pt x="1691" y="1944"/>
                </a:lnTo>
                <a:lnTo>
                  <a:pt x="1669" y="1959"/>
                </a:lnTo>
                <a:lnTo>
                  <a:pt x="1648" y="1973"/>
                </a:lnTo>
                <a:lnTo>
                  <a:pt x="1626" y="1987"/>
                </a:lnTo>
                <a:lnTo>
                  <a:pt x="1604" y="2000"/>
                </a:lnTo>
                <a:lnTo>
                  <a:pt x="1581" y="2013"/>
                </a:lnTo>
                <a:lnTo>
                  <a:pt x="1558" y="2025"/>
                </a:lnTo>
                <a:lnTo>
                  <a:pt x="1535" y="2036"/>
                </a:lnTo>
                <a:lnTo>
                  <a:pt x="1512" y="2047"/>
                </a:lnTo>
                <a:lnTo>
                  <a:pt x="1488" y="2058"/>
                </a:lnTo>
                <a:lnTo>
                  <a:pt x="1463" y="2068"/>
                </a:lnTo>
                <a:lnTo>
                  <a:pt x="1439" y="2077"/>
                </a:lnTo>
                <a:lnTo>
                  <a:pt x="1414" y="2086"/>
                </a:lnTo>
                <a:lnTo>
                  <a:pt x="1389" y="2094"/>
                </a:lnTo>
                <a:lnTo>
                  <a:pt x="1364" y="2101"/>
                </a:lnTo>
                <a:lnTo>
                  <a:pt x="1338" y="2108"/>
                </a:lnTo>
                <a:lnTo>
                  <a:pt x="1313" y="2115"/>
                </a:lnTo>
                <a:lnTo>
                  <a:pt x="1287" y="2121"/>
                </a:lnTo>
                <a:lnTo>
                  <a:pt x="1261" y="2125"/>
                </a:lnTo>
                <a:lnTo>
                  <a:pt x="1234" y="2130"/>
                </a:lnTo>
                <a:lnTo>
                  <a:pt x="1208" y="2133"/>
                </a:lnTo>
                <a:lnTo>
                  <a:pt x="1181" y="2136"/>
                </a:lnTo>
                <a:lnTo>
                  <a:pt x="1154" y="2139"/>
                </a:lnTo>
                <a:lnTo>
                  <a:pt x="1126" y="2141"/>
                </a:lnTo>
                <a:lnTo>
                  <a:pt x="1099" y="2142"/>
                </a:lnTo>
                <a:lnTo>
                  <a:pt x="1072" y="2142"/>
                </a:lnTo>
                <a:close/>
                <a:moveTo>
                  <a:pt x="1072" y="103"/>
                </a:moveTo>
                <a:lnTo>
                  <a:pt x="1046" y="103"/>
                </a:lnTo>
                <a:lnTo>
                  <a:pt x="1021" y="104"/>
                </a:lnTo>
                <a:lnTo>
                  <a:pt x="997" y="106"/>
                </a:lnTo>
                <a:lnTo>
                  <a:pt x="973" y="108"/>
                </a:lnTo>
                <a:lnTo>
                  <a:pt x="948" y="110"/>
                </a:lnTo>
                <a:lnTo>
                  <a:pt x="924" y="113"/>
                </a:lnTo>
                <a:lnTo>
                  <a:pt x="901" y="118"/>
                </a:lnTo>
                <a:lnTo>
                  <a:pt x="876" y="122"/>
                </a:lnTo>
                <a:lnTo>
                  <a:pt x="853" y="128"/>
                </a:lnTo>
                <a:lnTo>
                  <a:pt x="830" y="134"/>
                </a:lnTo>
                <a:lnTo>
                  <a:pt x="806" y="139"/>
                </a:lnTo>
                <a:lnTo>
                  <a:pt x="784" y="146"/>
                </a:lnTo>
                <a:lnTo>
                  <a:pt x="761" y="154"/>
                </a:lnTo>
                <a:lnTo>
                  <a:pt x="739" y="162"/>
                </a:lnTo>
                <a:lnTo>
                  <a:pt x="717" y="170"/>
                </a:lnTo>
                <a:lnTo>
                  <a:pt x="695" y="179"/>
                </a:lnTo>
                <a:lnTo>
                  <a:pt x="673" y="189"/>
                </a:lnTo>
                <a:lnTo>
                  <a:pt x="652" y="198"/>
                </a:lnTo>
                <a:lnTo>
                  <a:pt x="631" y="209"/>
                </a:lnTo>
                <a:lnTo>
                  <a:pt x="610" y="219"/>
                </a:lnTo>
                <a:lnTo>
                  <a:pt x="590" y="232"/>
                </a:lnTo>
                <a:lnTo>
                  <a:pt x="570" y="243"/>
                </a:lnTo>
                <a:lnTo>
                  <a:pt x="550" y="255"/>
                </a:lnTo>
                <a:lnTo>
                  <a:pt x="530" y="269"/>
                </a:lnTo>
                <a:lnTo>
                  <a:pt x="511" y="281"/>
                </a:lnTo>
                <a:lnTo>
                  <a:pt x="492" y="296"/>
                </a:lnTo>
                <a:lnTo>
                  <a:pt x="474" y="309"/>
                </a:lnTo>
                <a:lnTo>
                  <a:pt x="456" y="324"/>
                </a:lnTo>
                <a:lnTo>
                  <a:pt x="438" y="340"/>
                </a:lnTo>
                <a:lnTo>
                  <a:pt x="421" y="354"/>
                </a:lnTo>
                <a:lnTo>
                  <a:pt x="404" y="370"/>
                </a:lnTo>
                <a:lnTo>
                  <a:pt x="388" y="387"/>
                </a:lnTo>
                <a:lnTo>
                  <a:pt x="371" y="403"/>
                </a:lnTo>
                <a:lnTo>
                  <a:pt x="355" y="421"/>
                </a:lnTo>
                <a:lnTo>
                  <a:pt x="340" y="438"/>
                </a:lnTo>
                <a:lnTo>
                  <a:pt x="324" y="456"/>
                </a:lnTo>
                <a:lnTo>
                  <a:pt x="310" y="474"/>
                </a:lnTo>
                <a:lnTo>
                  <a:pt x="296" y="492"/>
                </a:lnTo>
                <a:lnTo>
                  <a:pt x="283" y="511"/>
                </a:lnTo>
                <a:lnTo>
                  <a:pt x="269" y="530"/>
                </a:lnTo>
                <a:lnTo>
                  <a:pt x="256" y="549"/>
                </a:lnTo>
                <a:lnTo>
                  <a:pt x="243" y="569"/>
                </a:lnTo>
                <a:lnTo>
                  <a:pt x="232" y="590"/>
                </a:lnTo>
                <a:lnTo>
                  <a:pt x="221" y="610"/>
                </a:lnTo>
                <a:lnTo>
                  <a:pt x="210" y="630"/>
                </a:lnTo>
                <a:lnTo>
                  <a:pt x="200" y="652"/>
                </a:lnTo>
                <a:lnTo>
                  <a:pt x="189" y="673"/>
                </a:lnTo>
                <a:lnTo>
                  <a:pt x="179" y="694"/>
                </a:lnTo>
                <a:lnTo>
                  <a:pt x="170" y="716"/>
                </a:lnTo>
                <a:lnTo>
                  <a:pt x="162" y="738"/>
                </a:lnTo>
                <a:lnTo>
                  <a:pt x="155" y="761"/>
                </a:lnTo>
                <a:lnTo>
                  <a:pt x="147" y="783"/>
                </a:lnTo>
                <a:lnTo>
                  <a:pt x="140" y="806"/>
                </a:lnTo>
                <a:lnTo>
                  <a:pt x="134" y="829"/>
                </a:lnTo>
                <a:lnTo>
                  <a:pt x="129" y="853"/>
                </a:lnTo>
                <a:lnTo>
                  <a:pt x="123" y="876"/>
                </a:lnTo>
                <a:lnTo>
                  <a:pt x="119" y="899"/>
                </a:lnTo>
                <a:lnTo>
                  <a:pt x="115" y="924"/>
                </a:lnTo>
                <a:lnTo>
                  <a:pt x="112" y="948"/>
                </a:lnTo>
                <a:lnTo>
                  <a:pt x="108" y="972"/>
                </a:lnTo>
                <a:lnTo>
                  <a:pt x="106" y="996"/>
                </a:lnTo>
                <a:lnTo>
                  <a:pt x="105" y="1021"/>
                </a:lnTo>
                <a:lnTo>
                  <a:pt x="104" y="1046"/>
                </a:lnTo>
                <a:lnTo>
                  <a:pt x="104" y="1070"/>
                </a:lnTo>
                <a:lnTo>
                  <a:pt x="104" y="1096"/>
                </a:lnTo>
                <a:lnTo>
                  <a:pt x="105" y="1121"/>
                </a:lnTo>
                <a:lnTo>
                  <a:pt x="106" y="1146"/>
                </a:lnTo>
                <a:lnTo>
                  <a:pt x="108" y="1169"/>
                </a:lnTo>
                <a:lnTo>
                  <a:pt x="112" y="1194"/>
                </a:lnTo>
                <a:lnTo>
                  <a:pt x="115" y="1218"/>
                </a:lnTo>
                <a:lnTo>
                  <a:pt x="119" y="1241"/>
                </a:lnTo>
                <a:lnTo>
                  <a:pt x="123" y="1266"/>
                </a:lnTo>
                <a:lnTo>
                  <a:pt x="129" y="1289"/>
                </a:lnTo>
                <a:lnTo>
                  <a:pt x="134" y="1312"/>
                </a:lnTo>
                <a:lnTo>
                  <a:pt x="140" y="1336"/>
                </a:lnTo>
                <a:lnTo>
                  <a:pt x="147" y="1358"/>
                </a:lnTo>
                <a:lnTo>
                  <a:pt x="155" y="1381"/>
                </a:lnTo>
                <a:lnTo>
                  <a:pt x="162" y="1404"/>
                </a:lnTo>
                <a:lnTo>
                  <a:pt x="170" y="1425"/>
                </a:lnTo>
                <a:lnTo>
                  <a:pt x="179" y="1447"/>
                </a:lnTo>
                <a:lnTo>
                  <a:pt x="189" y="1469"/>
                </a:lnTo>
                <a:lnTo>
                  <a:pt x="200" y="1490"/>
                </a:lnTo>
                <a:lnTo>
                  <a:pt x="210" y="1512"/>
                </a:lnTo>
                <a:lnTo>
                  <a:pt x="221" y="1532"/>
                </a:lnTo>
                <a:lnTo>
                  <a:pt x="232" y="1552"/>
                </a:lnTo>
                <a:lnTo>
                  <a:pt x="243" y="1572"/>
                </a:lnTo>
                <a:lnTo>
                  <a:pt x="256" y="1593"/>
                </a:lnTo>
                <a:lnTo>
                  <a:pt x="269" y="1612"/>
                </a:lnTo>
                <a:lnTo>
                  <a:pt x="283" y="1631"/>
                </a:lnTo>
                <a:lnTo>
                  <a:pt x="296" y="1650"/>
                </a:lnTo>
                <a:lnTo>
                  <a:pt x="310" y="1668"/>
                </a:lnTo>
                <a:lnTo>
                  <a:pt x="324" y="1686"/>
                </a:lnTo>
                <a:lnTo>
                  <a:pt x="340" y="1704"/>
                </a:lnTo>
                <a:lnTo>
                  <a:pt x="355" y="1721"/>
                </a:lnTo>
                <a:lnTo>
                  <a:pt x="371" y="1738"/>
                </a:lnTo>
                <a:lnTo>
                  <a:pt x="388" y="1755"/>
                </a:lnTo>
                <a:lnTo>
                  <a:pt x="404" y="1772"/>
                </a:lnTo>
                <a:lnTo>
                  <a:pt x="421" y="1787"/>
                </a:lnTo>
                <a:lnTo>
                  <a:pt x="438" y="1802"/>
                </a:lnTo>
                <a:lnTo>
                  <a:pt x="456" y="1818"/>
                </a:lnTo>
                <a:lnTo>
                  <a:pt x="474" y="1832"/>
                </a:lnTo>
                <a:lnTo>
                  <a:pt x="492" y="1846"/>
                </a:lnTo>
                <a:lnTo>
                  <a:pt x="511" y="1859"/>
                </a:lnTo>
                <a:lnTo>
                  <a:pt x="530" y="1873"/>
                </a:lnTo>
                <a:lnTo>
                  <a:pt x="550" y="1886"/>
                </a:lnTo>
                <a:lnTo>
                  <a:pt x="570" y="1899"/>
                </a:lnTo>
                <a:lnTo>
                  <a:pt x="590" y="1910"/>
                </a:lnTo>
                <a:lnTo>
                  <a:pt x="610" y="1921"/>
                </a:lnTo>
                <a:lnTo>
                  <a:pt x="631" y="1933"/>
                </a:lnTo>
                <a:lnTo>
                  <a:pt x="652" y="1943"/>
                </a:lnTo>
                <a:lnTo>
                  <a:pt x="673" y="1953"/>
                </a:lnTo>
                <a:lnTo>
                  <a:pt x="695" y="1963"/>
                </a:lnTo>
                <a:lnTo>
                  <a:pt x="717" y="1972"/>
                </a:lnTo>
                <a:lnTo>
                  <a:pt x="739" y="1980"/>
                </a:lnTo>
                <a:lnTo>
                  <a:pt x="761" y="1988"/>
                </a:lnTo>
                <a:lnTo>
                  <a:pt x="784" y="1996"/>
                </a:lnTo>
                <a:lnTo>
                  <a:pt x="806" y="2002"/>
                </a:lnTo>
                <a:lnTo>
                  <a:pt x="830" y="2008"/>
                </a:lnTo>
                <a:lnTo>
                  <a:pt x="853" y="2014"/>
                </a:lnTo>
                <a:lnTo>
                  <a:pt x="876" y="2019"/>
                </a:lnTo>
                <a:lnTo>
                  <a:pt x="901" y="2024"/>
                </a:lnTo>
                <a:lnTo>
                  <a:pt x="924" y="2027"/>
                </a:lnTo>
                <a:lnTo>
                  <a:pt x="948" y="2031"/>
                </a:lnTo>
                <a:lnTo>
                  <a:pt x="973" y="2034"/>
                </a:lnTo>
                <a:lnTo>
                  <a:pt x="997" y="2036"/>
                </a:lnTo>
                <a:lnTo>
                  <a:pt x="1021" y="2037"/>
                </a:lnTo>
                <a:lnTo>
                  <a:pt x="1046" y="2038"/>
                </a:lnTo>
                <a:lnTo>
                  <a:pt x="1072" y="2038"/>
                </a:lnTo>
                <a:lnTo>
                  <a:pt x="1096" y="2038"/>
                </a:lnTo>
                <a:lnTo>
                  <a:pt x="1121" y="2037"/>
                </a:lnTo>
                <a:lnTo>
                  <a:pt x="1146" y="2036"/>
                </a:lnTo>
                <a:lnTo>
                  <a:pt x="1170" y="2034"/>
                </a:lnTo>
                <a:lnTo>
                  <a:pt x="1194" y="2031"/>
                </a:lnTo>
                <a:lnTo>
                  <a:pt x="1218" y="2027"/>
                </a:lnTo>
                <a:lnTo>
                  <a:pt x="1243" y="2024"/>
                </a:lnTo>
                <a:lnTo>
                  <a:pt x="1266" y="2019"/>
                </a:lnTo>
                <a:lnTo>
                  <a:pt x="1290" y="2014"/>
                </a:lnTo>
                <a:lnTo>
                  <a:pt x="1313" y="2008"/>
                </a:lnTo>
                <a:lnTo>
                  <a:pt x="1336" y="2002"/>
                </a:lnTo>
                <a:lnTo>
                  <a:pt x="1359" y="1996"/>
                </a:lnTo>
                <a:lnTo>
                  <a:pt x="1381" y="1988"/>
                </a:lnTo>
                <a:lnTo>
                  <a:pt x="1404" y="1980"/>
                </a:lnTo>
                <a:lnTo>
                  <a:pt x="1426" y="1972"/>
                </a:lnTo>
                <a:lnTo>
                  <a:pt x="1448" y="1963"/>
                </a:lnTo>
                <a:lnTo>
                  <a:pt x="1469" y="1953"/>
                </a:lnTo>
                <a:lnTo>
                  <a:pt x="1490" y="1943"/>
                </a:lnTo>
                <a:lnTo>
                  <a:pt x="1512" y="1933"/>
                </a:lnTo>
                <a:lnTo>
                  <a:pt x="1532" y="1921"/>
                </a:lnTo>
                <a:lnTo>
                  <a:pt x="1552" y="1910"/>
                </a:lnTo>
                <a:lnTo>
                  <a:pt x="1572" y="1899"/>
                </a:lnTo>
                <a:lnTo>
                  <a:pt x="1593" y="1886"/>
                </a:lnTo>
                <a:lnTo>
                  <a:pt x="1612" y="1873"/>
                </a:lnTo>
                <a:lnTo>
                  <a:pt x="1631" y="1859"/>
                </a:lnTo>
                <a:lnTo>
                  <a:pt x="1650" y="1846"/>
                </a:lnTo>
                <a:lnTo>
                  <a:pt x="1668" y="1832"/>
                </a:lnTo>
                <a:lnTo>
                  <a:pt x="1686" y="1818"/>
                </a:lnTo>
                <a:lnTo>
                  <a:pt x="1704" y="1802"/>
                </a:lnTo>
                <a:lnTo>
                  <a:pt x="1721" y="1787"/>
                </a:lnTo>
                <a:lnTo>
                  <a:pt x="1739" y="1772"/>
                </a:lnTo>
                <a:lnTo>
                  <a:pt x="1755" y="1755"/>
                </a:lnTo>
                <a:lnTo>
                  <a:pt x="1772" y="1738"/>
                </a:lnTo>
                <a:lnTo>
                  <a:pt x="1787" y="1721"/>
                </a:lnTo>
                <a:lnTo>
                  <a:pt x="1803" y="1704"/>
                </a:lnTo>
                <a:lnTo>
                  <a:pt x="1818" y="1686"/>
                </a:lnTo>
                <a:lnTo>
                  <a:pt x="1832" y="1668"/>
                </a:lnTo>
                <a:lnTo>
                  <a:pt x="1846" y="1650"/>
                </a:lnTo>
                <a:lnTo>
                  <a:pt x="1861" y="1631"/>
                </a:lnTo>
                <a:lnTo>
                  <a:pt x="1873" y="1612"/>
                </a:lnTo>
                <a:lnTo>
                  <a:pt x="1886" y="1593"/>
                </a:lnTo>
                <a:lnTo>
                  <a:pt x="1899" y="1572"/>
                </a:lnTo>
                <a:lnTo>
                  <a:pt x="1910" y="1552"/>
                </a:lnTo>
                <a:lnTo>
                  <a:pt x="1922" y="1532"/>
                </a:lnTo>
                <a:lnTo>
                  <a:pt x="1933" y="1512"/>
                </a:lnTo>
                <a:lnTo>
                  <a:pt x="1944" y="1490"/>
                </a:lnTo>
                <a:lnTo>
                  <a:pt x="1953" y="1469"/>
                </a:lnTo>
                <a:lnTo>
                  <a:pt x="1963" y="1447"/>
                </a:lnTo>
                <a:lnTo>
                  <a:pt x="1972" y="1425"/>
                </a:lnTo>
                <a:lnTo>
                  <a:pt x="1980" y="1404"/>
                </a:lnTo>
                <a:lnTo>
                  <a:pt x="1988" y="1381"/>
                </a:lnTo>
                <a:lnTo>
                  <a:pt x="1996" y="1358"/>
                </a:lnTo>
                <a:lnTo>
                  <a:pt x="2002" y="1336"/>
                </a:lnTo>
                <a:lnTo>
                  <a:pt x="2008" y="1312"/>
                </a:lnTo>
                <a:lnTo>
                  <a:pt x="2014" y="1289"/>
                </a:lnTo>
                <a:lnTo>
                  <a:pt x="2019" y="1266"/>
                </a:lnTo>
                <a:lnTo>
                  <a:pt x="2024" y="1241"/>
                </a:lnTo>
                <a:lnTo>
                  <a:pt x="2028" y="1218"/>
                </a:lnTo>
                <a:lnTo>
                  <a:pt x="2032" y="1194"/>
                </a:lnTo>
                <a:lnTo>
                  <a:pt x="2034" y="1169"/>
                </a:lnTo>
                <a:lnTo>
                  <a:pt x="2036" y="1146"/>
                </a:lnTo>
                <a:lnTo>
                  <a:pt x="2037" y="1121"/>
                </a:lnTo>
                <a:lnTo>
                  <a:pt x="2038" y="1096"/>
                </a:lnTo>
                <a:lnTo>
                  <a:pt x="2038" y="1070"/>
                </a:lnTo>
                <a:lnTo>
                  <a:pt x="2038" y="1046"/>
                </a:lnTo>
                <a:lnTo>
                  <a:pt x="2037" y="1021"/>
                </a:lnTo>
                <a:lnTo>
                  <a:pt x="2036" y="996"/>
                </a:lnTo>
                <a:lnTo>
                  <a:pt x="2034" y="972"/>
                </a:lnTo>
                <a:lnTo>
                  <a:pt x="2032" y="948"/>
                </a:lnTo>
                <a:lnTo>
                  <a:pt x="2028" y="924"/>
                </a:lnTo>
                <a:lnTo>
                  <a:pt x="2024" y="899"/>
                </a:lnTo>
                <a:lnTo>
                  <a:pt x="2019" y="876"/>
                </a:lnTo>
                <a:lnTo>
                  <a:pt x="2014" y="853"/>
                </a:lnTo>
                <a:lnTo>
                  <a:pt x="2008" y="829"/>
                </a:lnTo>
                <a:lnTo>
                  <a:pt x="2002" y="806"/>
                </a:lnTo>
                <a:lnTo>
                  <a:pt x="1996" y="783"/>
                </a:lnTo>
                <a:lnTo>
                  <a:pt x="1988" y="761"/>
                </a:lnTo>
                <a:lnTo>
                  <a:pt x="1980" y="738"/>
                </a:lnTo>
                <a:lnTo>
                  <a:pt x="1972" y="716"/>
                </a:lnTo>
                <a:lnTo>
                  <a:pt x="1963" y="694"/>
                </a:lnTo>
                <a:lnTo>
                  <a:pt x="1953" y="673"/>
                </a:lnTo>
                <a:lnTo>
                  <a:pt x="1944" y="652"/>
                </a:lnTo>
                <a:lnTo>
                  <a:pt x="1933" y="630"/>
                </a:lnTo>
                <a:lnTo>
                  <a:pt x="1922" y="610"/>
                </a:lnTo>
                <a:lnTo>
                  <a:pt x="1910" y="590"/>
                </a:lnTo>
                <a:lnTo>
                  <a:pt x="1899" y="569"/>
                </a:lnTo>
                <a:lnTo>
                  <a:pt x="1886" y="549"/>
                </a:lnTo>
                <a:lnTo>
                  <a:pt x="1873" y="530"/>
                </a:lnTo>
                <a:lnTo>
                  <a:pt x="1861" y="511"/>
                </a:lnTo>
                <a:lnTo>
                  <a:pt x="1846" y="492"/>
                </a:lnTo>
                <a:lnTo>
                  <a:pt x="1832" y="474"/>
                </a:lnTo>
                <a:lnTo>
                  <a:pt x="1818" y="456"/>
                </a:lnTo>
                <a:lnTo>
                  <a:pt x="1803" y="438"/>
                </a:lnTo>
                <a:lnTo>
                  <a:pt x="1787" y="421"/>
                </a:lnTo>
                <a:lnTo>
                  <a:pt x="1772" y="403"/>
                </a:lnTo>
                <a:lnTo>
                  <a:pt x="1755" y="387"/>
                </a:lnTo>
                <a:lnTo>
                  <a:pt x="1739" y="370"/>
                </a:lnTo>
                <a:lnTo>
                  <a:pt x="1721" y="354"/>
                </a:lnTo>
                <a:lnTo>
                  <a:pt x="1704" y="340"/>
                </a:lnTo>
                <a:lnTo>
                  <a:pt x="1686" y="324"/>
                </a:lnTo>
                <a:lnTo>
                  <a:pt x="1668" y="309"/>
                </a:lnTo>
                <a:lnTo>
                  <a:pt x="1650" y="296"/>
                </a:lnTo>
                <a:lnTo>
                  <a:pt x="1631" y="281"/>
                </a:lnTo>
                <a:lnTo>
                  <a:pt x="1612" y="269"/>
                </a:lnTo>
                <a:lnTo>
                  <a:pt x="1593" y="255"/>
                </a:lnTo>
                <a:lnTo>
                  <a:pt x="1572" y="243"/>
                </a:lnTo>
                <a:lnTo>
                  <a:pt x="1552" y="232"/>
                </a:lnTo>
                <a:lnTo>
                  <a:pt x="1532" y="219"/>
                </a:lnTo>
                <a:lnTo>
                  <a:pt x="1512" y="209"/>
                </a:lnTo>
                <a:lnTo>
                  <a:pt x="1490" y="198"/>
                </a:lnTo>
                <a:lnTo>
                  <a:pt x="1469" y="189"/>
                </a:lnTo>
                <a:lnTo>
                  <a:pt x="1448" y="179"/>
                </a:lnTo>
                <a:lnTo>
                  <a:pt x="1426" y="170"/>
                </a:lnTo>
                <a:lnTo>
                  <a:pt x="1404" y="162"/>
                </a:lnTo>
                <a:lnTo>
                  <a:pt x="1381" y="154"/>
                </a:lnTo>
                <a:lnTo>
                  <a:pt x="1359" y="146"/>
                </a:lnTo>
                <a:lnTo>
                  <a:pt x="1336" y="139"/>
                </a:lnTo>
                <a:lnTo>
                  <a:pt x="1313" y="134"/>
                </a:lnTo>
                <a:lnTo>
                  <a:pt x="1290" y="128"/>
                </a:lnTo>
                <a:lnTo>
                  <a:pt x="1266" y="122"/>
                </a:lnTo>
                <a:lnTo>
                  <a:pt x="1243" y="118"/>
                </a:lnTo>
                <a:lnTo>
                  <a:pt x="1218" y="113"/>
                </a:lnTo>
                <a:lnTo>
                  <a:pt x="1194" y="110"/>
                </a:lnTo>
                <a:lnTo>
                  <a:pt x="1170" y="108"/>
                </a:lnTo>
                <a:lnTo>
                  <a:pt x="1146" y="106"/>
                </a:lnTo>
                <a:lnTo>
                  <a:pt x="1121" y="104"/>
                </a:lnTo>
                <a:lnTo>
                  <a:pt x="1096" y="103"/>
                </a:lnTo>
                <a:lnTo>
                  <a:pt x="1072" y="103"/>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48" name="Oval 47">
            <a:hlinkClick r:id="" action="ppaction://noaction"/>
            <a:extLst>
              <a:ext uri="{FF2B5EF4-FFF2-40B4-BE49-F238E27FC236}">
                <a16:creationId xmlns:a16="http://schemas.microsoft.com/office/drawing/2014/main" id="{AB8F54AB-71B7-423E-B1A4-DF77D8C80131}"/>
              </a:ext>
            </a:extLst>
          </p:cNvPr>
          <p:cNvSpPr>
            <a:spLocks noChangeAspect="1"/>
          </p:cNvSpPr>
          <p:nvPr/>
        </p:nvSpPr>
        <p:spPr>
          <a:xfrm>
            <a:off x="40721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9" name="Oval 48">
            <a:hlinkClick r:id="" action="ppaction://noaction"/>
            <a:extLst>
              <a:ext uri="{FF2B5EF4-FFF2-40B4-BE49-F238E27FC236}">
                <a16:creationId xmlns:a16="http://schemas.microsoft.com/office/drawing/2014/main" id="{9E0C5B85-4051-4466-99A2-8B54D1E83DAF}"/>
              </a:ext>
            </a:extLst>
          </p:cNvPr>
          <p:cNvSpPr>
            <a:spLocks noChangeAspect="1"/>
          </p:cNvSpPr>
          <p:nvPr/>
        </p:nvSpPr>
        <p:spPr>
          <a:xfrm>
            <a:off x="55123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0" name="Oval 49">
            <a:hlinkClick r:id="" action="ppaction://noaction"/>
            <a:extLst>
              <a:ext uri="{FF2B5EF4-FFF2-40B4-BE49-F238E27FC236}">
                <a16:creationId xmlns:a16="http://schemas.microsoft.com/office/drawing/2014/main" id="{74126589-4BC6-4888-A73C-6D8E85BD06DD}"/>
              </a:ext>
            </a:extLst>
          </p:cNvPr>
          <p:cNvSpPr>
            <a:spLocks noChangeAspect="1"/>
          </p:cNvSpPr>
          <p:nvPr/>
        </p:nvSpPr>
        <p:spPr>
          <a:xfrm>
            <a:off x="69525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1" name="Oval 50">
            <a:hlinkClick r:id="" action="ppaction://noaction"/>
            <a:extLst>
              <a:ext uri="{FF2B5EF4-FFF2-40B4-BE49-F238E27FC236}">
                <a16:creationId xmlns:a16="http://schemas.microsoft.com/office/drawing/2014/main" id="{601F4431-51AE-41B8-A97C-A3CEA5BF7CD0}"/>
              </a:ext>
            </a:extLst>
          </p:cNvPr>
          <p:cNvSpPr>
            <a:spLocks noChangeAspect="1"/>
          </p:cNvSpPr>
          <p:nvPr/>
        </p:nvSpPr>
        <p:spPr>
          <a:xfrm>
            <a:off x="839270" y="89377"/>
            <a:ext cx="108000" cy="108000"/>
          </a:xfrm>
          <a:prstGeom prst="ellipse">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2" name="Oval 51">
            <a:hlinkClick r:id="" action="ppaction://noaction"/>
            <a:extLst>
              <a:ext uri="{FF2B5EF4-FFF2-40B4-BE49-F238E27FC236}">
                <a16:creationId xmlns:a16="http://schemas.microsoft.com/office/drawing/2014/main" id="{D697C324-1CCE-4D63-B9C8-C4AC3746E193}"/>
              </a:ext>
            </a:extLst>
          </p:cNvPr>
          <p:cNvSpPr>
            <a:spLocks noChangeAspect="1"/>
          </p:cNvSpPr>
          <p:nvPr/>
        </p:nvSpPr>
        <p:spPr>
          <a:xfrm>
            <a:off x="98329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53" name="Straight Connector 52">
            <a:extLst>
              <a:ext uri="{FF2B5EF4-FFF2-40B4-BE49-F238E27FC236}">
                <a16:creationId xmlns:a16="http://schemas.microsoft.com/office/drawing/2014/main" id="{E80818CF-FE35-4612-94A6-96E04B393A1E}"/>
              </a:ext>
            </a:extLst>
          </p:cNvPr>
          <p:cNvCxnSpPr>
            <a:cxnSpLocks/>
          </p:cNvCxnSpPr>
          <p:nvPr/>
        </p:nvCxnSpPr>
        <p:spPr>
          <a:xfrm>
            <a:off x="4593265" y="4714758"/>
            <a:ext cx="481743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Content Placeholder 4">
            <a:extLst>
              <a:ext uri="{FF2B5EF4-FFF2-40B4-BE49-F238E27FC236}">
                <a16:creationId xmlns:a16="http://schemas.microsoft.com/office/drawing/2014/main" id="{81D92619-C5EA-4433-A61B-15B6566634D1}"/>
              </a:ext>
            </a:extLst>
          </p:cNvPr>
          <p:cNvSpPr txBox="1">
            <a:spLocks/>
          </p:cNvSpPr>
          <p:nvPr/>
        </p:nvSpPr>
        <p:spPr>
          <a:xfrm>
            <a:off x="4302918" y="3068017"/>
            <a:ext cx="5506497" cy="2303243"/>
          </a:xfrm>
          <a:prstGeom prst="rect">
            <a:avLst/>
          </a:prstGeom>
        </p:spPr>
        <p:txBody>
          <a:bodyPr vert="horz" lIns="72000" tIns="0" rIns="72000" bIns="0" rtlCol="0" anchor="t">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133350" indent="-133350"/>
            <a:r>
              <a:rPr lang="en-GB" sz="1200"/>
              <a:t>We actively reduce our CO2 emissions</a:t>
            </a:r>
          </a:p>
        </p:txBody>
      </p:sp>
    </p:spTree>
    <p:extLst>
      <p:ext uri="{BB962C8B-B14F-4D97-AF65-F5344CB8AC3E}">
        <p14:creationId xmlns:p14="http://schemas.microsoft.com/office/powerpoint/2010/main" val="414319345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A picture containing indoor, person, ceiling&#10;&#10;Description automatically generated">
            <a:extLst>
              <a:ext uri="{FF2B5EF4-FFF2-40B4-BE49-F238E27FC236}">
                <a16:creationId xmlns:a16="http://schemas.microsoft.com/office/drawing/2014/main" id="{0C296AB4-7F59-A443-A137-E3353EE232F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15108" y="1213070"/>
            <a:ext cx="3599780" cy="4500000"/>
          </a:xfrm>
          <a:prstGeom prst="rect">
            <a:avLst/>
          </a:prstGeom>
        </p:spPr>
      </p:pic>
      <p:pic>
        <p:nvPicPr>
          <p:cNvPr id="24" name="Picture 23" descr="A picture containing sky, outdoor, water, plane&#10;&#10;Description automatically generated">
            <a:extLst>
              <a:ext uri="{FF2B5EF4-FFF2-40B4-BE49-F238E27FC236}">
                <a16:creationId xmlns:a16="http://schemas.microsoft.com/office/drawing/2014/main" id="{41987B42-06C1-D44D-A257-DA37EF2B765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178919" y="1212482"/>
            <a:ext cx="3600000" cy="4500000"/>
          </a:xfrm>
          <a:prstGeom prst="rect">
            <a:avLst/>
          </a:prstGeom>
        </p:spPr>
      </p:pic>
      <p:pic>
        <p:nvPicPr>
          <p:cNvPr id="22" name="Picture 21" descr="A picture containing outdoor, person, person&#10;&#10;Description automatically generated">
            <a:extLst>
              <a:ext uri="{FF2B5EF4-FFF2-40B4-BE49-F238E27FC236}">
                <a16:creationId xmlns:a16="http://schemas.microsoft.com/office/drawing/2014/main" id="{BB69F941-1A76-5940-A1D5-17AD339EBB1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296110" y="1212482"/>
            <a:ext cx="3600000" cy="4500000"/>
          </a:xfrm>
          <a:prstGeom prst="rect">
            <a:avLst/>
          </a:prstGeom>
        </p:spPr>
      </p:pic>
      <p:sp>
        <p:nvSpPr>
          <p:cNvPr id="3" name="Footer Placeholder 2">
            <a:extLst>
              <a:ext uri="{FF2B5EF4-FFF2-40B4-BE49-F238E27FC236}">
                <a16:creationId xmlns:a16="http://schemas.microsoft.com/office/drawing/2014/main" id="{CADF07B0-1B17-A44C-A820-F7F030349108}"/>
              </a:ext>
            </a:extLst>
          </p:cNvPr>
          <p:cNvSpPr>
            <a:spLocks noGrp="1"/>
          </p:cNvSpPr>
          <p:nvPr>
            <p:ph type="ftr" sz="quarter" idx="11"/>
          </p:nvPr>
        </p:nvSpPr>
        <p:spPr/>
        <p:txBody>
          <a:bodyPr/>
          <a:lstStyle/>
          <a:p>
            <a:r>
              <a:rPr lang="en-US" noProof="0"/>
              <a:t>Confidential  |  © KONE Corporation</a:t>
            </a:r>
          </a:p>
        </p:txBody>
      </p:sp>
      <p:sp>
        <p:nvSpPr>
          <p:cNvPr id="32" name="Rectangle 31">
            <a:extLst>
              <a:ext uri="{FF2B5EF4-FFF2-40B4-BE49-F238E27FC236}">
                <a16:creationId xmlns:a16="http://schemas.microsoft.com/office/drawing/2014/main" id="{9EACE015-A689-4E8D-8167-FDEC643C8CD0}"/>
              </a:ext>
            </a:extLst>
          </p:cNvPr>
          <p:cNvSpPr/>
          <p:nvPr/>
        </p:nvSpPr>
        <p:spPr>
          <a:xfrm rot="10800000">
            <a:off x="407878" y="1212482"/>
            <a:ext cx="3600000" cy="4497098"/>
          </a:xfrm>
          <a:prstGeom prst="rect">
            <a:avLst/>
          </a:prstGeom>
          <a:gradFill>
            <a:gsLst>
              <a:gs pos="0">
                <a:schemeClr val="tx1">
                  <a:lumMod val="50000"/>
                  <a:alpha val="0"/>
                </a:schemeClr>
              </a:gs>
              <a:gs pos="100000">
                <a:schemeClr val="tx1">
                  <a:alpha val="25000"/>
                  <a:lumMod val="40000"/>
                </a:schemeClr>
              </a:gs>
            </a:gsLst>
            <a:lin ang="5400000" scaled="0"/>
          </a:gradFill>
          <a:ln w="25400" cap="flat" cmpd="sng" algn="ctr">
            <a:noFill/>
            <a:prstDash val="solid"/>
          </a:ln>
          <a:effectLst/>
        </p:spPr>
        <p:txBody>
          <a:bodyPr lIns="108000" tIns="108000" rIns="108000" bIns="108000" rtlCol="0" anchor="b" anchorCtr="0"/>
          <a:lstStyle/>
          <a:p>
            <a:pPr marL="0" marR="0" lvl="0" indent="0" algn="ctr" defTabSz="948219" rtl="0" eaLnBrk="1" fontAlgn="auto" latinLnBrk="0" hangingPunct="1">
              <a:lnSpc>
                <a:spcPct val="90000"/>
              </a:lnSpc>
              <a:spcBef>
                <a:spcPct val="0"/>
              </a:spcBef>
              <a:spcAft>
                <a:spcPts val="533"/>
              </a:spcAft>
              <a:buClrTx/>
              <a:buSzTx/>
              <a:buFontTx/>
              <a:buNone/>
              <a:tabLst/>
              <a:defRPr/>
            </a:pPr>
            <a:endParaRPr kumimoji="0" lang="en-GB" sz="1100" b="1" i="0" u="none" strike="noStrike" kern="0" cap="none" spc="0" normalizeH="0" baseline="0" noProof="0">
              <a:ln>
                <a:noFill/>
              </a:ln>
              <a:solidFill>
                <a:srgbClr val="FFFFFF"/>
              </a:solidFill>
              <a:effectLst/>
              <a:uLnTx/>
              <a:uFillTx/>
              <a:latin typeface="Arial"/>
              <a:ea typeface="ＭＳ Ｐゴシック" pitchFamily="34" charset="-128"/>
              <a:cs typeface="+mn-cs"/>
            </a:endParaRPr>
          </a:p>
        </p:txBody>
      </p:sp>
      <p:sp>
        <p:nvSpPr>
          <p:cNvPr id="5" name="Content Placeholder 4">
            <a:extLst>
              <a:ext uri="{FF2B5EF4-FFF2-40B4-BE49-F238E27FC236}">
                <a16:creationId xmlns:a16="http://schemas.microsoft.com/office/drawing/2014/main" id="{6B6BAC35-77B8-E940-A403-806995AECFA3}"/>
              </a:ext>
            </a:extLst>
          </p:cNvPr>
          <p:cNvSpPr>
            <a:spLocks noGrp="1"/>
          </p:cNvSpPr>
          <p:nvPr>
            <p:ph sz="quarter" idx="13"/>
          </p:nvPr>
        </p:nvSpPr>
        <p:spPr>
          <a:xfrm>
            <a:off x="407988" y="2636915"/>
            <a:ext cx="3599780" cy="3089737"/>
          </a:xfrm>
          <a:gradFill>
            <a:gsLst>
              <a:gs pos="0">
                <a:schemeClr val="tx1">
                  <a:lumMod val="50000"/>
                  <a:alpha val="0"/>
                </a:schemeClr>
              </a:gs>
              <a:gs pos="99000">
                <a:schemeClr val="tx1">
                  <a:lumMod val="50000"/>
                  <a:alpha val="50000"/>
                </a:schemeClr>
              </a:gs>
            </a:gsLst>
            <a:lin ang="5400000" scaled="1"/>
          </a:gradFill>
        </p:spPr>
        <p:txBody>
          <a:bodyPr lIns="108000" tIns="108000" rIns="108000" bIns="1692000" anchor="b" anchorCtr="0"/>
          <a:lstStyle/>
          <a:p>
            <a:pPr marL="0" indent="0" algn="ctr">
              <a:buNone/>
            </a:pPr>
            <a:r>
              <a:rPr lang="en-FI" sz="1600" b="1">
                <a:solidFill>
                  <a:schemeClr val="bg1"/>
                </a:solidFill>
              </a:rPr>
              <a:t>SPARE PARTS</a:t>
            </a:r>
          </a:p>
        </p:txBody>
      </p:sp>
      <p:sp>
        <p:nvSpPr>
          <p:cNvPr id="6" name="Title 5">
            <a:extLst>
              <a:ext uri="{FF2B5EF4-FFF2-40B4-BE49-F238E27FC236}">
                <a16:creationId xmlns:a16="http://schemas.microsoft.com/office/drawing/2014/main" id="{C8E12808-E3BD-554A-B368-F47F91DF7ACD}"/>
              </a:ext>
            </a:extLst>
          </p:cNvPr>
          <p:cNvSpPr>
            <a:spLocks noGrp="1"/>
          </p:cNvSpPr>
          <p:nvPr>
            <p:ph type="title"/>
          </p:nvPr>
        </p:nvSpPr>
        <p:spPr/>
        <p:txBody>
          <a:bodyPr/>
          <a:lstStyle/>
          <a:p>
            <a:r>
              <a:rPr lang="en-FI"/>
              <a:t>Carbon neutral maintenance – </a:t>
            </a:r>
            <a:r>
              <a:rPr lang="fi-FI"/>
              <a:t>how do we reduce?</a:t>
            </a:r>
            <a:endParaRPr lang="en-FI"/>
          </a:p>
        </p:txBody>
      </p:sp>
      <p:sp>
        <p:nvSpPr>
          <p:cNvPr id="8" name="Content Placeholder 4">
            <a:extLst>
              <a:ext uri="{FF2B5EF4-FFF2-40B4-BE49-F238E27FC236}">
                <a16:creationId xmlns:a16="http://schemas.microsoft.com/office/drawing/2014/main" id="{ADC6C7F5-077C-494F-AA09-9F1CA557775F}"/>
              </a:ext>
            </a:extLst>
          </p:cNvPr>
          <p:cNvSpPr txBox="1">
            <a:spLocks/>
          </p:cNvSpPr>
          <p:nvPr/>
        </p:nvSpPr>
        <p:spPr>
          <a:xfrm>
            <a:off x="8178699" y="2636915"/>
            <a:ext cx="3599780" cy="3089737"/>
          </a:xfrm>
          <a:prstGeom prst="rect">
            <a:avLst/>
          </a:prstGeom>
          <a:gradFill>
            <a:gsLst>
              <a:gs pos="0">
                <a:schemeClr val="tx1">
                  <a:lumMod val="50000"/>
                  <a:alpha val="0"/>
                </a:schemeClr>
              </a:gs>
              <a:gs pos="99000">
                <a:schemeClr val="tx1">
                  <a:lumMod val="50000"/>
                  <a:alpha val="50000"/>
                </a:schemeClr>
              </a:gs>
            </a:gsLst>
            <a:lin ang="5400000" scaled="1"/>
          </a:gradFill>
        </p:spPr>
        <p:txBody>
          <a:bodyPr vert="horz" lIns="108000" tIns="108000" rIns="108000" bIns="1692000" rtlCol="0" anchor="b"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indent="0" algn="ctr">
              <a:buFont typeface="Wingdings" panose="05000000000000000000" pitchFamily="2" charset="2"/>
              <a:buNone/>
            </a:pPr>
            <a:r>
              <a:rPr lang="en-FI" sz="1600" b="1">
                <a:solidFill>
                  <a:schemeClr val="bg1"/>
                </a:solidFill>
              </a:rPr>
              <a:t>FACILITIES</a:t>
            </a:r>
          </a:p>
        </p:txBody>
      </p:sp>
      <p:pic>
        <p:nvPicPr>
          <p:cNvPr id="13" name="Picture 12" descr="Logo&#10;&#10;Description automatically generated with medium confidence">
            <a:extLst>
              <a:ext uri="{FF2B5EF4-FFF2-40B4-BE49-F238E27FC236}">
                <a16:creationId xmlns:a16="http://schemas.microsoft.com/office/drawing/2014/main" id="{024629F9-E1F5-854E-8F7A-5E40650441F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15680" y="5866037"/>
            <a:ext cx="1368152" cy="784407"/>
          </a:xfrm>
          <a:prstGeom prst="rect">
            <a:avLst/>
          </a:prstGeom>
        </p:spPr>
      </p:pic>
      <p:cxnSp>
        <p:nvCxnSpPr>
          <p:cNvPr id="16" name="Straight Connector 15">
            <a:extLst>
              <a:ext uri="{FF2B5EF4-FFF2-40B4-BE49-F238E27FC236}">
                <a16:creationId xmlns:a16="http://schemas.microsoft.com/office/drawing/2014/main" id="{FA9544E3-E29D-A945-8661-0E02BF9E4DC2}"/>
              </a:ext>
            </a:extLst>
          </p:cNvPr>
          <p:cNvCxnSpPr>
            <a:cxnSpLocks/>
          </p:cNvCxnSpPr>
          <p:nvPr/>
        </p:nvCxnSpPr>
        <p:spPr>
          <a:xfrm>
            <a:off x="407988" y="5810119"/>
            <a:ext cx="1137049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Content Placeholder 4">
            <a:extLst>
              <a:ext uri="{FF2B5EF4-FFF2-40B4-BE49-F238E27FC236}">
                <a16:creationId xmlns:a16="http://schemas.microsoft.com/office/drawing/2014/main" id="{6F77D452-00CE-9946-8546-9902CBF3C96A}"/>
              </a:ext>
            </a:extLst>
          </p:cNvPr>
          <p:cNvSpPr txBox="1">
            <a:spLocks/>
          </p:cNvSpPr>
          <p:nvPr/>
        </p:nvSpPr>
        <p:spPr>
          <a:xfrm>
            <a:off x="407988" y="4104576"/>
            <a:ext cx="3599780" cy="1629906"/>
          </a:xfrm>
          <a:prstGeom prst="rect">
            <a:avLst/>
          </a:prstGeom>
        </p:spPr>
        <p:txBody>
          <a:bodyPr vert="horz" lIns="108000" tIns="108000" rIns="108000" bIns="108000" rtlCol="0">
            <a:sp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a:buClrTx/>
            </a:pPr>
            <a:r>
              <a:rPr lang="en-GB" sz="1200">
                <a:solidFill>
                  <a:schemeClr val="bg1"/>
                </a:solidFill>
              </a:rPr>
              <a:t>94% of waste recycled currently in own operations</a:t>
            </a:r>
          </a:p>
          <a:p>
            <a:pPr>
              <a:buClrTx/>
            </a:pPr>
            <a:r>
              <a:rPr lang="en-GB" sz="1200">
                <a:solidFill>
                  <a:schemeClr val="bg1"/>
                </a:solidFill>
              </a:rPr>
              <a:t>Working with suppliers to reduce CO2 </a:t>
            </a:r>
            <a:br>
              <a:rPr lang="en-GB" sz="1200">
                <a:solidFill>
                  <a:schemeClr val="bg1"/>
                </a:solidFill>
              </a:rPr>
            </a:br>
            <a:r>
              <a:rPr lang="en-GB" sz="1200">
                <a:solidFill>
                  <a:schemeClr val="bg1"/>
                </a:solidFill>
              </a:rPr>
              <a:t>(parts, packaging,…)</a:t>
            </a:r>
          </a:p>
          <a:p>
            <a:pPr>
              <a:buClrTx/>
            </a:pPr>
            <a:r>
              <a:rPr lang="en-GB" sz="1200">
                <a:solidFill>
                  <a:schemeClr val="bg1"/>
                </a:solidFill>
              </a:rPr>
              <a:t>Innovative solutions </a:t>
            </a:r>
            <a:br>
              <a:rPr lang="en-GB" sz="1200">
                <a:solidFill>
                  <a:schemeClr val="bg1"/>
                </a:solidFill>
              </a:rPr>
            </a:br>
            <a:r>
              <a:rPr lang="en-GB" sz="1200">
                <a:solidFill>
                  <a:schemeClr val="bg1"/>
                </a:solidFill>
              </a:rPr>
              <a:t>(e.g. travelling cable, batteries, repairs)</a:t>
            </a:r>
          </a:p>
        </p:txBody>
      </p:sp>
      <p:sp>
        <p:nvSpPr>
          <p:cNvPr id="11" name="Content Placeholder 4">
            <a:extLst>
              <a:ext uri="{FF2B5EF4-FFF2-40B4-BE49-F238E27FC236}">
                <a16:creationId xmlns:a16="http://schemas.microsoft.com/office/drawing/2014/main" id="{9120EDED-8E04-AF45-A0B1-18AAAD5AC5B1}"/>
              </a:ext>
            </a:extLst>
          </p:cNvPr>
          <p:cNvSpPr txBox="1">
            <a:spLocks/>
          </p:cNvSpPr>
          <p:nvPr/>
        </p:nvSpPr>
        <p:spPr>
          <a:xfrm>
            <a:off x="8178699" y="4104576"/>
            <a:ext cx="3599780" cy="419318"/>
          </a:xfrm>
          <a:prstGeom prst="rect">
            <a:avLst/>
          </a:prstGeom>
        </p:spPr>
        <p:txBody>
          <a:bodyPr vert="horz" lIns="108000" tIns="108000" rIns="108000" bIns="108000" rtlCol="0">
            <a:sp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a:buClrTx/>
            </a:pPr>
            <a:r>
              <a:rPr lang="en-GB" sz="1200">
                <a:solidFill>
                  <a:schemeClr val="bg1"/>
                </a:solidFill>
              </a:rPr>
              <a:t>Moving towards 100% renewable energy</a:t>
            </a:r>
          </a:p>
        </p:txBody>
      </p:sp>
      <p:sp>
        <p:nvSpPr>
          <p:cNvPr id="21" name="Content Placeholder 4">
            <a:extLst>
              <a:ext uri="{FF2B5EF4-FFF2-40B4-BE49-F238E27FC236}">
                <a16:creationId xmlns:a16="http://schemas.microsoft.com/office/drawing/2014/main" id="{3EA04E8B-31EE-5C4B-942A-D1D75720C661}"/>
              </a:ext>
            </a:extLst>
          </p:cNvPr>
          <p:cNvSpPr txBox="1">
            <a:spLocks/>
          </p:cNvSpPr>
          <p:nvPr/>
        </p:nvSpPr>
        <p:spPr>
          <a:xfrm>
            <a:off x="4799856" y="5910659"/>
            <a:ext cx="8137871" cy="720080"/>
          </a:xfrm>
          <a:prstGeom prst="rect">
            <a:avLst/>
          </a:prstGeom>
        </p:spPr>
        <p:txBody>
          <a:bodyPr vert="horz" lIns="0" tIns="0" rIns="0" bIns="0" rtlCol="0" anchor="ctr">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indent="0">
              <a:buNone/>
            </a:pPr>
            <a:r>
              <a:rPr lang="en-GB" sz="1400">
                <a:solidFill>
                  <a:schemeClr val="tx2"/>
                </a:solidFill>
              </a:rPr>
              <a:t>In line with KONE’s Climate Pledge targets. </a:t>
            </a:r>
            <a:br>
              <a:rPr lang="en-GB" sz="1400">
                <a:solidFill>
                  <a:schemeClr val="tx2"/>
                </a:solidFill>
              </a:rPr>
            </a:br>
            <a:r>
              <a:rPr lang="en-GB" sz="1400">
                <a:solidFill>
                  <a:schemeClr val="tx2"/>
                </a:solidFill>
              </a:rPr>
              <a:t>According to KONE’s Environmental Guidelines and </a:t>
            </a:r>
            <a:br>
              <a:rPr lang="en-GB" sz="1400">
                <a:solidFill>
                  <a:schemeClr val="tx2"/>
                </a:solidFill>
              </a:rPr>
            </a:br>
            <a:r>
              <a:rPr lang="en-GB" sz="1400">
                <a:solidFill>
                  <a:schemeClr val="tx2"/>
                </a:solidFill>
              </a:rPr>
              <a:t>overall emission reduction targets </a:t>
            </a:r>
          </a:p>
        </p:txBody>
      </p:sp>
      <p:sp>
        <p:nvSpPr>
          <p:cNvPr id="23" name="Date Placeholder 1">
            <a:extLst>
              <a:ext uri="{FF2B5EF4-FFF2-40B4-BE49-F238E27FC236}">
                <a16:creationId xmlns:a16="http://schemas.microsoft.com/office/drawing/2014/main" id="{3AD591FF-81B2-E945-B700-24A62BDA693E}"/>
              </a:ext>
            </a:extLst>
          </p:cNvPr>
          <p:cNvSpPr>
            <a:spLocks noGrp="1"/>
          </p:cNvSpPr>
          <p:nvPr>
            <p:ph type="dt" sz="half" idx="10"/>
          </p:nvPr>
        </p:nvSpPr>
        <p:spPr>
          <a:xfrm>
            <a:off x="696913" y="6454214"/>
            <a:ext cx="2087562" cy="144020"/>
          </a:xfrm>
        </p:spPr>
        <p:txBody>
          <a:bodyPr/>
          <a:lstStyle/>
          <a:p>
            <a:fld id="{10A855FF-A7DB-4496-86BC-B306FA607763}" type="datetime3">
              <a:rPr lang="en-US" noProof="0" smtClean="0"/>
              <a:t>13 April 2022</a:t>
            </a:fld>
            <a:endParaRPr lang="en-US" noProof="0"/>
          </a:p>
        </p:txBody>
      </p:sp>
      <p:sp>
        <p:nvSpPr>
          <p:cNvPr id="25" name="Slide Number Placeholder 3">
            <a:extLst>
              <a:ext uri="{FF2B5EF4-FFF2-40B4-BE49-F238E27FC236}">
                <a16:creationId xmlns:a16="http://schemas.microsoft.com/office/drawing/2014/main" id="{3934506A-AE7F-DF49-9EE5-EB07E2108C04}"/>
              </a:ext>
            </a:extLst>
          </p:cNvPr>
          <p:cNvSpPr>
            <a:spLocks noGrp="1"/>
          </p:cNvSpPr>
          <p:nvPr>
            <p:ph type="sldNum" sz="quarter" idx="12"/>
          </p:nvPr>
        </p:nvSpPr>
        <p:spPr>
          <a:xfrm>
            <a:off x="409576" y="6453188"/>
            <a:ext cx="287338" cy="145046"/>
          </a:xfrm>
        </p:spPr>
        <p:txBody>
          <a:bodyPr/>
          <a:lstStyle/>
          <a:p>
            <a:fld id="{604FC64F-66B6-486E-8EFE-9FD96A66D16B}" type="slidenum">
              <a:rPr lang="en-US" noProof="0" smtClean="0"/>
              <a:pPr/>
              <a:t>11</a:t>
            </a:fld>
            <a:endParaRPr lang="en-US" noProof="0"/>
          </a:p>
        </p:txBody>
      </p:sp>
      <p:sp>
        <p:nvSpPr>
          <p:cNvPr id="20" name="Freeform 9">
            <a:hlinkClick r:id="rId6" action="ppaction://hlinksldjump"/>
            <a:extLst>
              <a:ext uri="{FF2B5EF4-FFF2-40B4-BE49-F238E27FC236}">
                <a16:creationId xmlns:a16="http://schemas.microsoft.com/office/drawing/2014/main" id="{C9513147-5E90-4C2F-A1E8-B8E47A51C801}"/>
              </a:ext>
            </a:extLst>
          </p:cNvPr>
          <p:cNvSpPr>
            <a:spLocks noChangeAspect="1" noEditPoints="1"/>
          </p:cNvSpPr>
          <p:nvPr/>
        </p:nvSpPr>
        <p:spPr bwMode="auto">
          <a:xfrm rot="10800000" flipV="1">
            <a:off x="191181" y="90916"/>
            <a:ext cx="108000" cy="108000"/>
          </a:xfrm>
          <a:custGeom>
            <a:avLst/>
            <a:gdLst>
              <a:gd name="T0" fmla="*/ 1082 w 2142"/>
              <a:gd name="T1" fmla="*/ 1607 h 2142"/>
              <a:gd name="T2" fmla="*/ 990 w 2142"/>
              <a:gd name="T3" fmla="*/ 1578 h 2142"/>
              <a:gd name="T4" fmla="*/ 494 w 2142"/>
              <a:gd name="T5" fmla="*/ 1025 h 2142"/>
              <a:gd name="T6" fmla="*/ 999 w 2142"/>
              <a:gd name="T7" fmla="*/ 1002 h 2142"/>
              <a:gd name="T8" fmla="*/ 1060 w 2142"/>
              <a:gd name="T9" fmla="*/ 534 h 2142"/>
              <a:gd name="T10" fmla="*/ 1153 w 2142"/>
              <a:gd name="T11" fmla="*/ 564 h 2142"/>
              <a:gd name="T12" fmla="*/ 1666 w 2142"/>
              <a:gd name="T13" fmla="*/ 1064 h 2142"/>
              <a:gd name="T14" fmla="*/ 1641 w 2142"/>
              <a:gd name="T15" fmla="*/ 1124 h 2142"/>
              <a:gd name="T16" fmla="*/ 539 w 2142"/>
              <a:gd name="T17" fmla="*/ 1140 h 2142"/>
              <a:gd name="T18" fmla="*/ 488 w 2142"/>
              <a:gd name="T19" fmla="*/ 1109 h 2142"/>
              <a:gd name="T20" fmla="*/ 988 w 2142"/>
              <a:gd name="T21" fmla="*/ 2139 h 2142"/>
              <a:gd name="T22" fmla="*/ 728 w 2142"/>
              <a:gd name="T23" fmla="*/ 2086 h 2142"/>
              <a:gd name="T24" fmla="*/ 494 w 2142"/>
              <a:gd name="T25" fmla="*/ 1973 h 2142"/>
              <a:gd name="T26" fmla="*/ 296 w 2142"/>
              <a:gd name="T27" fmla="*/ 1810 h 2142"/>
              <a:gd name="T28" fmla="*/ 142 w 2142"/>
              <a:gd name="T29" fmla="*/ 1604 h 2142"/>
              <a:gd name="T30" fmla="*/ 41 w 2142"/>
              <a:gd name="T31" fmla="*/ 1364 h 2142"/>
              <a:gd name="T32" fmla="*/ 0 w 2142"/>
              <a:gd name="T33" fmla="*/ 1098 h 2142"/>
              <a:gd name="T34" fmla="*/ 27 w 2142"/>
              <a:gd name="T35" fmla="*/ 829 h 2142"/>
              <a:gd name="T36" fmla="*/ 117 w 2142"/>
              <a:gd name="T37" fmla="*/ 584 h 2142"/>
              <a:gd name="T38" fmla="*/ 261 w 2142"/>
              <a:gd name="T39" fmla="*/ 370 h 2142"/>
              <a:gd name="T40" fmla="*/ 452 w 2142"/>
              <a:gd name="T41" fmla="*/ 198 h 2142"/>
              <a:gd name="T42" fmla="*/ 679 w 2142"/>
              <a:gd name="T43" fmla="*/ 74 h 2142"/>
              <a:gd name="T44" fmla="*/ 936 w 2142"/>
              <a:gd name="T45" fmla="*/ 8 h 2142"/>
              <a:gd name="T46" fmla="*/ 1208 w 2142"/>
              <a:gd name="T47" fmla="*/ 8 h 2142"/>
              <a:gd name="T48" fmla="*/ 1463 w 2142"/>
              <a:gd name="T49" fmla="*/ 74 h 2142"/>
              <a:gd name="T50" fmla="*/ 1691 w 2142"/>
              <a:gd name="T51" fmla="*/ 198 h 2142"/>
              <a:gd name="T52" fmla="*/ 1881 w 2142"/>
              <a:gd name="T53" fmla="*/ 370 h 2142"/>
              <a:gd name="T54" fmla="*/ 2025 w 2142"/>
              <a:gd name="T55" fmla="*/ 584 h 2142"/>
              <a:gd name="T56" fmla="*/ 2115 w 2142"/>
              <a:gd name="T57" fmla="*/ 829 h 2142"/>
              <a:gd name="T58" fmla="*/ 2142 w 2142"/>
              <a:gd name="T59" fmla="*/ 1098 h 2142"/>
              <a:gd name="T60" fmla="*/ 2101 w 2142"/>
              <a:gd name="T61" fmla="*/ 1364 h 2142"/>
              <a:gd name="T62" fmla="*/ 2000 w 2142"/>
              <a:gd name="T63" fmla="*/ 1604 h 2142"/>
              <a:gd name="T64" fmla="*/ 1846 w 2142"/>
              <a:gd name="T65" fmla="*/ 1810 h 2142"/>
              <a:gd name="T66" fmla="*/ 1648 w 2142"/>
              <a:gd name="T67" fmla="*/ 1973 h 2142"/>
              <a:gd name="T68" fmla="*/ 1414 w 2142"/>
              <a:gd name="T69" fmla="*/ 2086 h 2142"/>
              <a:gd name="T70" fmla="*/ 1154 w 2142"/>
              <a:gd name="T71" fmla="*/ 2139 h 2142"/>
              <a:gd name="T72" fmla="*/ 924 w 2142"/>
              <a:gd name="T73" fmla="*/ 113 h 2142"/>
              <a:gd name="T74" fmla="*/ 695 w 2142"/>
              <a:gd name="T75" fmla="*/ 179 h 2142"/>
              <a:gd name="T76" fmla="*/ 492 w 2142"/>
              <a:gd name="T77" fmla="*/ 296 h 2142"/>
              <a:gd name="T78" fmla="*/ 324 w 2142"/>
              <a:gd name="T79" fmla="*/ 456 h 2142"/>
              <a:gd name="T80" fmla="*/ 200 w 2142"/>
              <a:gd name="T81" fmla="*/ 652 h 2142"/>
              <a:gd name="T82" fmla="*/ 123 w 2142"/>
              <a:gd name="T83" fmla="*/ 876 h 2142"/>
              <a:gd name="T84" fmla="*/ 105 w 2142"/>
              <a:gd name="T85" fmla="*/ 1121 h 2142"/>
              <a:gd name="T86" fmla="*/ 147 w 2142"/>
              <a:gd name="T87" fmla="*/ 1358 h 2142"/>
              <a:gd name="T88" fmla="*/ 243 w 2142"/>
              <a:gd name="T89" fmla="*/ 1572 h 2142"/>
              <a:gd name="T90" fmla="*/ 388 w 2142"/>
              <a:gd name="T91" fmla="*/ 1755 h 2142"/>
              <a:gd name="T92" fmla="*/ 570 w 2142"/>
              <a:gd name="T93" fmla="*/ 1899 h 2142"/>
              <a:gd name="T94" fmla="*/ 784 w 2142"/>
              <a:gd name="T95" fmla="*/ 1996 h 2142"/>
              <a:gd name="T96" fmla="*/ 1021 w 2142"/>
              <a:gd name="T97" fmla="*/ 2037 h 2142"/>
              <a:gd name="T98" fmla="*/ 1266 w 2142"/>
              <a:gd name="T99" fmla="*/ 2019 h 2142"/>
              <a:gd name="T100" fmla="*/ 1490 w 2142"/>
              <a:gd name="T101" fmla="*/ 1943 h 2142"/>
              <a:gd name="T102" fmla="*/ 1686 w 2142"/>
              <a:gd name="T103" fmla="*/ 1818 h 2142"/>
              <a:gd name="T104" fmla="*/ 1846 w 2142"/>
              <a:gd name="T105" fmla="*/ 1650 h 2142"/>
              <a:gd name="T106" fmla="*/ 1963 w 2142"/>
              <a:gd name="T107" fmla="*/ 1447 h 2142"/>
              <a:gd name="T108" fmla="*/ 2028 w 2142"/>
              <a:gd name="T109" fmla="*/ 1218 h 2142"/>
              <a:gd name="T110" fmla="*/ 2034 w 2142"/>
              <a:gd name="T111" fmla="*/ 972 h 2142"/>
              <a:gd name="T112" fmla="*/ 1980 w 2142"/>
              <a:gd name="T113" fmla="*/ 738 h 2142"/>
              <a:gd name="T114" fmla="*/ 1873 w 2142"/>
              <a:gd name="T115" fmla="*/ 530 h 2142"/>
              <a:gd name="T116" fmla="*/ 1721 w 2142"/>
              <a:gd name="T117" fmla="*/ 354 h 2142"/>
              <a:gd name="T118" fmla="*/ 1532 w 2142"/>
              <a:gd name="T119" fmla="*/ 219 h 2142"/>
              <a:gd name="T120" fmla="*/ 1313 w 2142"/>
              <a:gd name="T121" fmla="*/ 134 h 2142"/>
              <a:gd name="T122" fmla="*/ 1072 w 2142"/>
              <a:gd name="T123" fmla="*/ 103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2" h="2142">
                <a:moveTo>
                  <a:pt x="1372" y="1210"/>
                </a:moveTo>
                <a:lnTo>
                  <a:pt x="1565" y="1210"/>
                </a:lnTo>
                <a:lnTo>
                  <a:pt x="1153" y="1578"/>
                </a:lnTo>
                <a:lnTo>
                  <a:pt x="1144" y="1585"/>
                </a:lnTo>
                <a:lnTo>
                  <a:pt x="1135" y="1590"/>
                </a:lnTo>
                <a:lnTo>
                  <a:pt x="1125" y="1596"/>
                </a:lnTo>
                <a:lnTo>
                  <a:pt x="1114" y="1601"/>
                </a:lnTo>
                <a:lnTo>
                  <a:pt x="1104" y="1604"/>
                </a:lnTo>
                <a:lnTo>
                  <a:pt x="1093" y="1606"/>
                </a:lnTo>
                <a:lnTo>
                  <a:pt x="1082" y="1607"/>
                </a:lnTo>
                <a:lnTo>
                  <a:pt x="1072" y="1608"/>
                </a:lnTo>
                <a:lnTo>
                  <a:pt x="1060" y="1607"/>
                </a:lnTo>
                <a:lnTo>
                  <a:pt x="1049" y="1606"/>
                </a:lnTo>
                <a:lnTo>
                  <a:pt x="1039" y="1604"/>
                </a:lnTo>
                <a:lnTo>
                  <a:pt x="1033" y="1603"/>
                </a:lnTo>
                <a:lnTo>
                  <a:pt x="1028" y="1601"/>
                </a:lnTo>
                <a:lnTo>
                  <a:pt x="1018" y="1596"/>
                </a:lnTo>
                <a:lnTo>
                  <a:pt x="1009" y="1590"/>
                </a:lnTo>
                <a:lnTo>
                  <a:pt x="999" y="1585"/>
                </a:lnTo>
                <a:lnTo>
                  <a:pt x="990" y="1578"/>
                </a:lnTo>
                <a:lnTo>
                  <a:pt x="975" y="1564"/>
                </a:lnTo>
                <a:lnTo>
                  <a:pt x="1372" y="1210"/>
                </a:lnTo>
                <a:close/>
                <a:moveTo>
                  <a:pt x="476" y="1070"/>
                </a:moveTo>
                <a:lnTo>
                  <a:pt x="478" y="1064"/>
                </a:lnTo>
                <a:lnTo>
                  <a:pt x="479" y="1056"/>
                </a:lnTo>
                <a:lnTo>
                  <a:pt x="481" y="1049"/>
                </a:lnTo>
                <a:lnTo>
                  <a:pt x="484" y="1042"/>
                </a:lnTo>
                <a:lnTo>
                  <a:pt x="487" y="1035"/>
                </a:lnTo>
                <a:lnTo>
                  <a:pt x="491" y="1030"/>
                </a:lnTo>
                <a:lnTo>
                  <a:pt x="494" y="1025"/>
                </a:lnTo>
                <a:lnTo>
                  <a:pt x="499" y="1020"/>
                </a:lnTo>
                <a:lnTo>
                  <a:pt x="505" y="1016"/>
                </a:lnTo>
                <a:lnTo>
                  <a:pt x="509" y="1012"/>
                </a:lnTo>
                <a:lnTo>
                  <a:pt x="515" y="1008"/>
                </a:lnTo>
                <a:lnTo>
                  <a:pt x="520" y="1006"/>
                </a:lnTo>
                <a:lnTo>
                  <a:pt x="527" y="1004"/>
                </a:lnTo>
                <a:lnTo>
                  <a:pt x="533" y="1003"/>
                </a:lnTo>
                <a:lnTo>
                  <a:pt x="539" y="1002"/>
                </a:lnTo>
                <a:lnTo>
                  <a:pt x="546" y="1002"/>
                </a:lnTo>
                <a:lnTo>
                  <a:pt x="999" y="1002"/>
                </a:lnTo>
                <a:lnTo>
                  <a:pt x="1451" y="1002"/>
                </a:lnTo>
                <a:lnTo>
                  <a:pt x="975" y="577"/>
                </a:lnTo>
                <a:lnTo>
                  <a:pt x="990" y="564"/>
                </a:lnTo>
                <a:lnTo>
                  <a:pt x="999" y="557"/>
                </a:lnTo>
                <a:lnTo>
                  <a:pt x="1009" y="550"/>
                </a:lnTo>
                <a:lnTo>
                  <a:pt x="1018" y="546"/>
                </a:lnTo>
                <a:lnTo>
                  <a:pt x="1028" y="541"/>
                </a:lnTo>
                <a:lnTo>
                  <a:pt x="1039" y="538"/>
                </a:lnTo>
                <a:lnTo>
                  <a:pt x="1049" y="536"/>
                </a:lnTo>
                <a:lnTo>
                  <a:pt x="1060" y="534"/>
                </a:lnTo>
                <a:lnTo>
                  <a:pt x="1072" y="533"/>
                </a:lnTo>
                <a:lnTo>
                  <a:pt x="1082" y="534"/>
                </a:lnTo>
                <a:lnTo>
                  <a:pt x="1093" y="536"/>
                </a:lnTo>
                <a:lnTo>
                  <a:pt x="1104" y="538"/>
                </a:lnTo>
                <a:lnTo>
                  <a:pt x="1109" y="539"/>
                </a:lnTo>
                <a:lnTo>
                  <a:pt x="1114" y="541"/>
                </a:lnTo>
                <a:lnTo>
                  <a:pt x="1125" y="546"/>
                </a:lnTo>
                <a:lnTo>
                  <a:pt x="1135" y="550"/>
                </a:lnTo>
                <a:lnTo>
                  <a:pt x="1144" y="557"/>
                </a:lnTo>
                <a:lnTo>
                  <a:pt x="1153" y="564"/>
                </a:lnTo>
                <a:lnTo>
                  <a:pt x="1629" y="988"/>
                </a:lnTo>
                <a:lnTo>
                  <a:pt x="1637" y="996"/>
                </a:lnTo>
                <a:lnTo>
                  <a:pt x="1643" y="1004"/>
                </a:lnTo>
                <a:lnTo>
                  <a:pt x="1650" y="1013"/>
                </a:lnTo>
                <a:lnTo>
                  <a:pt x="1655" y="1023"/>
                </a:lnTo>
                <a:lnTo>
                  <a:pt x="1657" y="1028"/>
                </a:lnTo>
                <a:lnTo>
                  <a:pt x="1659" y="1032"/>
                </a:lnTo>
                <a:lnTo>
                  <a:pt x="1662" y="1042"/>
                </a:lnTo>
                <a:lnTo>
                  <a:pt x="1665" y="1053"/>
                </a:lnTo>
                <a:lnTo>
                  <a:pt x="1666" y="1064"/>
                </a:lnTo>
                <a:lnTo>
                  <a:pt x="1666" y="1071"/>
                </a:lnTo>
                <a:lnTo>
                  <a:pt x="1665" y="1080"/>
                </a:lnTo>
                <a:lnTo>
                  <a:pt x="1664" y="1087"/>
                </a:lnTo>
                <a:lnTo>
                  <a:pt x="1661" y="1095"/>
                </a:lnTo>
                <a:lnTo>
                  <a:pt x="1658" y="1102"/>
                </a:lnTo>
                <a:lnTo>
                  <a:pt x="1655" y="1109"/>
                </a:lnTo>
                <a:lnTo>
                  <a:pt x="1650" y="1114"/>
                </a:lnTo>
                <a:lnTo>
                  <a:pt x="1646" y="1120"/>
                </a:lnTo>
                <a:lnTo>
                  <a:pt x="1643" y="1122"/>
                </a:lnTo>
                <a:lnTo>
                  <a:pt x="1641" y="1124"/>
                </a:lnTo>
                <a:lnTo>
                  <a:pt x="1635" y="1129"/>
                </a:lnTo>
                <a:lnTo>
                  <a:pt x="1630" y="1132"/>
                </a:lnTo>
                <a:lnTo>
                  <a:pt x="1624" y="1136"/>
                </a:lnTo>
                <a:lnTo>
                  <a:pt x="1617" y="1138"/>
                </a:lnTo>
                <a:lnTo>
                  <a:pt x="1611" y="1139"/>
                </a:lnTo>
                <a:lnTo>
                  <a:pt x="1604" y="1140"/>
                </a:lnTo>
                <a:lnTo>
                  <a:pt x="1596" y="1141"/>
                </a:lnTo>
                <a:lnTo>
                  <a:pt x="1071" y="1141"/>
                </a:lnTo>
                <a:lnTo>
                  <a:pt x="546" y="1141"/>
                </a:lnTo>
                <a:lnTo>
                  <a:pt x="539" y="1140"/>
                </a:lnTo>
                <a:lnTo>
                  <a:pt x="533" y="1139"/>
                </a:lnTo>
                <a:lnTo>
                  <a:pt x="527" y="1138"/>
                </a:lnTo>
                <a:lnTo>
                  <a:pt x="520" y="1136"/>
                </a:lnTo>
                <a:lnTo>
                  <a:pt x="515" y="1133"/>
                </a:lnTo>
                <a:lnTo>
                  <a:pt x="509" y="1130"/>
                </a:lnTo>
                <a:lnTo>
                  <a:pt x="505" y="1127"/>
                </a:lnTo>
                <a:lnTo>
                  <a:pt x="499" y="1122"/>
                </a:lnTo>
                <a:lnTo>
                  <a:pt x="494" y="1118"/>
                </a:lnTo>
                <a:lnTo>
                  <a:pt x="491" y="1113"/>
                </a:lnTo>
                <a:lnTo>
                  <a:pt x="488" y="1109"/>
                </a:lnTo>
                <a:lnTo>
                  <a:pt x="484" y="1103"/>
                </a:lnTo>
                <a:lnTo>
                  <a:pt x="481" y="1097"/>
                </a:lnTo>
                <a:lnTo>
                  <a:pt x="480" y="1091"/>
                </a:lnTo>
                <a:lnTo>
                  <a:pt x="478" y="1085"/>
                </a:lnTo>
                <a:lnTo>
                  <a:pt x="476" y="1078"/>
                </a:lnTo>
                <a:lnTo>
                  <a:pt x="476" y="1070"/>
                </a:lnTo>
                <a:close/>
                <a:moveTo>
                  <a:pt x="1072" y="2142"/>
                </a:moveTo>
                <a:lnTo>
                  <a:pt x="1044" y="2142"/>
                </a:lnTo>
                <a:lnTo>
                  <a:pt x="1017" y="2141"/>
                </a:lnTo>
                <a:lnTo>
                  <a:pt x="988" y="2139"/>
                </a:lnTo>
                <a:lnTo>
                  <a:pt x="961" y="2136"/>
                </a:lnTo>
                <a:lnTo>
                  <a:pt x="936" y="2133"/>
                </a:lnTo>
                <a:lnTo>
                  <a:pt x="909" y="2130"/>
                </a:lnTo>
                <a:lnTo>
                  <a:pt x="882" y="2125"/>
                </a:lnTo>
                <a:lnTo>
                  <a:pt x="856" y="2121"/>
                </a:lnTo>
                <a:lnTo>
                  <a:pt x="830" y="2115"/>
                </a:lnTo>
                <a:lnTo>
                  <a:pt x="804" y="2108"/>
                </a:lnTo>
                <a:lnTo>
                  <a:pt x="778" y="2101"/>
                </a:lnTo>
                <a:lnTo>
                  <a:pt x="753" y="2094"/>
                </a:lnTo>
                <a:lnTo>
                  <a:pt x="728" y="2086"/>
                </a:lnTo>
                <a:lnTo>
                  <a:pt x="704" y="2077"/>
                </a:lnTo>
                <a:lnTo>
                  <a:pt x="679" y="2068"/>
                </a:lnTo>
                <a:lnTo>
                  <a:pt x="654" y="2058"/>
                </a:lnTo>
                <a:lnTo>
                  <a:pt x="631" y="2047"/>
                </a:lnTo>
                <a:lnTo>
                  <a:pt x="607" y="2036"/>
                </a:lnTo>
                <a:lnTo>
                  <a:pt x="584" y="2025"/>
                </a:lnTo>
                <a:lnTo>
                  <a:pt x="561" y="2013"/>
                </a:lnTo>
                <a:lnTo>
                  <a:pt x="538" y="2000"/>
                </a:lnTo>
                <a:lnTo>
                  <a:pt x="516" y="1987"/>
                </a:lnTo>
                <a:lnTo>
                  <a:pt x="494" y="1973"/>
                </a:lnTo>
                <a:lnTo>
                  <a:pt x="473" y="1959"/>
                </a:lnTo>
                <a:lnTo>
                  <a:pt x="452" y="1944"/>
                </a:lnTo>
                <a:lnTo>
                  <a:pt x="431" y="1929"/>
                </a:lnTo>
                <a:lnTo>
                  <a:pt x="410" y="1913"/>
                </a:lnTo>
                <a:lnTo>
                  <a:pt x="391" y="1898"/>
                </a:lnTo>
                <a:lnTo>
                  <a:pt x="371" y="1881"/>
                </a:lnTo>
                <a:lnTo>
                  <a:pt x="351" y="1864"/>
                </a:lnTo>
                <a:lnTo>
                  <a:pt x="332" y="1846"/>
                </a:lnTo>
                <a:lnTo>
                  <a:pt x="314" y="1828"/>
                </a:lnTo>
                <a:lnTo>
                  <a:pt x="296" y="1810"/>
                </a:lnTo>
                <a:lnTo>
                  <a:pt x="278" y="1791"/>
                </a:lnTo>
                <a:lnTo>
                  <a:pt x="261" y="1772"/>
                </a:lnTo>
                <a:lnTo>
                  <a:pt x="245" y="1751"/>
                </a:lnTo>
                <a:lnTo>
                  <a:pt x="229" y="1732"/>
                </a:lnTo>
                <a:lnTo>
                  <a:pt x="213" y="1712"/>
                </a:lnTo>
                <a:lnTo>
                  <a:pt x="198" y="1691"/>
                </a:lnTo>
                <a:lnTo>
                  <a:pt x="184" y="1669"/>
                </a:lnTo>
                <a:lnTo>
                  <a:pt x="169" y="1648"/>
                </a:lnTo>
                <a:lnTo>
                  <a:pt x="156" y="1626"/>
                </a:lnTo>
                <a:lnTo>
                  <a:pt x="142" y="1604"/>
                </a:lnTo>
                <a:lnTo>
                  <a:pt x="130" y="1581"/>
                </a:lnTo>
                <a:lnTo>
                  <a:pt x="117" y="1558"/>
                </a:lnTo>
                <a:lnTo>
                  <a:pt x="106" y="1535"/>
                </a:lnTo>
                <a:lnTo>
                  <a:pt x="95" y="1512"/>
                </a:lnTo>
                <a:lnTo>
                  <a:pt x="85" y="1488"/>
                </a:lnTo>
                <a:lnTo>
                  <a:pt x="75" y="1463"/>
                </a:lnTo>
                <a:lnTo>
                  <a:pt x="66" y="1438"/>
                </a:lnTo>
                <a:lnTo>
                  <a:pt x="57" y="1414"/>
                </a:lnTo>
                <a:lnTo>
                  <a:pt x="49" y="1389"/>
                </a:lnTo>
                <a:lnTo>
                  <a:pt x="41" y="1364"/>
                </a:lnTo>
                <a:lnTo>
                  <a:pt x="34" y="1338"/>
                </a:lnTo>
                <a:lnTo>
                  <a:pt x="27" y="1312"/>
                </a:lnTo>
                <a:lnTo>
                  <a:pt x="22" y="1286"/>
                </a:lnTo>
                <a:lnTo>
                  <a:pt x="17" y="1261"/>
                </a:lnTo>
                <a:lnTo>
                  <a:pt x="13" y="1234"/>
                </a:lnTo>
                <a:lnTo>
                  <a:pt x="9" y="1208"/>
                </a:lnTo>
                <a:lnTo>
                  <a:pt x="6" y="1181"/>
                </a:lnTo>
                <a:lnTo>
                  <a:pt x="4" y="1154"/>
                </a:lnTo>
                <a:lnTo>
                  <a:pt x="2" y="1125"/>
                </a:lnTo>
                <a:lnTo>
                  <a:pt x="0" y="1098"/>
                </a:lnTo>
                <a:lnTo>
                  <a:pt x="0" y="1070"/>
                </a:lnTo>
                <a:lnTo>
                  <a:pt x="0" y="1043"/>
                </a:lnTo>
                <a:lnTo>
                  <a:pt x="2" y="1016"/>
                </a:lnTo>
                <a:lnTo>
                  <a:pt x="4" y="988"/>
                </a:lnTo>
                <a:lnTo>
                  <a:pt x="6" y="961"/>
                </a:lnTo>
                <a:lnTo>
                  <a:pt x="9" y="934"/>
                </a:lnTo>
                <a:lnTo>
                  <a:pt x="13" y="908"/>
                </a:lnTo>
                <a:lnTo>
                  <a:pt x="17" y="881"/>
                </a:lnTo>
                <a:lnTo>
                  <a:pt x="22" y="855"/>
                </a:lnTo>
                <a:lnTo>
                  <a:pt x="27" y="829"/>
                </a:lnTo>
                <a:lnTo>
                  <a:pt x="34" y="803"/>
                </a:lnTo>
                <a:lnTo>
                  <a:pt x="41" y="778"/>
                </a:lnTo>
                <a:lnTo>
                  <a:pt x="49" y="753"/>
                </a:lnTo>
                <a:lnTo>
                  <a:pt x="57" y="728"/>
                </a:lnTo>
                <a:lnTo>
                  <a:pt x="66" y="703"/>
                </a:lnTo>
                <a:lnTo>
                  <a:pt x="75" y="679"/>
                </a:lnTo>
                <a:lnTo>
                  <a:pt x="85" y="654"/>
                </a:lnTo>
                <a:lnTo>
                  <a:pt x="95" y="630"/>
                </a:lnTo>
                <a:lnTo>
                  <a:pt x="106" y="606"/>
                </a:lnTo>
                <a:lnTo>
                  <a:pt x="117" y="584"/>
                </a:lnTo>
                <a:lnTo>
                  <a:pt x="130" y="560"/>
                </a:lnTo>
                <a:lnTo>
                  <a:pt x="142" y="538"/>
                </a:lnTo>
                <a:lnTo>
                  <a:pt x="156" y="515"/>
                </a:lnTo>
                <a:lnTo>
                  <a:pt x="169" y="494"/>
                </a:lnTo>
                <a:lnTo>
                  <a:pt x="184" y="473"/>
                </a:lnTo>
                <a:lnTo>
                  <a:pt x="198" y="451"/>
                </a:lnTo>
                <a:lnTo>
                  <a:pt x="213" y="430"/>
                </a:lnTo>
                <a:lnTo>
                  <a:pt x="229" y="409"/>
                </a:lnTo>
                <a:lnTo>
                  <a:pt x="245" y="389"/>
                </a:lnTo>
                <a:lnTo>
                  <a:pt x="261" y="370"/>
                </a:lnTo>
                <a:lnTo>
                  <a:pt x="278" y="351"/>
                </a:lnTo>
                <a:lnTo>
                  <a:pt x="296" y="332"/>
                </a:lnTo>
                <a:lnTo>
                  <a:pt x="314" y="314"/>
                </a:lnTo>
                <a:lnTo>
                  <a:pt x="332" y="296"/>
                </a:lnTo>
                <a:lnTo>
                  <a:pt x="351" y="278"/>
                </a:lnTo>
                <a:lnTo>
                  <a:pt x="371" y="261"/>
                </a:lnTo>
                <a:lnTo>
                  <a:pt x="391" y="244"/>
                </a:lnTo>
                <a:lnTo>
                  <a:pt x="410" y="228"/>
                </a:lnTo>
                <a:lnTo>
                  <a:pt x="431" y="212"/>
                </a:lnTo>
                <a:lnTo>
                  <a:pt x="452" y="198"/>
                </a:lnTo>
                <a:lnTo>
                  <a:pt x="473" y="183"/>
                </a:lnTo>
                <a:lnTo>
                  <a:pt x="494" y="169"/>
                </a:lnTo>
                <a:lnTo>
                  <a:pt x="516" y="155"/>
                </a:lnTo>
                <a:lnTo>
                  <a:pt x="538" y="142"/>
                </a:lnTo>
                <a:lnTo>
                  <a:pt x="561" y="129"/>
                </a:lnTo>
                <a:lnTo>
                  <a:pt x="584" y="117"/>
                </a:lnTo>
                <a:lnTo>
                  <a:pt x="607" y="106"/>
                </a:lnTo>
                <a:lnTo>
                  <a:pt x="631" y="94"/>
                </a:lnTo>
                <a:lnTo>
                  <a:pt x="654" y="84"/>
                </a:lnTo>
                <a:lnTo>
                  <a:pt x="679" y="74"/>
                </a:lnTo>
                <a:lnTo>
                  <a:pt x="704" y="65"/>
                </a:lnTo>
                <a:lnTo>
                  <a:pt x="728" y="56"/>
                </a:lnTo>
                <a:lnTo>
                  <a:pt x="753" y="48"/>
                </a:lnTo>
                <a:lnTo>
                  <a:pt x="778" y="40"/>
                </a:lnTo>
                <a:lnTo>
                  <a:pt x="804" y="33"/>
                </a:lnTo>
                <a:lnTo>
                  <a:pt x="830" y="27"/>
                </a:lnTo>
                <a:lnTo>
                  <a:pt x="856" y="21"/>
                </a:lnTo>
                <a:lnTo>
                  <a:pt x="882" y="17"/>
                </a:lnTo>
                <a:lnTo>
                  <a:pt x="909" y="12"/>
                </a:lnTo>
                <a:lnTo>
                  <a:pt x="936" y="8"/>
                </a:lnTo>
                <a:lnTo>
                  <a:pt x="961" y="5"/>
                </a:lnTo>
                <a:lnTo>
                  <a:pt x="988" y="3"/>
                </a:lnTo>
                <a:lnTo>
                  <a:pt x="1017" y="1"/>
                </a:lnTo>
                <a:lnTo>
                  <a:pt x="1044" y="0"/>
                </a:lnTo>
                <a:lnTo>
                  <a:pt x="1072" y="0"/>
                </a:lnTo>
                <a:lnTo>
                  <a:pt x="1099" y="0"/>
                </a:lnTo>
                <a:lnTo>
                  <a:pt x="1126" y="1"/>
                </a:lnTo>
                <a:lnTo>
                  <a:pt x="1154" y="3"/>
                </a:lnTo>
                <a:lnTo>
                  <a:pt x="1181" y="5"/>
                </a:lnTo>
                <a:lnTo>
                  <a:pt x="1208" y="8"/>
                </a:lnTo>
                <a:lnTo>
                  <a:pt x="1234" y="12"/>
                </a:lnTo>
                <a:lnTo>
                  <a:pt x="1261" y="17"/>
                </a:lnTo>
                <a:lnTo>
                  <a:pt x="1287" y="21"/>
                </a:lnTo>
                <a:lnTo>
                  <a:pt x="1313" y="27"/>
                </a:lnTo>
                <a:lnTo>
                  <a:pt x="1338" y="33"/>
                </a:lnTo>
                <a:lnTo>
                  <a:pt x="1364" y="40"/>
                </a:lnTo>
                <a:lnTo>
                  <a:pt x="1389" y="48"/>
                </a:lnTo>
                <a:lnTo>
                  <a:pt x="1414" y="56"/>
                </a:lnTo>
                <a:lnTo>
                  <a:pt x="1439" y="65"/>
                </a:lnTo>
                <a:lnTo>
                  <a:pt x="1463" y="74"/>
                </a:lnTo>
                <a:lnTo>
                  <a:pt x="1488" y="84"/>
                </a:lnTo>
                <a:lnTo>
                  <a:pt x="1512" y="94"/>
                </a:lnTo>
                <a:lnTo>
                  <a:pt x="1535" y="106"/>
                </a:lnTo>
                <a:lnTo>
                  <a:pt x="1558" y="117"/>
                </a:lnTo>
                <a:lnTo>
                  <a:pt x="1581" y="129"/>
                </a:lnTo>
                <a:lnTo>
                  <a:pt x="1604" y="142"/>
                </a:lnTo>
                <a:lnTo>
                  <a:pt x="1626" y="155"/>
                </a:lnTo>
                <a:lnTo>
                  <a:pt x="1648" y="169"/>
                </a:lnTo>
                <a:lnTo>
                  <a:pt x="1669" y="183"/>
                </a:lnTo>
                <a:lnTo>
                  <a:pt x="1691" y="198"/>
                </a:lnTo>
                <a:lnTo>
                  <a:pt x="1712" y="212"/>
                </a:lnTo>
                <a:lnTo>
                  <a:pt x="1732" y="228"/>
                </a:lnTo>
                <a:lnTo>
                  <a:pt x="1753" y="244"/>
                </a:lnTo>
                <a:lnTo>
                  <a:pt x="1772" y="261"/>
                </a:lnTo>
                <a:lnTo>
                  <a:pt x="1791" y="278"/>
                </a:lnTo>
                <a:lnTo>
                  <a:pt x="1810" y="296"/>
                </a:lnTo>
                <a:lnTo>
                  <a:pt x="1828" y="314"/>
                </a:lnTo>
                <a:lnTo>
                  <a:pt x="1846" y="332"/>
                </a:lnTo>
                <a:lnTo>
                  <a:pt x="1864" y="351"/>
                </a:lnTo>
                <a:lnTo>
                  <a:pt x="1881" y="370"/>
                </a:lnTo>
                <a:lnTo>
                  <a:pt x="1898" y="389"/>
                </a:lnTo>
                <a:lnTo>
                  <a:pt x="1913" y="409"/>
                </a:lnTo>
                <a:lnTo>
                  <a:pt x="1929" y="430"/>
                </a:lnTo>
                <a:lnTo>
                  <a:pt x="1944" y="451"/>
                </a:lnTo>
                <a:lnTo>
                  <a:pt x="1958" y="473"/>
                </a:lnTo>
                <a:lnTo>
                  <a:pt x="1973" y="494"/>
                </a:lnTo>
                <a:lnTo>
                  <a:pt x="1987" y="515"/>
                </a:lnTo>
                <a:lnTo>
                  <a:pt x="2000" y="538"/>
                </a:lnTo>
                <a:lnTo>
                  <a:pt x="2012" y="560"/>
                </a:lnTo>
                <a:lnTo>
                  <a:pt x="2025" y="584"/>
                </a:lnTo>
                <a:lnTo>
                  <a:pt x="2036" y="606"/>
                </a:lnTo>
                <a:lnTo>
                  <a:pt x="2047" y="630"/>
                </a:lnTo>
                <a:lnTo>
                  <a:pt x="2057" y="654"/>
                </a:lnTo>
                <a:lnTo>
                  <a:pt x="2068" y="679"/>
                </a:lnTo>
                <a:lnTo>
                  <a:pt x="2077" y="703"/>
                </a:lnTo>
                <a:lnTo>
                  <a:pt x="2086" y="728"/>
                </a:lnTo>
                <a:lnTo>
                  <a:pt x="2093" y="753"/>
                </a:lnTo>
                <a:lnTo>
                  <a:pt x="2101" y="778"/>
                </a:lnTo>
                <a:lnTo>
                  <a:pt x="2108" y="803"/>
                </a:lnTo>
                <a:lnTo>
                  <a:pt x="2115" y="829"/>
                </a:lnTo>
                <a:lnTo>
                  <a:pt x="2121" y="855"/>
                </a:lnTo>
                <a:lnTo>
                  <a:pt x="2125" y="881"/>
                </a:lnTo>
                <a:lnTo>
                  <a:pt x="2130" y="908"/>
                </a:lnTo>
                <a:lnTo>
                  <a:pt x="2134" y="934"/>
                </a:lnTo>
                <a:lnTo>
                  <a:pt x="2136" y="961"/>
                </a:lnTo>
                <a:lnTo>
                  <a:pt x="2139" y="988"/>
                </a:lnTo>
                <a:lnTo>
                  <a:pt x="2141" y="1016"/>
                </a:lnTo>
                <a:lnTo>
                  <a:pt x="2142" y="1043"/>
                </a:lnTo>
                <a:lnTo>
                  <a:pt x="2142" y="1070"/>
                </a:lnTo>
                <a:lnTo>
                  <a:pt x="2142" y="1098"/>
                </a:lnTo>
                <a:lnTo>
                  <a:pt x="2141" y="1125"/>
                </a:lnTo>
                <a:lnTo>
                  <a:pt x="2139" y="1154"/>
                </a:lnTo>
                <a:lnTo>
                  <a:pt x="2136" y="1181"/>
                </a:lnTo>
                <a:lnTo>
                  <a:pt x="2134" y="1208"/>
                </a:lnTo>
                <a:lnTo>
                  <a:pt x="2130" y="1234"/>
                </a:lnTo>
                <a:lnTo>
                  <a:pt x="2125" y="1261"/>
                </a:lnTo>
                <a:lnTo>
                  <a:pt x="2121" y="1286"/>
                </a:lnTo>
                <a:lnTo>
                  <a:pt x="2115" y="1312"/>
                </a:lnTo>
                <a:lnTo>
                  <a:pt x="2108" y="1338"/>
                </a:lnTo>
                <a:lnTo>
                  <a:pt x="2101" y="1364"/>
                </a:lnTo>
                <a:lnTo>
                  <a:pt x="2093" y="1389"/>
                </a:lnTo>
                <a:lnTo>
                  <a:pt x="2086" y="1414"/>
                </a:lnTo>
                <a:lnTo>
                  <a:pt x="2077" y="1438"/>
                </a:lnTo>
                <a:lnTo>
                  <a:pt x="2068" y="1463"/>
                </a:lnTo>
                <a:lnTo>
                  <a:pt x="2057" y="1488"/>
                </a:lnTo>
                <a:lnTo>
                  <a:pt x="2047" y="1512"/>
                </a:lnTo>
                <a:lnTo>
                  <a:pt x="2036" y="1535"/>
                </a:lnTo>
                <a:lnTo>
                  <a:pt x="2025" y="1558"/>
                </a:lnTo>
                <a:lnTo>
                  <a:pt x="2012" y="1581"/>
                </a:lnTo>
                <a:lnTo>
                  <a:pt x="2000" y="1604"/>
                </a:lnTo>
                <a:lnTo>
                  <a:pt x="1987" y="1626"/>
                </a:lnTo>
                <a:lnTo>
                  <a:pt x="1973" y="1648"/>
                </a:lnTo>
                <a:lnTo>
                  <a:pt x="1958" y="1669"/>
                </a:lnTo>
                <a:lnTo>
                  <a:pt x="1944" y="1691"/>
                </a:lnTo>
                <a:lnTo>
                  <a:pt x="1929" y="1712"/>
                </a:lnTo>
                <a:lnTo>
                  <a:pt x="1913" y="1732"/>
                </a:lnTo>
                <a:lnTo>
                  <a:pt x="1898" y="1751"/>
                </a:lnTo>
                <a:lnTo>
                  <a:pt x="1881" y="1772"/>
                </a:lnTo>
                <a:lnTo>
                  <a:pt x="1864" y="1791"/>
                </a:lnTo>
                <a:lnTo>
                  <a:pt x="1846" y="1810"/>
                </a:lnTo>
                <a:lnTo>
                  <a:pt x="1828" y="1828"/>
                </a:lnTo>
                <a:lnTo>
                  <a:pt x="1810" y="1846"/>
                </a:lnTo>
                <a:lnTo>
                  <a:pt x="1791" y="1864"/>
                </a:lnTo>
                <a:lnTo>
                  <a:pt x="1772" y="1881"/>
                </a:lnTo>
                <a:lnTo>
                  <a:pt x="1753" y="1898"/>
                </a:lnTo>
                <a:lnTo>
                  <a:pt x="1732" y="1913"/>
                </a:lnTo>
                <a:lnTo>
                  <a:pt x="1712" y="1929"/>
                </a:lnTo>
                <a:lnTo>
                  <a:pt x="1691" y="1944"/>
                </a:lnTo>
                <a:lnTo>
                  <a:pt x="1669" y="1959"/>
                </a:lnTo>
                <a:lnTo>
                  <a:pt x="1648" y="1973"/>
                </a:lnTo>
                <a:lnTo>
                  <a:pt x="1626" y="1987"/>
                </a:lnTo>
                <a:lnTo>
                  <a:pt x="1604" y="2000"/>
                </a:lnTo>
                <a:lnTo>
                  <a:pt x="1581" y="2013"/>
                </a:lnTo>
                <a:lnTo>
                  <a:pt x="1558" y="2025"/>
                </a:lnTo>
                <a:lnTo>
                  <a:pt x="1535" y="2036"/>
                </a:lnTo>
                <a:lnTo>
                  <a:pt x="1512" y="2047"/>
                </a:lnTo>
                <a:lnTo>
                  <a:pt x="1488" y="2058"/>
                </a:lnTo>
                <a:lnTo>
                  <a:pt x="1463" y="2068"/>
                </a:lnTo>
                <a:lnTo>
                  <a:pt x="1439" y="2077"/>
                </a:lnTo>
                <a:lnTo>
                  <a:pt x="1414" y="2086"/>
                </a:lnTo>
                <a:lnTo>
                  <a:pt x="1389" y="2094"/>
                </a:lnTo>
                <a:lnTo>
                  <a:pt x="1364" y="2101"/>
                </a:lnTo>
                <a:lnTo>
                  <a:pt x="1338" y="2108"/>
                </a:lnTo>
                <a:lnTo>
                  <a:pt x="1313" y="2115"/>
                </a:lnTo>
                <a:lnTo>
                  <a:pt x="1287" y="2121"/>
                </a:lnTo>
                <a:lnTo>
                  <a:pt x="1261" y="2125"/>
                </a:lnTo>
                <a:lnTo>
                  <a:pt x="1234" y="2130"/>
                </a:lnTo>
                <a:lnTo>
                  <a:pt x="1208" y="2133"/>
                </a:lnTo>
                <a:lnTo>
                  <a:pt x="1181" y="2136"/>
                </a:lnTo>
                <a:lnTo>
                  <a:pt x="1154" y="2139"/>
                </a:lnTo>
                <a:lnTo>
                  <a:pt x="1126" y="2141"/>
                </a:lnTo>
                <a:lnTo>
                  <a:pt x="1099" y="2142"/>
                </a:lnTo>
                <a:lnTo>
                  <a:pt x="1072" y="2142"/>
                </a:lnTo>
                <a:close/>
                <a:moveTo>
                  <a:pt x="1072" y="103"/>
                </a:moveTo>
                <a:lnTo>
                  <a:pt x="1046" y="103"/>
                </a:lnTo>
                <a:lnTo>
                  <a:pt x="1021" y="104"/>
                </a:lnTo>
                <a:lnTo>
                  <a:pt x="997" y="106"/>
                </a:lnTo>
                <a:lnTo>
                  <a:pt x="973" y="108"/>
                </a:lnTo>
                <a:lnTo>
                  <a:pt x="948" y="110"/>
                </a:lnTo>
                <a:lnTo>
                  <a:pt x="924" y="113"/>
                </a:lnTo>
                <a:lnTo>
                  <a:pt x="901" y="118"/>
                </a:lnTo>
                <a:lnTo>
                  <a:pt x="876" y="122"/>
                </a:lnTo>
                <a:lnTo>
                  <a:pt x="853" y="128"/>
                </a:lnTo>
                <a:lnTo>
                  <a:pt x="830" y="134"/>
                </a:lnTo>
                <a:lnTo>
                  <a:pt x="806" y="139"/>
                </a:lnTo>
                <a:lnTo>
                  <a:pt x="784" y="146"/>
                </a:lnTo>
                <a:lnTo>
                  <a:pt x="761" y="154"/>
                </a:lnTo>
                <a:lnTo>
                  <a:pt x="739" y="162"/>
                </a:lnTo>
                <a:lnTo>
                  <a:pt x="717" y="170"/>
                </a:lnTo>
                <a:lnTo>
                  <a:pt x="695" y="179"/>
                </a:lnTo>
                <a:lnTo>
                  <a:pt x="673" y="189"/>
                </a:lnTo>
                <a:lnTo>
                  <a:pt x="652" y="198"/>
                </a:lnTo>
                <a:lnTo>
                  <a:pt x="631" y="209"/>
                </a:lnTo>
                <a:lnTo>
                  <a:pt x="610" y="219"/>
                </a:lnTo>
                <a:lnTo>
                  <a:pt x="590" y="232"/>
                </a:lnTo>
                <a:lnTo>
                  <a:pt x="570" y="243"/>
                </a:lnTo>
                <a:lnTo>
                  <a:pt x="550" y="255"/>
                </a:lnTo>
                <a:lnTo>
                  <a:pt x="530" y="269"/>
                </a:lnTo>
                <a:lnTo>
                  <a:pt x="511" y="281"/>
                </a:lnTo>
                <a:lnTo>
                  <a:pt x="492" y="296"/>
                </a:lnTo>
                <a:lnTo>
                  <a:pt x="474" y="309"/>
                </a:lnTo>
                <a:lnTo>
                  <a:pt x="456" y="324"/>
                </a:lnTo>
                <a:lnTo>
                  <a:pt x="438" y="340"/>
                </a:lnTo>
                <a:lnTo>
                  <a:pt x="421" y="354"/>
                </a:lnTo>
                <a:lnTo>
                  <a:pt x="404" y="370"/>
                </a:lnTo>
                <a:lnTo>
                  <a:pt x="388" y="387"/>
                </a:lnTo>
                <a:lnTo>
                  <a:pt x="371" y="403"/>
                </a:lnTo>
                <a:lnTo>
                  <a:pt x="355" y="421"/>
                </a:lnTo>
                <a:lnTo>
                  <a:pt x="340" y="438"/>
                </a:lnTo>
                <a:lnTo>
                  <a:pt x="324" y="456"/>
                </a:lnTo>
                <a:lnTo>
                  <a:pt x="310" y="474"/>
                </a:lnTo>
                <a:lnTo>
                  <a:pt x="296" y="492"/>
                </a:lnTo>
                <a:lnTo>
                  <a:pt x="283" y="511"/>
                </a:lnTo>
                <a:lnTo>
                  <a:pt x="269" y="530"/>
                </a:lnTo>
                <a:lnTo>
                  <a:pt x="256" y="549"/>
                </a:lnTo>
                <a:lnTo>
                  <a:pt x="243" y="569"/>
                </a:lnTo>
                <a:lnTo>
                  <a:pt x="232" y="590"/>
                </a:lnTo>
                <a:lnTo>
                  <a:pt x="221" y="610"/>
                </a:lnTo>
                <a:lnTo>
                  <a:pt x="210" y="630"/>
                </a:lnTo>
                <a:lnTo>
                  <a:pt x="200" y="652"/>
                </a:lnTo>
                <a:lnTo>
                  <a:pt x="189" y="673"/>
                </a:lnTo>
                <a:lnTo>
                  <a:pt x="179" y="694"/>
                </a:lnTo>
                <a:lnTo>
                  <a:pt x="170" y="716"/>
                </a:lnTo>
                <a:lnTo>
                  <a:pt x="162" y="738"/>
                </a:lnTo>
                <a:lnTo>
                  <a:pt x="155" y="761"/>
                </a:lnTo>
                <a:lnTo>
                  <a:pt x="147" y="783"/>
                </a:lnTo>
                <a:lnTo>
                  <a:pt x="140" y="806"/>
                </a:lnTo>
                <a:lnTo>
                  <a:pt x="134" y="829"/>
                </a:lnTo>
                <a:lnTo>
                  <a:pt x="129" y="853"/>
                </a:lnTo>
                <a:lnTo>
                  <a:pt x="123" y="876"/>
                </a:lnTo>
                <a:lnTo>
                  <a:pt x="119" y="899"/>
                </a:lnTo>
                <a:lnTo>
                  <a:pt x="115" y="924"/>
                </a:lnTo>
                <a:lnTo>
                  <a:pt x="112" y="948"/>
                </a:lnTo>
                <a:lnTo>
                  <a:pt x="108" y="972"/>
                </a:lnTo>
                <a:lnTo>
                  <a:pt x="106" y="996"/>
                </a:lnTo>
                <a:lnTo>
                  <a:pt x="105" y="1021"/>
                </a:lnTo>
                <a:lnTo>
                  <a:pt x="104" y="1046"/>
                </a:lnTo>
                <a:lnTo>
                  <a:pt x="104" y="1070"/>
                </a:lnTo>
                <a:lnTo>
                  <a:pt x="104" y="1096"/>
                </a:lnTo>
                <a:lnTo>
                  <a:pt x="105" y="1121"/>
                </a:lnTo>
                <a:lnTo>
                  <a:pt x="106" y="1146"/>
                </a:lnTo>
                <a:lnTo>
                  <a:pt x="108" y="1169"/>
                </a:lnTo>
                <a:lnTo>
                  <a:pt x="112" y="1194"/>
                </a:lnTo>
                <a:lnTo>
                  <a:pt x="115" y="1218"/>
                </a:lnTo>
                <a:lnTo>
                  <a:pt x="119" y="1241"/>
                </a:lnTo>
                <a:lnTo>
                  <a:pt x="123" y="1266"/>
                </a:lnTo>
                <a:lnTo>
                  <a:pt x="129" y="1289"/>
                </a:lnTo>
                <a:lnTo>
                  <a:pt x="134" y="1312"/>
                </a:lnTo>
                <a:lnTo>
                  <a:pt x="140" y="1336"/>
                </a:lnTo>
                <a:lnTo>
                  <a:pt x="147" y="1358"/>
                </a:lnTo>
                <a:lnTo>
                  <a:pt x="155" y="1381"/>
                </a:lnTo>
                <a:lnTo>
                  <a:pt x="162" y="1404"/>
                </a:lnTo>
                <a:lnTo>
                  <a:pt x="170" y="1425"/>
                </a:lnTo>
                <a:lnTo>
                  <a:pt x="179" y="1447"/>
                </a:lnTo>
                <a:lnTo>
                  <a:pt x="189" y="1469"/>
                </a:lnTo>
                <a:lnTo>
                  <a:pt x="200" y="1490"/>
                </a:lnTo>
                <a:lnTo>
                  <a:pt x="210" y="1512"/>
                </a:lnTo>
                <a:lnTo>
                  <a:pt x="221" y="1532"/>
                </a:lnTo>
                <a:lnTo>
                  <a:pt x="232" y="1552"/>
                </a:lnTo>
                <a:lnTo>
                  <a:pt x="243" y="1572"/>
                </a:lnTo>
                <a:lnTo>
                  <a:pt x="256" y="1593"/>
                </a:lnTo>
                <a:lnTo>
                  <a:pt x="269" y="1612"/>
                </a:lnTo>
                <a:lnTo>
                  <a:pt x="283" y="1631"/>
                </a:lnTo>
                <a:lnTo>
                  <a:pt x="296" y="1650"/>
                </a:lnTo>
                <a:lnTo>
                  <a:pt x="310" y="1668"/>
                </a:lnTo>
                <a:lnTo>
                  <a:pt x="324" y="1686"/>
                </a:lnTo>
                <a:lnTo>
                  <a:pt x="340" y="1704"/>
                </a:lnTo>
                <a:lnTo>
                  <a:pt x="355" y="1721"/>
                </a:lnTo>
                <a:lnTo>
                  <a:pt x="371" y="1738"/>
                </a:lnTo>
                <a:lnTo>
                  <a:pt x="388" y="1755"/>
                </a:lnTo>
                <a:lnTo>
                  <a:pt x="404" y="1772"/>
                </a:lnTo>
                <a:lnTo>
                  <a:pt x="421" y="1787"/>
                </a:lnTo>
                <a:lnTo>
                  <a:pt x="438" y="1802"/>
                </a:lnTo>
                <a:lnTo>
                  <a:pt x="456" y="1818"/>
                </a:lnTo>
                <a:lnTo>
                  <a:pt x="474" y="1832"/>
                </a:lnTo>
                <a:lnTo>
                  <a:pt x="492" y="1846"/>
                </a:lnTo>
                <a:lnTo>
                  <a:pt x="511" y="1859"/>
                </a:lnTo>
                <a:lnTo>
                  <a:pt x="530" y="1873"/>
                </a:lnTo>
                <a:lnTo>
                  <a:pt x="550" y="1886"/>
                </a:lnTo>
                <a:lnTo>
                  <a:pt x="570" y="1899"/>
                </a:lnTo>
                <a:lnTo>
                  <a:pt x="590" y="1910"/>
                </a:lnTo>
                <a:lnTo>
                  <a:pt x="610" y="1921"/>
                </a:lnTo>
                <a:lnTo>
                  <a:pt x="631" y="1933"/>
                </a:lnTo>
                <a:lnTo>
                  <a:pt x="652" y="1943"/>
                </a:lnTo>
                <a:lnTo>
                  <a:pt x="673" y="1953"/>
                </a:lnTo>
                <a:lnTo>
                  <a:pt x="695" y="1963"/>
                </a:lnTo>
                <a:lnTo>
                  <a:pt x="717" y="1972"/>
                </a:lnTo>
                <a:lnTo>
                  <a:pt x="739" y="1980"/>
                </a:lnTo>
                <a:lnTo>
                  <a:pt x="761" y="1988"/>
                </a:lnTo>
                <a:lnTo>
                  <a:pt x="784" y="1996"/>
                </a:lnTo>
                <a:lnTo>
                  <a:pt x="806" y="2002"/>
                </a:lnTo>
                <a:lnTo>
                  <a:pt x="830" y="2008"/>
                </a:lnTo>
                <a:lnTo>
                  <a:pt x="853" y="2014"/>
                </a:lnTo>
                <a:lnTo>
                  <a:pt x="876" y="2019"/>
                </a:lnTo>
                <a:lnTo>
                  <a:pt x="901" y="2024"/>
                </a:lnTo>
                <a:lnTo>
                  <a:pt x="924" y="2027"/>
                </a:lnTo>
                <a:lnTo>
                  <a:pt x="948" y="2031"/>
                </a:lnTo>
                <a:lnTo>
                  <a:pt x="973" y="2034"/>
                </a:lnTo>
                <a:lnTo>
                  <a:pt x="997" y="2036"/>
                </a:lnTo>
                <a:lnTo>
                  <a:pt x="1021" y="2037"/>
                </a:lnTo>
                <a:lnTo>
                  <a:pt x="1046" y="2038"/>
                </a:lnTo>
                <a:lnTo>
                  <a:pt x="1072" y="2038"/>
                </a:lnTo>
                <a:lnTo>
                  <a:pt x="1096" y="2038"/>
                </a:lnTo>
                <a:lnTo>
                  <a:pt x="1121" y="2037"/>
                </a:lnTo>
                <a:lnTo>
                  <a:pt x="1146" y="2036"/>
                </a:lnTo>
                <a:lnTo>
                  <a:pt x="1170" y="2034"/>
                </a:lnTo>
                <a:lnTo>
                  <a:pt x="1194" y="2031"/>
                </a:lnTo>
                <a:lnTo>
                  <a:pt x="1218" y="2027"/>
                </a:lnTo>
                <a:lnTo>
                  <a:pt x="1243" y="2024"/>
                </a:lnTo>
                <a:lnTo>
                  <a:pt x="1266" y="2019"/>
                </a:lnTo>
                <a:lnTo>
                  <a:pt x="1290" y="2014"/>
                </a:lnTo>
                <a:lnTo>
                  <a:pt x="1313" y="2008"/>
                </a:lnTo>
                <a:lnTo>
                  <a:pt x="1336" y="2002"/>
                </a:lnTo>
                <a:lnTo>
                  <a:pt x="1359" y="1996"/>
                </a:lnTo>
                <a:lnTo>
                  <a:pt x="1381" y="1988"/>
                </a:lnTo>
                <a:lnTo>
                  <a:pt x="1404" y="1980"/>
                </a:lnTo>
                <a:lnTo>
                  <a:pt x="1426" y="1972"/>
                </a:lnTo>
                <a:lnTo>
                  <a:pt x="1448" y="1963"/>
                </a:lnTo>
                <a:lnTo>
                  <a:pt x="1469" y="1953"/>
                </a:lnTo>
                <a:lnTo>
                  <a:pt x="1490" y="1943"/>
                </a:lnTo>
                <a:lnTo>
                  <a:pt x="1512" y="1933"/>
                </a:lnTo>
                <a:lnTo>
                  <a:pt x="1532" y="1921"/>
                </a:lnTo>
                <a:lnTo>
                  <a:pt x="1552" y="1910"/>
                </a:lnTo>
                <a:lnTo>
                  <a:pt x="1572" y="1899"/>
                </a:lnTo>
                <a:lnTo>
                  <a:pt x="1593" y="1886"/>
                </a:lnTo>
                <a:lnTo>
                  <a:pt x="1612" y="1873"/>
                </a:lnTo>
                <a:lnTo>
                  <a:pt x="1631" y="1859"/>
                </a:lnTo>
                <a:lnTo>
                  <a:pt x="1650" y="1846"/>
                </a:lnTo>
                <a:lnTo>
                  <a:pt x="1668" y="1832"/>
                </a:lnTo>
                <a:lnTo>
                  <a:pt x="1686" y="1818"/>
                </a:lnTo>
                <a:lnTo>
                  <a:pt x="1704" y="1802"/>
                </a:lnTo>
                <a:lnTo>
                  <a:pt x="1721" y="1787"/>
                </a:lnTo>
                <a:lnTo>
                  <a:pt x="1739" y="1772"/>
                </a:lnTo>
                <a:lnTo>
                  <a:pt x="1755" y="1755"/>
                </a:lnTo>
                <a:lnTo>
                  <a:pt x="1772" y="1738"/>
                </a:lnTo>
                <a:lnTo>
                  <a:pt x="1787" y="1721"/>
                </a:lnTo>
                <a:lnTo>
                  <a:pt x="1803" y="1704"/>
                </a:lnTo>
                <a:lnTo>
                  <a:pt x="1818" y="1686"/>
                </a:lnTo>
                <a:lnTo>
                  <a:pt x="1832" y="1668"/>
                </a:lnTo>
                <a:lnTo>
                  <a:pt x="1846" y="1650"/>
                </a:lnTo>
                <a:lnTo>
                  <a:pt x="1861" y="1631"/>
                </a:lnTo>
                <a:lnTo>
                  <a:pt x="1873" y="1612"/>
                </a:lnTo>
                <a:lnTo>
                  <a:pt x="1886" y="1593"/>
                </a:lnTo>
                <a:lnTo>
                  <a:pt x="1899" y="1572"/>
                </a:lnTo>
                <a:lnTo>
                  <a:pt x="1910" y="1552"/>
                </a:lnTo>
                <a:lnTo>
                  <a:pt x="1922" y="1532"/>
                </a:lnTo>
                <a:lnTo>
                  <a:pt x="1933" y="1512"/>
                </a:lnTo>
                <a:lnTo>
                  <a:pt x="1944" y="1490"/>
                </a:lnTo>
                <a:lnTo>
                  <a:pt x="1953" y="1469"/>
                </a:lnTo>
                <a:lnTo>
                  <a:pt x="1963" y="1447"/>
                </a:lnTo>
                <a:lnTo>
                  <a:pt x="1972" y="1425"/>
                </a:lnTo>
                <a:lnTo>
                  <a:pt x="1980" y="1404"/>
                </a:lnTo>
                <a:lnTo>
                  <a:pt x="1988" y="1381"/>
                </a:lnTo>
                <a:lnTo>
                  <a:pt x="1996" y="1358"/>
                </a:lnTo>
                <a:lnTo>
                  <a:pt x="2002" y="1336"/>
                </a:lnTo>
                <a:lnTo>
                  <a:pt x="2008" y="1312"/>
                </a:lnTo>
                <a:lnTo>
                  <a:pt x="2014" y="1289"/>
                </a:lnTo>
                <a:lnTo>
                  <a:pt x="2019" y="1266"/>
                </a:lnTo>
                <a:lnTo>
                  <a:pt x="2024" y="1241"/>
                </a:lnTo>
                <a:lnTo>
                  <a:pt x="2028" y="1218"/>
                </a:lnTo>
                <a:lnTo>
                  <a:pt x="2032" y="1194"/>
                </a:lnTo>
                <a:lnTo>
                  <a:pt x="2034" y="1169"/>
                </a:lnTo>
                <a:lnTo>
                  <a:pt x="2036" y="1146"/>
                </a:lnTo>
                <a:lnTo>
                  <a:pt x="2037" y="1121"/>
                </a:lnTo>
                <a:lnTo>
                  <a:pt x="2038" y="1096"/>
                </a:lnTo>
                <a:lnTo>
                  <a:pt x="2038" y="1070"/>
                </a:lnTo>
                <a:lnTo>
                  <a:pt x="2038" y="1046"/>
                </a:lnTo>
                <a:lnTo>
                  <a:pt x="2037" y="1021"/>
                </a:lnTo>
                <a:lnTo>
                  <a:pt x="2036" y="996"/>
                </a:lnTo>
                <a:lnTo>
                  <a:pt x="2034" y="972"/>
                </a:lnTo>
                <a:lnTo>
                  <a:pt x="2032" y="948"/>
                </a:lnTo>
                <a:lnTo>
                  <a:pt x="2028" y="924"/>
                </a:lnTo>
                <a:lnTo>
                  <a:pt x="2024" y="899"/>
                </a:lnTo>
                <a:lnTo>
                  <a:pt x="2019" y="876"/>
                </a:lnTo>
                <a:lnTo>
                  <a:pt x="2014" y="853"/>
                </a:lnTo>
                <a:lnTo>
                  <a:pt x="2008" y="829"/>
                </a:lnTo>
                <a:lnTo>
                  <a:pt x="2002" y="806"/>
                </a:lnTo>
                <a:lnTo>
                  <a:pt x="1996" y="783"/>
                </a:lnTo>
                <a:lnTo>
                  <a:pt x="1988" y="761"/>
                </a:lnTo>
                <a:lnTo>
                  <a:pt x="1980" y="738"/>
                </a:lnTo>
                <a:lnTo>
                  <a:pt x="1972" y="716"/>
                </a:lnTo>
                <a:lnTo>
                  <a:pt x="1963" y="694"/>
                </a:lnTo>
                <a:lnTo>
                  <a:pt x="1953" y="673"/>
                </a:lnTo>
                <a:lnTo>
                  <a:pt x="1944" y="652"/>
                </a:lnTo>
                <a:lnTo>
                  <a:pt x="1933" y="630"/>
                </a:lnTo>
                <a:lnTo>
                  <a:pt x="1922" y="610"/>
                </a:lnTo>
                <a:lnTo>
                  <a:pt x="1910" y="590"/>
                </a:lnTo>
                <a:lnTo>
                  <a:pt x="1899" y="569"/>
                </a:lnTo>
                <a:lnTo>
                  <a:pt x="1886" y="549"/>
                </a:lnTo>
                <a:lnTo>
                  <a:pt x="1873" y="530"/>
                </a:lnTo>
                <a:lnTo>
                  <a:pt x="1861" y="511"/>
                </a:lnTo>
                <a:lnTo>
                  <a:pt x="1846" y="492"/>
                </a:lnTo>
                <a:lnTo>
                  <a:pt x="1832" y="474"/>
                </a:lnTo>
                <a:lnTo>
                  <a:pt x="1818" y="456"/>
                </a:lnTo>
                <a:lnTo>
                  <a:pt x="1803" y="438"/>
                </a:lnTo>
                <a:lnTo>
                  <a:pt x="1787" y="421"/>
                </a:lnTo>
                <a:lnTo>
                  <a:pt x="1772" y="403"/>
                </a:lnTo>
                <a:lnTo>
                  <a:pt x="1755" y="387"/>
                </a:lnTo>
                <a:lnTo>
                  <a:pt x="1739" y="370"/>
                </a:lnTo>
                <a:lnTo>
                  <a:pt x="1721" y="354"/>
                </a:lnTo>
                <a:lnTo>
                  <a:pt x="1704" y="340"/>
                </a:lnTo>
                <a:lnTo>
                  <a:pt x="1686" y="324"/>
                </a:lnTo>
                <a:lnTo>
                  <a:pt x="1668" y="309"/>
                </a:lnTo>
                <a:lnTo>
                  <a:pt x="1650" y="296"/>
                </a:lnTo>
                <a:lnTo>
                  <a:pt x="1631" y="281"/>
                </a:lnTo>
                <a:lnTo>
                  <a:pt x="1612" y="269"/>
                </a:lnTo>
                <a:lnTo>
                  <a:pt x="1593" y="255"/>
                </a:lnTo>
                <a:lnTo>
                  <a:pt x="1572" y="243"/>
                </a:lnTo>
                <a:lnTo>
                  <a:pt x="1552" y="232"/>
                </a:lnTo>
                <a:lnTo>
                  <a:pt x="1532" y="219"/>
                </a:lnTo>
                <a:lnTo>
                  <a:pt x="1512" y="209"/>
                </a:lnTo>
                <a:lnTo>
                  <a:pt x="1490" y="198"/>
                </a:lnTo>
                <a:lnTo>
                  <a:pt x="1469" y="189"/>
                </a:lnTo>
                <a:lnTo>
                  <a:pt x="1448" y="179"/>
                </a:lnTo>
                <a:lnTo>
                  <a:pt x="1426" y="170"/>
                </a:lnTo>
                <a:lnTo>
                  <a:pt x="1404" y="162"/>
                </a:lnTo>
                <a:lnTo>
                  <a:pt x="1381" y="154"/>
                </a:lnTo>
                <a:lnTo>
                  <a:pt x="1359" y="146"/>
                </a:lnTo>
                <a:lnTo>
                  <a:pt x="1336" y="139"/>
                </a:lnTo>
                <a:lnTo>
                  <a:pt x="1313" y="134"/>
                </a:lnTo>
                <a:lnTo>
                  <a:pt x="1290" y="128"/>
                </a:lnTo>
                <a:lnTo>
                  <a:pt x="1266" y="122"/>
                </a:lnTo>
                <a:lnTo>
                  <a:pt x="1243" y="118"/>
                </a:lnTo>
                <a:lnTo>
                  <a:pt x="1218" y="113"/>
                </a:lnTo>
                <a:lnTo>
                  <a:pt x="1194" y="110"/>
                </a:lnTo>
                <a:lnTo>
                  <a:pt x="1170" y="108"/>
                </a:lnTo>
                <a:lnTo>
                  <a:pt x="1146" y="106"/>
                </a:lnTo>
                <a:lnTo>
                  <a:pt x="1121" y="104"/>
                </a:lnTo>
                <a:lnTo>
                  <a:pt x="1096" y="103"/>
                </a:lnTo>
                <a:lnTo>
                  <a:pt x="1072" y="103"/>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27" name="Oval 26">
            <a:hlinkClick r:id="" action="ppaction://noaction"/>
            <a:extLst>
              <a:ext uri="{FF2B5EF4-FFF2-40B4-BE49-F238E27FC236}">
                <a16:creationId xmlns:a16="http://schemas.microsoft.com/office/drawing/2014/main" id="{801E9FF7-9EF1-4E00-9A51-790A61BD411A}"/>
              </a:ext>
            </a:extLst>
          </p:cNvPr>
          <p:cNvSpPr>
            <a:spLocks noChangeAspect="1"/>
          </p:cNvSpPr>
          <p:nvPr/>
        </p:nvSpPr>
        <p:spPr>
          <a:xfrm>
            <a:off x="40721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Oval 27">
            <a:hlinkClick r:id="" action="ppaction://noaction"/>
            <a:extLst>
              <a:ext uri="{FF2B5EF4-FFF2-40B4-BE49-F238E27FC236}">
                <a16:creationId xmlns:a16="http://schemas.microsoft.com/office/drawing/2014/main" id="{83648D2A-955C-43D7-868F-AF8792016CC7}"/>
              </a:ext>
            </a:extLst>
          </p:cNvPr>
          <p:cNvSpPr>
            <a:spLocks noChangeAspect="1"/>
          </p:cNvSpPr>
          <p:nvPr/>
        </p:nvSpPr>
        <p:spPr>
          <a:xfrm>
            <a:off x="55123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Oval 28">
            <a:hlinkClick r:id="" action="ppaction://noaction"/>
            <a:extLst>
              <a:ext uri="{FF2B5EF4-FFF2-40B4-BE49-F238E27FC236}">
                <a16:creationId xmlns:a16="http://schemas.microsoft.com/office/drawing/2014/main" id="{3A12957A-24EE-445F-A673-FDBCDB3196EF}"/>
              </a:ext>
            </a:extLst>
          </p:cNvPr>
          <p:cNvSpPr>
            <a:spLocks noChangeAspect="1"/>
          </p:cNvSpPr>
          <p:nvPr/>
        </p:nvSpPr>
        <p:spPr>
          <a:xfrm>
            <a:off x="69525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Oval 29">
            <a:hlinkClick r:id="" action="ppaction://noaction"/>
            <a:extLst>
              <a:ext uri="{FF2B5EF4-FFF2-40B4-BE49-F238E27FC236}">
                <a16:creationId xmlns:a16="http://schemas.microsoft.com/office/drawing/2014/main" id="{C15D1673-1322-4849-9324-24B6FF791834}"/>
              </a:ext>
            </a:extLst>
          </p:cNvPr>
          <p:cNvSpPr>
            <a:spLocks noChangeAspect="1"/>
          </p:cNvSpPr>
          <p:nvPr/>
        </p:nvSpPr>
        <p:spPr>
          <a:xfrm>
            <a:off x="839270" y="89377"/>
            <a:ext cx="108000" cy="108000"/>
          </a:xfrm>
          <a:prstGeom prst="ellipse">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Oval 30">
            <a:hlinkClick r:id="" action="ppaction://noaction"/>
            <a:extLst>
              <a:ext uri="{FF2B5EF4-FFF2-40B4-BE49-F238E27FC236}">
                <a16:creationId xmlns:a16="http://schemas.microsoft.com/office/drawing/2014/main" id="{CF709D4E-BE20-4754-8BD0-CBE9F9059887}"/>
              </a:ext>
            </a:extLst>
          </p:cNvPr>
          <p:cNvSpPr>
            <a:spLocks noChangeAspect="1"/>
          </p:cNvSpPr>
          <p:nvPr/>
        </p:nvSpPr>
        <p:spPr>
          <a:xfrm>
            <a:off x="98329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BA8ADE98-5EC9-4D16-8F7C-CDBF022E5080}"/>
              </a:ext>
            </a:extLst>
          </p:cNvPr>
          <p:cNvSpPr/>
          <p:nvPr/>
        </p:nvSpPr>
        <p:spPr>
          <a:xfrm rot="10800000">
            <a:off x="4297696" y="1212482"/>
            <a:ext cx="3598193" cy="4497098"/>
          </a:xfrm>
          <a:prstGeom prst="rect">
            <a:avLst/>
          </a:prstGeom>
          <a:gradFill>
            <a:gsLst>
              <a:gs pos="0">
                <a:schemeClr val="tx1">
                  <a:lumMod val="50000"/>
                  <a:alpha val="0"/>
                </a:schemeClr>
              </a:gs>
              <a:gs pos="100000">
                <a:schemeClr val="tx1">
                  <a:alpha val="25000"/>
                  <a:lumMod val="40000"/>
                </a:schemeClr>
              </a:gs>
            </a:gsLst>
            <a:lin ang="5400000" scaled="0"/>
          </a:gradFill>
          <a:ln w="25400" cap="flat" cmpd="sng" algn="ctr">
            <a:noFill/>
            <a:prstDash val="solid"/>
          </a:ln>
          <a:effectLst/>
        </p:spPr>
        <p:txBody>
          <a:bodyPr lIns="108000" tIns="108000" rIns="108000" bIns="108000" rtlCol="0" anchor="b" anchorCtr="0"/>
          <a:lstStyle/>
          <a:p>
            <a:pPr marL="0" marR="0" lvl="0" indent="0" algn="ctr" defTabSz="948219" rtl="0" eaLnBrk="1" fontAlgn="auto" latinLnBrk="0" hangingPunct="1">
              <a:lnSpc>
                <a:spcPct val="90000"/>
              </a:lnSpc>
              <a:spcBef>
                <a:spcPct val="0"/>
              </a:spcBef>
              <a:spcAft>
                <a:spcPts val="533"/>
              </a:spcAft>
              <a:buClrTx/>
              <a:buSzTx/>
              <a:buFontTx/>
              <a:buNone/>
              <a:tabLst/>
              <a:defRPr/>
            </a:pPr>
            <a:endParaRPr kumimoji="0" lang="en-GB" sz="1100" b="1" i="0" u="none" strike="noStrike" kern="0" cap="none" spc="0" normalizeH="0" baseline="0" noProof="0">
              <a:ln>
                <a:noFill/>
              </a:ln>
              <a:solidFill>
                <a:srgbClr val="FFFFFF"/>
              </a:solidFill>
              <a:effectLst/>
              <a:uLnTx/>
              <a:uFillTx/>
              <a:latin typeface="Arial"/>
              <a:ea typeface="ＭＳ Ｐゴシック" pitchFamily="34" charset="-128"/>
              <a:cs typeface="+mn-cs"/>
            </a:endParaRPr>
          </a:p>
        </p:txBody>
      </p:sp>
      <p:sp>
        <p:nvSpPr>
          <p:cNvPr id="7" name="Content Placeholder 4">
            <a:extLst>
              <a:ext uri="{FF2B5EF4-FFF2-40B4-BE49-F238E27FC236}">
                <a16:creationId xmlns:a16="http://schemas.microsoft.com/office/drawing/2014/main" id="{6366AB37-F1CB-C841-A91A-4FCCFCCD65EE}"/>
              </a:ext>
            </a:extLst>
          </p:cNvPr>
          <p:cNvSpPr txBox="1">
            <a:spLocks/>
          </p:cNvSpPr>
          <p:nvPr/>
        </p:nvSpPr>
        <p:spPr>
          <a:xfrm>
            <a:off x="4310957" y="2634133"/>
            <a:ext cx="3599780" cy="3089737"/>
          </a:xfrm>
          <a:prstGeom prst="rect">
            <a:avLst/>
          </a:prstGeom>
          <a:gradFill>
            <a:gsLst>
              <a:gs pos="0">
                <a:schemeClr val="tx1">
                  <a:lumMod val="50000"/>
                  <a:alpha val="0"/>
                </a:schemeClr>
              </a:gs>
              <a:gs pos="99000">
                <a:schemeClr val="tx1">
                  <a:lumMod val="50000"/>
                  <a:alpha val="50000"/>
                </a:schemeClr>
              </a:gs>
            </a:gsLst>
            <a:lin ang="5400000" scaled="1"/>
          </a:gradFill>
        </p:spPr>
        <p:txBody>
          <a:bodyPr vert="horz" lIns="108000" tIns="108000" rIns="108000" bIns="1692000" rtlCol="0" anchor="b"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indent="0" algn="ctr">
              <a:buFont typeface="Wingdings" panose="05000000000000000000" pitchFamily="2" charset="2"/>
              <a:buNone/>
            </a:pPr>
            <a:r>
              <a:rPr lang="en-FI" sz="1600" b="1">
                <a:solidFill>
                  <a:schemeClr val="bg1"/>
                </a:solidFill>
              </a:rPr>
              <a:t>MAINTENANCE VISITS</a:t>
            </a:r>
          </a:p>
        </p:txBody>
      </p:sp>
      <p:sp>
        <p:nvSpPr>
          <p:cNvPr id="10" name="Content Placeholder 4">
            <a:extLst>
              <a:ext uri="{FF2B5EF4-FFF2-40B4-BE49-F238E27FC236}">
                <a16:creationId xmlns:a16="http://schemas.microsoft.com/office/drawing/2014/main" id="{28A9D9BB-18F5-E941-95E0-F6F67696B91D}"/>
              </a:ext>
            </a:extLst>
          </p:cNvPr>
          <p:cNvSpPr txBox="1">
            <a:spLocks/>
          </p:cNvSpPr>
          <p:nvPr/>
        </p:nvSpPr>
        <p:spPr>
          <a:xfrm>
            <a:off x="4296110" y="4104576"/>
            <a:ext cx="3599780" cy="965109"/>
          </a:xfrm>
          <a:prstGeom prst="rect">
            <a:avLst/>
          </a:prstGeom>
        </p:spPr>
        <p:txBody>
          <a:bodyPr vert="horz" lIns="108000" tIns="108000" rIns="108000" bIns="108000" rtlCol="0">
            <a:sp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a:buClrTx/>
            </a:pPr>
            <a:r>
              <a:rPr lang="en-GB" sz="1200">
                <a:solidFill>
                  <a:schemeClr val="bg1"/>
                </a:solidFill>
              </a:rPr>
              <a:t>Optimized route planning for reduced driving</a:t>
            </a:r>
          </a:p>
          <a:p>
            <a:pPr>
              <a:buClrTx/>
            </a:pPr>
            <a:r>
              <a:rPr lang="en-GB" sz="1200">
                <a:solidFill>
                  <a:schemeClr val="bg1"/>
                </a:solidFill>
              </a:rPr>
              <a:t>Moving towards low emission car fleet</a:t>
            </a:r>
          </a:p>
          <a:p>
            <a:pPr>
              <a:buClrTx/>
            </a:pPr>
            <a:r>
              <a:rPr lang="en-GB" sz="1200">
                <a:solidFill>
                  <a:schemeClr val="bg1"/>
                </a:solidFill>
              </a:rPr>
              <a:t>Predictable maintenance</a:t>
            </a:r>
          </a:p>
        </p:txBody>
      </p:sp>
    </p:spTree>
    <p:extLst>
      <p:ext uri="{BB962C8B-B14F-4D97-AF65-F5344CB8AC3E}">
        <p14:creationId xmlns:p14="http://schemas.microsoft.com/office/powerpoint/2010/main" val="253669420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13FE266-E284-454D-BB3E-B176196F284B}"/>
              </a:ext>
            </a:extLst>
          </p:cNvPr>
          <p:cNvSpPr>
            <a:spLocks noGrp="1"/>
          </p:cNvSpPr>
          <p:nvPr>
            <p:ph type="dt" sz="half" idx="10"/>
          </p:nvPr>
        </p:nvSpPr>
        <p:spPr/>
        <p:txBody>
          <a:bodyPr/>
          <a:lstStyle/>
          <a:p>
            <a:fld id="{79E9087F-8D29-4365-A1D1-C2092CC6B701}" type="datetime3">
              <a:rPr lang="en-US" noProof="0" smtClean="0"/>
              <a:t>13 April 2022</a:t>
            </a:fld>
            <a:endParaRPr lang="en-US" noProof="0"/>
          </a:p>
        </p:txBody>
      </p:sp>
      <p:sp>
        <p:nvSpPr>
          <p:cNvPr id="3" name="Footer Placeholder 2">
            <a:extLst>
              <a:ext uri="{FF2B5EF4-FFF2-40B4-BE49-F238E27FC236}">
                <a16:creationId xmlns:a16="http://schemas.microsoft.com/office/drawing/2014/main" id="{C43FDA01-318E-4AEE-BEDB-18D01FE7A064}"/>
              </a:ext>
            </a:extLst>
          </p:cNvPr>
          <p:cNvSpPr>
            <a:spLocks noGrp="1"/>
          </p:cNvSpPr>
          <p:nvPr>
            <p:ph type="ftr" sz="quarter" idx="11"/>
          </p:nvPr>
        </p:nvSpPr>
        <p:spPr/>
        <p:txBody>
          <a:bodyPr/>
          <a:lstStyle/>
          <a:p>
            <a:r>
              <a:rPr lang="en-US" noProof="0"/>
              <a:t>Confidential  |  © KONE Corporation</a:t>
            </a:r>
          </a:p>
        </p:txBody>
      </p:sp>
      <p:sp>
        <p:nvSpPr>
          <p:cNvPr id="4" name="Slide Number Placeholder 3">
            <a:extLst>
              <a:ext uri="{FF2B5EF4-FFF2-40B4-BE49-F238E27FC236}">
                <a16:creationId xmlns:a16="http://schemas.microsoft.com/office/drawing/2014/main" id="{8C14EBE3-3B86-459E-A7F5-55F1CC5DA189}"/>
              </a:ext>
            </a:extLst>
          </p:cNvPr>
          <p:cNvSpPr>
            <a:spLocks noGrp="1"/>
          </p:cNvSpPr>
          <p:nvPr>
            <p:ph type="sldNum" sz="quarter" idx="12"/>
          </p:nvPr>
        </p:nvSpPr>
        <p:spPr/>
        <p:txBody>
          <a:bodyPr/>
          <a:lstStyle/>
          <a:p>
            <a:fld id="{604FC64F-66B6-486E-8EFE-9FD96A66D16B}" type="slidenum">
              <a:rPr lang="en-US" noProof="0" smtClean="0"/>
              <a:pPr/>
              <a:t>12</a:t>
            </a:fld>
            <a:endParaRPr lang="en-US" noProof="0"/>
          </a:p>
        </p:txBody>
      </p:sp>
      <p:pic>
        <p:nvPicPr>
          <p:cNvPr id="5" name="Picture 5" descr="Timeline&#10;&#10;Description automatically generated">
            <a:extLst>
              <a:ext uri="{FF2B5EF4-FFF2-40B4-BE49-F238E27FC236}">
                <a16:creationId xmlns:a16="http://schemas.microsoft.com/office/drawing/2014/main" id="{22FC9DDA-B282-4955-AB5D-770E8DB6E9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 y="-4920"/>
            <a:ext cx="12204638" cy="6859814"/>
          </a:xfrm>
          <a:prstGeom prst="rect">
            <a:avLst/>
          </a:prstGeom>
        </p:spPr>
      </p:pic>
      <p:sp>
        <p:nvSpPr>
          <p:cNvPr id="12" name="Freeform 9">
            <a:hlinkClick r:id="rId3" action="ppaction://hlinksldjump"/>
            <a:extLst>
              <a:ext uri="{FF2B5EF4-FFF2-40B4-BE49-F238E27FC236}">
                <a16:creationId xmlns:a16="http://schemas.microsoft.com/office/drawing/2014/main" id="{148124EC-4C45-4B94-8532-3387AC79D247}"/>
              </a:ext>
            </a:extLst>
          </p:cNvPr>
          <p:cNvSpPr>
            <a:spLocks noChangeAspect="1" noEditPoints="1"/>
          </p:cNvSpPr>
          <p:nvPr/>
        </p:nvSpPr>
        <p:spPr bwMode="auto">
          <a:xfrm rot="10800000" flipV="1">
            <a:off x="191181" y="90916"/>
            <a:ext cx="108000" cy="108000"/>
          </a:xfrm>
          <a:custGeom>
            <a:avLst/>
            <a:gdLst>
              <a:gd name="T0" fmla="*/ 1082 w 2142"/>
              <a:gd name="T1" fmla="*/ 1607 h 2142"/>
              <a:gd name="T2" fmla="*/ 990 w 2142"/>
              <a:gd name="T3" fmla="*/ 1578 h 2142"/>
              <a:gd name="T4" fmla="*/ 494 w 2142"/>
              <a:gd name="T5" fmla="*/ 1025 h 2142"/>
              <a:gd name="T6" fmla="*/ 999 w 2142"/>
              <a:gd name="T7" fmla="*/ 1002 h 2142"/>
              <a:gd name="T8" fmla="*/ 1060 w 2142"/>
              <a:gd name="T9" fmla="*/ 534 h 2142"/>
              <a:gd name="T10" fmla="*/ 1153 w 2142"/>
              <a:gd name="T11" fmla="*/ 564 h 2142"/>
              <a:gd name="T12" fmla="*/ 1666 w 2142"/>
              <a:gd name="T13" fmla="*/ 1064 h 2142"/>
              <a:gd name="T14" fmla="*/ 1641 w 2142"/>
              <a:gd name="T15" fmla="*/ 1124 h 2142"/>
              <a:gd name="T16" fmla="*/ 539 w 2142"/>
              <a:gd name="T17" fmla="*/ 1140 h 2142"/>
              <a:gd name="T18" fmla="*/ 488 w 2142"/>
              <a:gd name="T19" fmla="*/ 1109 h 2142"/>
              <a:gd name="T20" fmla="*/ 988 w 2142"/>
              <a:gd name="T21" fmla="*/ 2139 h 2142"/>
              <a:gd name="T22" fmla="*/ 728 w 2142"/>
              <a:gd name="T23" fmla="*/ 2086 h 2142"/>
              <a:gd name="T24" fmla="*/ 494 w 2142"/>
              <a:gd name="T25" fmla="*/ 1973 h 2142"/>
              <a:gd name="T26" fmla="*/ 296 w 2142"/>
              <a:gd name="T27" fmla="*/ 1810 h 2142"/>
              <a:gd name="T28" fmla="*/ 142 w 2142"/>
              <a:gd name="T29" fmla="*/ 1604 h 2142"/>
              <a:gd name="T30" fmla="*/ 41 w 2142"/>
              <a:gd name="T31" fmla="*/ 1364 h 2142"/>
              <a:gd name="T32" fmla="*/ 0 w 2142"/>
              <a:gd name="T33" fmla="*/ 1098 h 2142"/>
              <a:gd name="T34" fmla="*/ 27 w 2142"/>
              <a:gd name="T35" fmla="*/ 829 h 2142"/>
              <a:gd name="T36" fmla="*/ 117 w 2142"/>
              <a:gd name="T37" fmla="*/ 584 h 2142"/>
              <a:gd name="T38" fmla="*/ 261 w 2142"/>
              <a:gd name="T39" fmla="*/ 370 h 2142"/>
              <a:gd name="T40" fmla="*/ 452 w 2142"/>
              <a:gd name="T41" fmla="*/ 198 h 2142"/>
              <a:gd name="T42" fmla="*/ 679 w 2142"/>
              <a:gd name="T43" fmla="*/ 74 h 2142"/>
              <a:gd name="T44" fmla="*/ 936 w 2142"/>
              <a:gd name="T45" fmla="*/ 8 h 2142"/>
              <a:gd name="T46" fmla="*/ 1208 w 2142"/>
              <a:gd name="T47" fmla="*/ 8 h 2142"/>
              <a:gd name="T48" fmla="*/ 1463 w 2142"/>
              <a:gd name="T49" fmla="*/ 74 h 2142"/>
              <a:gd name="T50" fmla="*/ 1691 w 2142"/>
              <a:gd name="T51" fmla="*/ 198 h 2142"/>
              <a:gd name="T52" fmla="*/ 1881 w 2142"/>
              <a:gd name="T53" fmla="*/ 370 h 2142"/>
              <a:gd name="T54" fmla="*/ 2025 w 2142"/>
              <a:gd name="T55" fmla="*/ 584 h 2142"/>
              <a:gd name="T56" fmla="*/ 2115 w 2142"/>
              <a:gd name="T57" fmla="*/ 829 h 2142"/>
              <a:gd name="T58" fmla="*/ 2142 w 2142"/>
              <a:gd name="T59" fmla="*/ 1098 h 2142"/>
              <a:gd name="T60" fmla="*/ 2101 w 2142"/>
              <a:gd name="T61" fmla="*/ 1364 h 2142"/>
              <a:gd name="T62" fmla="*/ 2000 w 2142"/>
              <a:gd name="T63" fmla="*/ 1604 h 2142"/>
              <a:gd name="T64" fmla="*/ 1846 w 2142"/>
              <a:gd name="T65" fmla="*/ 1810 h 2142"/>
              <a:gd name="T66" fmla="*/ 1648 w 2142"/>
              <a:gd name="T67" fmla="*/ 1973 h 2142"/>
              <a:gd name="T68" fmla="*/ 1414 w 2142"/>
              <a:gd name="T69" fmla="*/ 2086 h 2142"/>
              <a:gd name="T70" fmla="*/ 1154 w 2142"/>
              <a:gd name="T71" fmla="*/ 2139 h 2142"/>
              <a:gd name="T72" fmla="*/ 924 w 2142"/>
              <a:gd name="T73" fmla="*/ 113 h 2142"/>
              <a:gd name="T74" fmla="*/ 695 w 2142"/>
              <a:gd name="T75" fmla="*/ 179 h 2142"/>
              <a:gd name="T76" fmla="*/ 492 w 2142"/>
              <a:gd name="T77" fmla="*/ 296 h 2142"/>
              <a:gd name="T78" fmla="*/ 324 w 2142"/>
              <a:gd name="T79" fmla="*/ 456 h 2142"/>
              <a:gd name="T80" fmla="*/ 200 w 2142"/>
              <a:gd name="T81" fmla="*/ 652 h 2142"/>
              <a:gd name="T82" fmla="*/ 123 w 2142"/>
              <a:gd name="T83" fmla="*/ 876 h 2142"/>
              <a:gd name="T84" fmla="*/ 105 w 2142"/>
              <a:gd name="T85" fmla="*/ 1121 h 2142"/>
              <a:gd name="T86" fmla="*/ 147 w 2142"/>
              <a:gd name="T87" fmla="*/ 1358 h 2142"/>
              <a:gd name="T88" fmla="*/ 243 w 2142"/>
              <a:gd name="T89" fmla="*/ 1572 h 2142"/>
              <a:gd name="T90" fmla="*/ 388 w 2142"/>
              <a:gd name="T91" fmla="*/ 1755 h 2142"/>
              <a:gd name="T92" fmla="*/ 570 w 2142"/>
              <a:gd name="T93" fmla="*/ 1899 h 2142"/>
              <a:gd name="T94" fmla="*/ 784 w 2142"/>
              <a:gd name="T95" fmla="*/ 1996 h 2142"/>
              <a:gd name="T96" fmla="*/ 1021 w 2142"/>
              <a:gd name="T97" fmla="*/ 2037 h 2142"/>
              <a:gd name="T98" fmla="*/ 1266 w 2142"/>
              <a:gd name="T99" fmla="*/ 2019 h 2142"/>
              <a:gd name="T100" fmla="*/ 1490 w 2142"/>
              <a:gd name="T101" fmla="*/ 1943 h 2142"/>
              <a:gd name="T102" fmla="*/ 1686 w 2142"/>
              <a:gd name="T103" fmla="*/ 1818 h 2142"/>
              <a:gd name="T104" fmla="*/ 1846 w 2142"/>
              <a:gd name="T105" fmla="*/ 1650 h 2142"/>
              <a:gd name="T106" fmla="*/ 1963 w 2142"/>
              <a:gd name="T107" fmla="*/ 1447 h 2142"/>
              <a:gd name="T108" fmla="*/ 2028 w 2142"/>
              <a:gd name="T109" fmla="*/ 1218 h 2142"/>
              <a:gd name="T110" fmla="*/ 2034 w 2142"/>
              <a:gd name="T111" fmla="*/ 972 h 2142"/>
              <a:gd name="T112" fmla="*/ 1980 w 2142"/>
              <a:gd name="T113" fmla="*/ 738 h 2142"/>
              <a:gd name="T114" fmla="*/ 1873 w 2142"/>
              <a:gd name="T115" fmla="*/ 530 h 2142"/>
              <a:gd name="T116" fmla="*/ 1721 w 2142"/>
              <a:gd name="T117" fmla="*/ 354 h 2142"/>
              <a:gd name="T118" fmla="*/ 1532 w 2142"/>
              <a:gd name="T119" fmla="*/ 219 h 2142"/>
              <a:gd name="T120" fmla="*/ 1313 w 2142"/>
              <a:gd name="T121" fmla="*/ 134 h 2142"/>
              <a:gd name="T122" fmla="*/ 1072 w 2142"/>
              <a:gd name="T123" fmla="*/ 103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2" h="2142">
                <a:moveTo>
                  <a:pt x="1372" y="1210"/>
                </a:moveTo>
                <a:lnTo>
                  <a:pt x="1565" y="1210"/>
                </a:lnTo>
                <a:lnTo>
                  <a:pt x="1153" y="1578"/>
                </a:lnTo>
                <a:lnTo>
                  <a:pt x="1144" y="1585"/>
                </a:lnTo>
                <a:lnTo>
                  <a:pt x="1135" y="1590"/>
                </a:lnTo>
                <a:lnTo>
                  <a:pt x="1125" y="1596"/>
                </a:lnTo>
                <a:lnTo>
                  <a:pt x="1114" y="1601"/>
                </a:lnTo>
                <a:lnTo>
                  <a:pt x="1104" y="1604"/>
                </a:lnTo>
                <a:lnTo>
                  <a:pt x="1093" y="1606"/>
                </a:lnTo>
                <a:lnTo>
                  <a:pt x="1082" y="1607"/>
                </a:lnTo>
                <a:lnTo>
                  <a:pt x="1072" y="1608"/>
                </a:lnTo>
                <a:lnTo>
                  <a:pt x="1060" y="1607"/>
                </a:lnTo>
                <a:lnTo>
                  <a:pt x="1049" y="1606"/>
                </a:lnTo>
                <a:lnTo>
                  <a:pt x="1039" y="1604"/>
                </a:lnTo>
                <a:lnTo>
                  <a:pt x="1033" y="1603"/>
                </a:lnTo>
                <a:lnTo>
                  <a:pt x="1028" y="1601"/>
                </a:lnTo>
                <a:lnTo>
                  <a:pt x="1018" y="1596"/>
                </a:lnTo>
                <a:lnTo>
                  <a:pt x="1009" y="1590"/>
                </a:lnTo>
                <a:lnTo>
                  <a:pt x="999" y="1585"/>
                </a:lnTo>
                <a:lnTo>
                  <a:pt x="990" y="1578"/>
                </a:lnTo>
                <a:lnTo>
                  <a:pt x="975" y="1564"/>
                </a:lnTo>
                <a:lnTo>
                  <a:pt x="1372" y="1210"/>
                </a:lnTo>
                <a:close/>
                <a:moveTo>
                  <a:pt x="476" y="1070"/>
                </a:moveTo>
                <a:lnTo>
                  <a:pt x="478" y="1064"/>
                </a:lnTo>
                <a:lnTo>
                  <a:pt x="479" y="1056"/>
                </a:lnTo>
                <a:lnTo>
                  <a:pt x="481" y="1049"/>
                </a:lnTo>
                <a:lnTo>
                  <a:pt x="484" y="1042"/>
                </a:lnTo>
                <a:lnTo>
                  <a:pt x="487" y="1035"/>
                </a:lnTo>
                <a:lnTo>
                  <a:pt x="491" y="1030"/>
                </a:lnTo>
                <a:lnTo>
                  <a:pt x="494" y="1025"/>
                </a:lnTo>
                <a:lnTo>
                  <a:pt x="499" y="1020"/>
                </a:lnTo>
                <a:lnTo>
                  <a:pt x="505" y="1016"/>
                </a:lnTo>
                <a:lnTo>
                  <a:pt x="509" y="1012"/>
                </a:lnTo>
                <a:lnTo>
                  <a:pt x="515" y="1008"/>
                </a:lnTo>
                <a:lnTo>
                  <a:pt x="520" y="1006"/>
                </a:lnTo>
                <a:lnTo>
                  <a:pt x="527" y="1004"/>
                </a:lnTo>
                <a:lnTo>
                  <a:pt x="533" y="1003"/>
                </a:lnTo>
                <a:lnTo>
                  <a:pt x="539" y="1002"/>
                </a:lnTo>
                <a:lnTo>
                  <a:pt x="546" y="1002"/>
                </a:lnTo>
                <a:lnTo>
                  <a:pt x="999" y="1002"/>
                </a:lnTo>
                <a:lnTo>
                  <a:pt x="1451" y="1002"/>
                </a:lnTo>
                <a:lnTo>
                  <a:pt x="975" y="577"/>
                </a:lnTo>
                <a:lnTo>
                  <a:pt x="990" y="564"/>
                </a:lnTo>
                <a:lnTo>
                  <a:pt x="999" y="557"/>
                </a:lnTo>
                <a:lnTo>
                  <a:pt x="1009" y="550"/>
                </a:lnTo>
                <a:lnTo>
                  <a:pt x="1018" y="546"/>
                </a:lnTo>
                <a:lnTo>
                  <a:pt x="1028" y="541"/>
                </a:lnTo>
                <a:lnTo>
                  <a:pt x="1039" y="538"/>
                </a:lnTo>
                <a:lnTo>
                  <a:pt x="1049" y="536"/>
                </a:lnTo>
                <a:lnTo>
                  <a:pt x="1060" y="534"/>
                </a:lnTo>
                <a:lnTo>
                  <a:pt x="1072" y="533"/>
                </a:lnTo>
                <a:lnTo>
                  <a:pt x="1082" y="534"/>
                </a:lnTo>
                <a:lnTo>
                  <a:pt x="1093" y="536"/>
                </a:lnTo>
                <a:lnTo>
                  <a:pt x="1104" y="538"/>
                </a:lnTo>
                <a:lnTo>
                  <a:pt x="1109" y="539"/>
                </a:lnTo>
                <a:lnTo>
                  <a:pt x="1114" y="541"/>
                </a:lnTo>
                <a:lnTo>
                  <a:pt x="1125" y="546"/>
                </a:lnTo>
                <a:lnTo>
                  <a:pt x="1135" y="550"/>
                </a:lnTo>
                <a:lnTo>
                  <a:pt x="1144" y="557"/>
                </a:lnTo>
                <a:lnTo>
                  <a:pt x="1153" y="564"/>
                </a:lnTo>
                <a:lnTo>
                  <a:pt x="1629" y="988"/>
                </a:lnTo>
                <a:lnTo>
                  <a:pt x="1637" y="996"/>
                </a:lnTo>
                <a:lnTo>
                  <a:pt x="1643" y="1004"/>
                </a:lnTo>
                <a:lnTo>
                  <a:pt x="1650" y="1013"/>
                </a:lnTo>
                <a:lnTo>
                  <a:pt x="1655" y="1023"/>
                </a:lnTo>
                <a:lnTo>
                  <a:pt x="1657" y="1028"/>
                </a:lnTo>
                <a:lnTo>
                  <a:pt x="1659" y="1032"/>
                </a:lnTo>
                <a:lnTo>
                  <a:pt x="1662" y="1042"/>
                </a:lnTo>
                <a:lnTo>
                  <a:pt x="1665" y="1053"/>
                </a:lnTo>
                <a:lnTo>
                  <a:pt x="1666" y="1064"/>
                </a:lnTo>
                <a:lnTo>
                  <a:pt x="1666" y="1071"/>
                </a:lnTo>
                <a:lnTo>
                  <a:pt x="1665" y="1080"/>
                </a:lnTo>
                <a:lnTo>
                  <a:pt x="1664" y="1087"/>
                </a:lnTo>
                <a:lnTo>
                  <a:pt x="1661" y="1095"/>
                </a:lnTo>
                <a:lnTo>
                  <a:pt x="1658" y="1102"/>
                </a:lnTo>
                <a:lnTo>
                  <a:pt x="1655" y="1109"/>
                </a:lnTo>
                <a:lnTo>
                  <a:pt x="1650" y="1114"/>
                </a:lnTo>
                <a:lnTo>
                  <a:pt x="1646" y="1120"/>
                </a:lnTo>
                <a:lnTo>
                  <a:pt x="1643" y="1122"/>
                </a:lnTo>
                <a:lnTo>
                  <a:pt x="1641" y="1124"/>
                </a:lnTo>
                <a:lnTo>
                  <a:pt x="1635" y="1129"/>
                </a:lnTo>
                <a:lnTo>
                  <a:pt x="1630" y="1132"/>
                </a:lnTo>
                <a:lnTo>
                  <a:pt x="1624" y="1136"/>
                </a:lnTo>
                <a:lnTo>
                  <a:pt x="1617" y="1138"/>
                </a:lnTo>
                <a:lnTo>
                  <a:pt x="1611" y="1139"/>
                </a:lnTo>
                <a:lnTo>
                  <a:pt x="1604" y="1140"/>
                </a:lnTo>
                <a:lnTo>
                  <a:pt x="1596" y="1141"/>
                </a:lnTo>
                <a:lnTo>
                  <a:pt x="1071" y="1141"/>
                </a:lnTo>
                <a:lnTo>
                  <a:pt x="546" y="1141"/>
                </a:lnTo>
                <a:lnTo>
                  <a:pt x="539" y="1140"/>
                </a:lnTo>
                <a:lnTo>
                  <a:pt x="533" y="1139"/>
                </a:lnTo>
                <a:lnTo>
                  <a:pt x="527" y="1138"/>
                </a:lnTo>
                <a:lnTo>
                  <a:pt x="520" y="1136"/>
                </a:lnTo>
                <a:lnTo>
                  <a:pt x="515" y="1133"/>
                </a:lnTo>
                <a:lnTo>
                  <a:pt x="509" y="1130"/>
                </a:lnTo>
                <a:lnTo>
                  <a:pt x="505" y="1127"/>
                </a:lnTo>
                <a:lnTo>
                  <a:pt x="499" y="1122"/>
                </a:lnTo>
                <a:lnTo>
                  <a:pt x="494" y="1118"/>
                </a:lnTo>
                <a:lnTo>
                  <a:pt x="491" y="1113"/>
                </a:lnTo>
                <a:lnTo>
                  <a:pt x="488" y="1109"/>
                </a:lnTo>
                <a:lnTo>
                  <a:pt x="484" y="1103"/>
                </a:lnTo>
                <a:lnTo>
                  <a:pt x="481" y="1097"/>
                </a:lnTo>
                <a:lnTo>
                  <a:pt x="480" y="1091"/>
                </a:lnTo>
                <a:lnTo>
                  <a:pt x="478" y="1085"/>
                </a:lnTo>
                <a:lnTo>
                  <a:pt x="476" y="1078"/>
                </a:lnTo>
                <a:lnTo>
                  <a:pt x="476" y="1070"/>
                </a:lnTo>
                <a:close/>
                <a:moveTo>
                  <a:pt x="1072" y="2142"/>
                </a:moveTo>
                <a:lnTo>
                  <a:pt x="1044" y="2142"/>
                </a:lnTo>
                <a:lnTo>
                  <a:pt x="1017" y="2141"/>
                </a:lnTo>
                <a:lnTo>
                  <a:pt x="988" y="2139"/>
                </a:lnTo>
                <a:lnTo>
                  <a:pt x="961" y="2136"/>
                </a:lnTo>
                <a:lnTo>
                  <a:pt x="936" y="2133"/>
                </a:lnTo>
                <a:lnTo>
                  <a:pt x="909" y="2130"/>
                </a:lnTo>
                <a:lnTo>
                  <a:pt x="882" y="2125"/>
                </a:lnTo>
                <a:lnTo>
                  <a:pt x="856" y="2121"/>
                </a:lnTo>
                <a:lnTo>
                  <a:pt x="830" y="2115"/>
                </a:lnTo>
                <a:lnTo>
                  <a:pt x="804" y="2108"/>
                </a:lnTo>
                <a:lnTo>
                  <a:pt x="778" y="2101"/>
                </a:lnTo>
                <a:lnTo>
                  <a:pt x="753" y="2094"/>
                </a:lnTo>
                <a:lnTo>
                  <a:pt x="728" y="2086"/>
                </a:lnTo>
                <a:lnTo>
                  <a:pt x="704" y="2077"/>
                </a:lnTo>
                <a:lnTo>
                  <a:pt x="679" y="2068"/>
                </a:lnTo>
                <a:lnTo>
                  <a:pt x="654" y="2058"/>
                </a:lnTo>
                <a:lnTo>
                  <a:pt x="631" y="2047"/>
                </a:lnTo>
                <a:lnTo>
                  <a:pt x="607" y="2036"/>
                </a:lnTo>
                <a:lnTo>
                  <a:pt x="584" y="2025"/>
                </a:lnTo>
                <a:lnTo>
                  <a:pt x="561" y="2013"/>
                </a:lnTo>
                <a:lnTo>
                  <a:pt x="538" y="2000"/>
                </a:lnTo>
                <a:lnTo>
                  <a:pt x="516" y="1987"/>
                </a:lnTo>
                <a:lnTo>
                  <a:pt x="494" y="1973"/>
                </a:lnTo>
                <a:lnTo>
                  <a:pt x="473" y="1959"/>
                </a:lnTo>
                <a:lnTo>
                  <a:pt x="452" y="1944"/>
                </a:lnTo>
                <a:lnTo>
                  <a:pt x="431" y="1929"/>
                </a:lnTo>
                <a:lnTo>
                  <a:pt x="410" y="1913"/>
                </a:lnTo>
                <a:lnTo>
                  <a:pt x="391" y="1898"/>
                </a:lnTo>
                <a:lnTo>
                  <a:pt x="371" y="1881"/>
                </a:lnTo>
                <a:lnTo>
                  <a:pt x="351" y="1864"/>
                </a:lnTo>
                <a:lnTo>
                  <a:pt x="332" y="1846"/>
                </a:lnTo>
                <a:lnTo>
                  <a:pt x="314" y="1828"/>
                </a:lnTo>
                <a:lnTo>
                  <a:pt x="296" y="1810"/>
                </a:lnTo>
                <a:lnTo>
                  <a:pt x="278" y="1791"/>
                </a:lnTo>
                <a:lnTo>
                  <a:pt x="261" y="1772"/>
                </a:lnTo>
                <a:lnTo>
                  <a:pt x="245" y="1751"/>
                </a:lnTo>
                <a:lnTo>
                  <a:pt x="229" y="1732"/>
                </a:lnTo>
                <a:lnTo>
                  <a:pt x="213" y="1712"/>
                </a:lnTo>
                <a:lnTo>
                  <a:pt x="198" y="1691"/>
                </a:lnTo>
                <a:lnTo>
                  <a:pt x="184" y="1669"/>
                </a:lnTo>
                <a:lnTo>
                  <a:pt x="169" y="1648"/>
                </a:lnTo>
                <a:lnTo>
                  <a:pt x="156" y="1626"/>
                </a:lnTo>
                <a:lnTo>
                  <a:pt x="142" y="1604"/>
                </a:lnTo>
                <a:lnTo>
                  <a:pt x="130" y="1581"/>
                </a:lnTo>
                <a:lnTo>
                  <a:pt x="117" y="1558"/>
                </a:lnTo>
                <a:lnTo>
                  <a:pt x="106" y="1535"/>
                </a:lnTo>
                <a:lnTo>
                  <a:pt x="95" y="1512"/>
                </a:lnTo>
                <a:lnTo>
                  <a:pt x="85" y="1488"/>
                </a:lnTo>
                <a:lnTo>
                  <a:pt x="75" y="1463"/>
                </a:lnTo>
                <a:lnTo>
                  <a:pt x="66" y="1438"/>
                </a:lnTo>
                <a:lnTo>
                  <a:pt x="57" y="1414"/>
                </a:lnTo>
                <a:lnTo>
                  <a:pt x="49" y="1389"/>
                </a:lnTo>
                <a:lnTo>
                  <a:pt x="41" y="1364"/>
                </a:lnTo>
                <a:lnTo>
                  <a:pt x="34" y="1338"/>
                </a:lnTo>
                <a:lnTo>
                  <a:pt x="27" y="1312"/>
                </a:lnTo>
                <a:lnTo>
                  <a:pt x="22" y="1286"/>
                </a:lnTo>
                <a:lnTo>
                  <a:pt x="17" y="1261"/>
                </a:lnTo>
                <a:lnTo>
                  <a:pt x="13" y="1234"/>
                </a:lnTo>
                <a:lnTo>
                  <a:pt x="9" y="1208"/>
                </a:lnTo>
                <a:lnTo>
                  <a:pt x="6" y="1181"/>
                </a:lnTo>
                <a:lnTo>
                  <a:pt x="4" y="1154"/>
                </a:lnTo>
                <a:lnTo>
                  <a:pt x="2" y="1125"/>
                </a:lnTo>
                <a:lnTo>
                  <a:pt x="0" y="1098"/>
                </a:lnTo>
                <a:lnTo>
                  <a:pt x="0" y="1070"/>
                </a:lnTo>
                <a:lnTo>
                  <a:pt x="0" y="1043"/>
                </a:lnTo>
                <a:lnTo>
                  <a:pt x="2" y="1016"/>
                </a:lnTo>
                <a:lnTo>
                  <a:pt x="4" y="988"/>
                </a:lnTo>
                <a:lnTo>
                  <a:pt x="6" y="961"/>
                </a:lnTo>
                <a:lnTo>
                  <a:pt x="9" y="934"/>
                </a:lnTo>
                <a:lnTo>
                  <a:pt x="13" y="908"/>
                </a:lnTo>
                <a:lnTo>
                  <a:pt x="17" y="881"/>
                </a:lnTo>
                <a:lnTo>
                  <a:pt x="22" y="855"/>
                </a:lnTo>
                <a:lnTo>
                  <a:pt x="27" y="829"/>
                </a:lnTo>
                <a:lnTo>
                  <a:pt x="34" y="803"/>
                </a:lnTo>
                <a:lnTo>
                  <a:pt x="41" y="778"/>
                </a:lnTo>
                <a:lnTo>
                  <a:pt x="49" y="753"/>
                </a:lnTo>
                <a:lnTo>
                  <a:pt x="57" y="728"/>
                </a:lnTo>
                <a:lnTo>
                  <a:pt x="66" y="703"/>
                </a:lnTo>
                <a:lnTo>
                  <a:pt x="75" y="679"/>
                </a:lnTo>
                <a:lnTo>
                  <a:pt x="85" y="654"/>
                </a:lnTo>
                <a:lnTo>
                  <a:pt x="95" y="630"/>
                </a:lnTo>
                <a:lnTo>
                  <a:pt x="106" y="606"/>
                </a:lnTo>
                <a:lnTo>
                  <a:pt x="117" y="584"/>
                </a:lnTo>
                <a:lnTo>
                  <a:pt x="130" y="560"/>
                </a:lnTo>
                <a:lnTo>
                  <a:pt x="142" y="538"/>
                </a:lnTo>
                <a:lnTo>
                  <a:pt x="156" y="515"/>
                </a:lnTo>
                <a:lnTo>
                  <a:pt x="169" y="494"/>
                </a:lnTo>
                <a:lnTo>
                  <a:pt x="184" y="473"/>
                </a:lnTo>
                <a:lnTo>
                  <a:pt x="198" y="451"/>
                </a:lnTo>
                <a:lnTo>
                  <a:pt x="213" y="430"/>
                </a:lnTo>
                <a:lnTo>
                  <a:pt x="229" y="409"/>
                </a:lnTo>
                <a:lnTo>
                  <a:pt x="245" y="389"/>
                </a:lnTo>
                <a:lnTo>
                  <a:pt x="261" y="370"/>
                </a:lnTo>
                <a:lnTo>
                  <a:pt x="278" y="351"/>
                </a:lnTo>
                <a:lnTo>
                  <a:pt x="296" y="332"/>
                </a:lnTo>
                <a:lnTo>
                  <a:pt x="314" y="314"/>
                </a:lnTo>
                <a:lnTo>
                  <a:pt x="332" y="296"/>
                </a:lnTo>
                <a:lnTo>
                  <a:pt x="351" y="278"/>
                </a:lnTo>
                <a:lnTo>
                  <a:pt x="371" y="261"/>
                </a:lnTo>
                <a:lnTo>
                  <a:pt x="391" y="244"/>
                </a:lnTo>
                <a:lnTo>
                  <a:pt x="410" y="228"/>
                </a:lnTo>
                <a:lnTo>
                  <a:pt x="431" y="212"/>
                </a:lnTo>
                <a:lnTo>
                  <a:pt x="452" y="198"/>
                </a:lnTo>
                <a:lnTo>
                  <a:pt x="473" y="183"/>
                </a:lnTo>
                <a:lnTo>
                  <a:pt x="494" y="169"/>
                </a:lnTo>
                <a:lnTo>
                  <a:pt x="516" y="155"/>
                </a:lnTo>
                <a:lnTo>
                  <a:pt x="538" y="142"/>
                </a:lnTo>
                <a:lnTo>
                  <a:pt x="561" y="129"/>
                </a:lnTo>
                <a:lnTo>
                  <a:pt x="584" y="117"/>
                </a:lnTo>
                <a:lnTo>
                  <a:pt x="607" y="106"/>
                </a:lnTo>
                <a:lnTo>
                  <a:pt x="631" y="94"/>
                </a:lnTo>
                <a:lnTo>
                  <a:pt x="654" y="84"/>
                </a:lnTo>
                <a:lnTo>
                  <a:pt x="679" y="74"/>
                </a:lnTo>
                <a:lnTo>
                  <a:pt x="704" y="65"/>
                </a:lnTo>
                <a:lnTo>
                  <a:pt x="728" y="56"/>
                </a:lnTo>
                <a:lnTo>
                  <a:pt x="753" y="48"/>
                </a:lnTo>
                <a:lnTo>
                  <a:pt x="778" y="40"/>
                </a:lnTo>
                <a:lnTo>
                  <a:pt x="804" y="33"/>
                </a:lnTo>
                <a:lnTo>
                  <a:pt x="830" y="27"/>
                </a:lnTo>
                <a:lnTo>
                  <a:pt x="856" y="21"/>
                </a:lnTo>
                <a:lnTo>
                  <a:pt x="882" y="17"/>
                </a:lnTo>
                <a:lnTo>
                  <a:pt x="909" y="12"/>
                </a:lnTo>
                <a:lnTo>
                  <a:pt x="936" y="8"/>
                </a:lnTo>
                <a:lnTo>
                  <a:pt x="961" y="5"/>
                </a:lnTo>
                <a:lnTo>
                  <a:pt x="988" y="3"/>
                </a:lnTo>
                <a:lnTo>
                  <a:pt x="1017" y="1"/>
                </a:lnTo>
                <a:lnTo>
                  <a:pt x="1044" y="0"/>
                </a:lnTo>
                <a:lnTo>
                  <a:pt x="1072" y="0"/>
                </a:lnTo>
                <a:lnTo>
                  <a:pt x="1099" y="0"/>
                </a:lnTo>
                <a:lnTo>
                  <a:pt x="1126" y="1"/>
                </a:lnTo>
                <a:lnTo>
                  <a:pt x="1154" y="3"/>
                </a:lnTo>
                <a:lnTo>
                  <a:pt x="1181" y="5"/>
                </a:lnTo>
                <a:lnTo>
                  <a:pt x="1208" y="8"/>
                </a:lnTo>
                <a:lnTo>
                  <a:pt x="1234" y="12"/>
                </a:lnTo>
                <a:lnTo>
                  <a:pt x="1261" y="17"/>
                </a:lnTo>
                <a:lnTo>
                  <a:pt x="1287" y="21"/>
                </a:lnTo>
                <a:lnTo>
                  <a:pt x="1313" y="27"/>
                </a:lnTo>
                <a:lnTo>
                  <a:pt x="1338" y="33"/>
                </a:lnTo>
                <a:lnTo>
                  <a:pt x="1364" y="40"/>
                </a:lnTo>
                <a:lnTo>
                  <a:pt x="1389" y="48"/>
                </a:lnTo>
                <a:lnTo>
                  <a:pt x="1414" y="56"/>
                </a:lnTo>
                <a:lnTo>
                  <a:pt x="1439" y="65"/>
                </a:lnTo>
                <a:lnTo>
                  <a:pt x="1463" y="74"/>
                </a:lnTo>
                <a:lnTo>
                  <a:pt x="1488" y="84"/>
                </a:lnTo>
                <a:lnTo>
                  <a:pt x="1512" y="94"/>
                </a:lnTo>
                <a:lnTo>
                  <a:pt x="1535" y="106"/>
                </a:lnTo>
                <a:lnTo>
                  <a:pt x="1558" y="117"/>
                </a:lnTo>
                <a:lnTo>
                  <a:pt x="1581" y="129"/>
                </a:lnTo>
                <a:lnTo>
                  <a:pt x="1604" y="142"/>
                </a:lnTo>
                <a:lnTo>
                  <a:pt x="1626" y="155"/>
                </a:lnTo>
                <a:lnTo>
                  <a:pt x="1648" y="169"/>
                </a:lnTo>
                <a:lnTo>
                  <a:pt x="1669" y="183"/>
                </a:lnTo>
                <a:lnTo>
                  <a:pt x="1691" y="198"/>
                </a:lnTo>
                <a:lnTo>
                  <a:pt x="1712" y="212"/>
                </a:lnTo>
                <a:lnTo>
                  <a:pt x="1732" y="228"/>
                </a:lnTo>
                <a:lnTo>
                  <a:pt x="1753" y="244"/>
                </a:lnTo>
                <a:lnTo>
                  <a:pt x="1772" y="261"/>
                </a:lnTo>
                <a:lnTo>
                  <a:pt x="1791" y="278"/>
                </a:lnTo>
                <a:lnTo>
                  <a:pt x="1810" y="296"/>
                </a:lnTo>
                <a:lnTo>
                  <a:pt x="1828" y="314"/>
                </a:lnTo>
                <a:lnTo>
                  <a:pt x="1846" y="332"/>
                </a:lnTo>
                <a:lnTo>
                  <a:pt x="1864" y="351"/>
                </a:lnTo>
                <a:lnTo>
                  <a:pt x="1881" y="370"/>
                </a:lnTo>
                <a:lnTo>
                  <a:pt x="1898" y="389"/>
                </a:lnTo>
                <a:lnTo>
                  <a:pt x="1913" y="409"/>
                </a:lnTo>
                <a:lnTo>
                  <a:pt x="1929" y="430"/>
                </a:lnTo>
                <a:lnTo>
                  <a:pt x="1944" y="451"/>
                </a:lnTo>
                <a:lnTo>
                  <a:pt x="1958" y="473"/>
                </a:lnTo>
                <a:lnTo>
                  <a:pt x="1973" y="494"/>
                </a:lnTo>
                <a:lnTo>
                  <a:pt x="1987" y="515"/>
                </a:lnTo>
                <a:lnTo>
                  <a:pt x="2000" y="538"/>
                </a:lnTo>
                <a:lnTo>
                  <a:pt x="2012" y="560"/>
                </a:lnTo>
                <a:lnTo>
                  <a:pt x="2025" y="584"/>
                </a:lnTo>
                <a:lnTo>
                  <a:pt x="2036" y="606"/>
                </a:lnTo>
                <a:lnTo>
                  <a:pt x="2047" y="630"/>
                </a:lnTo>
                <a:lnTo>
                  <a:pt x="2057" y="654"/>
                </a:lnTo>
                <a:lnTo>
                  <a:pt x="2068" y="679"/>
                </a:lnTo>
                <a:lnTo>
                  <a:pt x="2077" y="703"/>
                </a:lnTo>
                <a:lnTo>
                  <a:pt x="2086" y="728"/>
                </a:lnTo>
                <a:lnTo>
                  <a:pt x="2093" y="753"/>
                </a:lnTo>
                <a:lnTo>
                  <a:pt x="2101" y="778"/>
                </a:lnTo>
                <a:lnTo>
                  <a:pt x="2108" y="803"/>
                </a:lnTo>
                <a:lnTo>
                  <a:pt x="2115" y="829"/>
                </a:lnTo>
                <a:lnTo>
                  <a:pt x="2121" y="855"/>
                </a:lnTo>
                <a:lnTo>
                  <a:pt x="2125" y="881"/>
                </a:lnTo>
                <a:lnTo>
                  <a:pt x="2130" y="908"/>
                </a:lnTo>
                <a:lnTo>
                  <a:pt x="2134" y="934"/>
                </a:lnTo>
                <a:lnTo>
                  <a:pt x="2136" y="961"/>
                </a:lnTo>
                <a:lnTo>
                  <a:pt x="2139" y="988"/>
                </a:lnTo>
                <a:lnTo>
                  <a:pt x="2141" y="1016"/>
                </a:lnTo>
                <a:lnTo>
                  <a:pt x="2142" y="1043"/>
                </a:lnTo>
                <a:lnTo>
                  <a:pt x="2142" y="1070"/>
                </a:lnTo>
                <a:lnTo>
                  <a:pt x="2142" y="1098"/>
                </a:lnTo>
                <a:lnTo>
                  <a:pt x="2141" y="1125"/>
                </a:lnTo>
                <a:lnTo>
                  <a:pt x="2139" y="1154"/>
                </a:lnTo>
                <a:lnTo>
                  <a:pt x="2136" y="1181"/>
                </a:lnTo>
                <a:lnTo>
                  <a:pt x="2134" y="1208"/>
                </a:lnTo>
                <a:lnTo>
                  <a:pt x="2130" y="1234"/>
                </a:lnTo>
                <a:lnTo>
                  <a:pt x="2125" y="1261"/>
                </a:lnTo>
                <a:lnTo>
                  <a:pt x="2121" y="1286"/>
                </a:lnTo>
                <a:lnTo>
                  <a:pt x="2115" y="1312"/>
                </a:lnTo>
                <a:lnTo>
                  <a:pt x="2108" y="1338"/>
                </a:lnTo>
                <a:lnTo>
                  <a:pt x="2101" y="1364"/>
                </a:lnTo>
                <a:lnTo>
                  <a:pt x="2093" y="1389"/>
                </a:lnTo>
                <a:lnTo>
                  <a:pt x="2086" y="1414"/>
                </a:lnTo>
                <a:lnTo>
                  <a:pt x="2077" y="1438"/>
                </a:lnTo>
                <a:lnTo>
                  <a:pt x="2068" y="1463"/>
                </a:lnTo>
                <a:lnTo>
                  <a:pt x="2057" y="1488"/>
                </a:lnTo>
                <a:lnTo>
                  <a:pt x="2047" y="1512"/>
                </a:lnTo>
                <a:lnTo>
                  <a:pt x="2036" y="1535"/>
                </a:lnTo>
                <a:lnTo>
                  <a:pt x="2025" y="1558"/>
                </a:lnTo>
                <a:lnTo>
                  <a:pt x="2012" y="1581"/>
                </a:lnTo>
                <a:lnTo>
                  <a:pt x="2000" y="1604"/>
                </a:lnTo>
                <a:lnTo>
                  <a:pt x="1987" y="1626"/>
                </a:lnTo>
                <a:lnTo>
                  <a:pt x="1973" y="1648"/>
                </a:lnTo>
                <a:lnTo>
                  <a:pt x="1958" y="1669"/>
                </a:lnTo>
                <a:lnTo>
                  <a:pt x="1944" y="1691"/>
                </a:lnTo>
                <a:lnTo>
                  <a:pt x="1929" y="1712"/>
                </a:lnTo>
                <a:lnTo>
                  <a:pt x="1913" y="1732"/>
                </a:lnTo>
                <a:lnTo>
                  <a:pt x="1898" y="1751"/>
                </a:lnTo>
                <a:lnTo>
                  <a:pt x="1881" y="1772"/>
                </a:lnTo>
                <a:lnTo>
                  <a:pt x="1864" y="1791"/>
                </a:lnTo>
                <a:lnTo>
                  <a:pt x="1846" y="1810"/>
                </a:lnTo>
                <a:lnTo>
                  <a:pt x="1828" y="1828"/>
                </a:lnTo>
                <a:lnTo>
                  <a:pt x="1810" y="1846"/>
                </a:lnTo>
                <a:lnTo>
                  <a:pt x="1791" y="1864"/>
                </a:lnTo>
                <a:lnTo>
                  <a:pt x="1772" y="1881"/>
                </a:lnTo>
                <a:lnTo>
                  <a:pt x="1753" y="1898"/>
                </a:lnTo>
                <a:lnTo>
                  <a:pt x="1732" y="1913"/>
                </a:lnTo>
                <a:lnTo>
                  <a:pt x="1712" y="1929"/>
                </a:lnTo>
                <a:lnTo>
                  <a:pt x="1691" y="1944"/>
                </a:lnTo>
                <a:lnTo>
                  <a:pt x="1669" y="1959"/>
                </a:lnTo>
                <a:lnTo>
                  <a:pt x="1648" y="1973"/>
                </a:lnTo>
                <a:lnTo>
                  <a:pt x="1626" y="1987"/>
                </a:lnTo>
                <a:lnTo>
                  <a:pt x="1604" y="2000"/>
                </a:lnTo>
                <a:lnTo>
                  <a:pt x="1581" y="2013"/>
                </a:lnTo>
                <a:lnTo>
                  <a:pt x="1558" y="2025"/>
                </a:lnTo>
                <a:lnTo>
                  <a:pt x="1535" y="2036"/>
                </a:lnTo>
                <a:lnTo>
                  <a:pt x="1512" y="2047"/>
                </a:lnTo>
                <a:lnTo>
                  <a:pt x="1488" y="2058"/>
                </a:lnTo>
                <a:lnTo>
                  <a:pt x="1463" y="2068"/>
                </a:lnTo>
                <a:lnTo>
                  <a:pt x="1439" y="2077"/>
                </a:lnTo>
                <a:lnTo>
                  <a:pt x="1414" y="2086"/>
                </a:lnTo>
                <a:lnTo>
                  <a:pt x="1389" y="2094"/>
                </a:lnTo>
                <a:lnTo>
                  <a:pt x="1364" y="2101"/>
                </a:lnTo>
                <a:lnTo>
                  <a:pt x="1338" y="2108"/>
                </a:lnTo>
                <a:lnTo>
                  <a:pt x="1313" y="2115"/>
                </a:lnTo>
                <a:lnTo>
                  <a:pt x="1287" y="2121"/>
                </a:lnTo>
                <a:lnTo>
                  <a:pt x="1261" y="2125"/>
                </a:lnTo>
                <a:lnTo>
                  <a:pt x="1234" y="2130"/>
                </a:lnTo>
                <a:lnTo>
                  <a:pt x="1208" y="2133"/>
                </a:lnTo>
                <a:lnTo>
                  <a:pt x="1181" y="2136"/>
                </a:lnTo>
                <a:lnTo>
                  <a:pt x="1154" y="2139"/>
                </a:lnTo>
                <a:lnTo>
                  <a:pt x="1126" y="2141"/>
                </a:lnTo>
                <a:lnTo>
                  <a:pt x="1099" y="2142"/>
                </a:lnTo>
                <a:lnTo>
                  <a:pt x="1072" y="2142"/>
                </a:lnTo>
                <a:close/>
                <a:moveTo>
                  <a:pt x="1072" y="103"/>
                </a:moveTo>
                <a:lnTo>
                  <a:pt x="1046" y="103"/>
                </a:lnTo>
                <a:lnTo>
                  <a:pt x="1021" y="104"/>
                </a:lnTo>
                <a:lnTo>
                  <a:pt x="997" y="106"/>
                </a:lnTo>
                <a:lnTo>
                  <a:pt x="973" y="108"/>
                </a:lnTo>
                <a:lnTo>
                  <a:pt x="948" y="110"/>
                </a:lnTo>
                <a:lnTo>
                  <a:pt x="924" y="113"/>
                </a:lnTo>
                <a:lnTo>
                  <a:pt x="901" y="118"/>
                </a:lnTo>
                <a:lnTo>
                  <a:pt x="876" y="122"/>
                </a:lnTo>
                <a:lnTo>
                  <a:pt x="853" y="128"/>
                </a:lnTo>
                <a:lnTo>
                  <a:pt x="830" y="134"/>
                </a:lnTo>
                <a:lnTo>
                  <a:pt x="806" y="139"/>
                </a:lnTo>
                <a:lnTo>
                  <a:pt x="784" y="146"/>
                </a:lnTo>
                <a:lnTo>
                  <a:pt x="761" y="154"/>
                </a:lnTo>
                <a:lnTo>
                  <a:pt x="739" y="162"/>
                </a:lnTo>
                <a:lnTo>
                  <a:pt x="717" y="170"/>
                </a:lnTo>
                <a:lnTo>
                  <a:pt x="695" y="179"/>
                </a:lnTo>
                <a:lnTo>
                  <a:pt x="673" y="189"/>
                </a:lnTo>
                <a:lnTo>
                  <a:pt x="652" y="198"/>
                </a:lnTo>
                <a:lnTo>
                  <a:pt x="631" y="209"/>
                </a:lnTo>
                <a:lnTo>
                  <a:pt x="610" y="219"/>
                </a:lnTo>
                <a:lnTo>
                  <a:pt x="590" y="232"/>
                </a:lnTo>
                <a:lnTo>
                  <a:pt x="570" y="243"/>
                </a:lnTo>
                <a:lnTo>
                  <a:pt x="550" y="255"/>
                </a:lnTo>
                <a:lnTo>
                  <a:pt x="530" y="269"/>
                </a:lnTo>
                <a:lnTo>
                  <a:pt x="511" y="281"/>
                </a:lnTo>
                <a:lnTo>
                  <a:pt x="492" y="296"/>
                </a:lnTo>
                <a:lnTo>
                  <a:pt x="474" y="309"/>
                </a:lnTo>
                <a:lnTo>
                  <a:pt x="456" y="324"/>
                </a:lnTo>
                <a:lnTo>
                  <a:pt x="438" y="340"/>
                </a:lnTo>
                <a:lnTo>
                  <a:pt x="421" y="354"/>
                </a:lnTo>
                <a:lnTo>
                  <a:pt x="404" y="370"/>
                </a:lnTo>
                <a:lnTo>
                  <a:pt x="388" y="387"/>
                </a:lnTo>
                <a:lnTo>
                  <a:pt x="371" y="403"/>
                </a:lnTo>
                <a:lnTo>
                  <a:pt x="355" y="421"/>
                </a:lnTo>
                <a:lnTo>
                  <a:pt x="340" y="438"/>
                </a:lnTo>
                <a:lnTo>
                  <a:pt x="324" y="456"/>
                </a:lnTo>
                <a:lnTo>
                  <a:pt x="310" y="474"/>
                </a:lnTo>
                <a:lnTo>
                  <a:pt x="296" y="492"/>
                </a:lnTo>
                <a:lnTo>
                  <a:pt x="283" y="511"/>
                </a:lnTo>
                <a:lnTo>
                  <a:pt x="269" y="530"/>
                </a:lnTo>
                <a:lnTo>
                  <a:pt x="256" y="549"/>
                </a:lnTo>
                <a:lnTo>
                  <a:pt x="243" y="569"/>
                </a:lnTo>
                <a:lnTo>
                  <a:pt x="232" y="590"/>
                </a:lnTo>
                <a:lnTo>
                  <a:pt x="221" y="610"/>
                </a:lnTo>
                <a:lnTo>
                  <a:pt x="210" y="630"/>
                </a:lnTo>
                <a:lnTo>
                  <a:pt x="200" y="652"/>
                </a:lnTo>
                <a:lnTo>
                  <a:pt x="189" y="673"/>
                </a:lnTo>
                <a:lnTo>
                  <a:pt x="179" y="694"/>
                </a:lnTo>
                <a:lnTo>
                  <a:pt x="170" y="716"/>
                </a:lnTo>
                <a:lnTo>
                  <a:pt x="162" y="738"/>
                </a:lnTo>
                <a:lnTo>
                  <a:pt x="155" y="761"/>
                </a:lnTo>
                <a:lnTo>
                  <a:pt x="147" y="783"/>
                </a:lnTo>
                <a:lnTo>
                  <a:pt x="140" y="806"/>
                </a:lnTo>
                <a:lnTo>
                  <a:pt x="134" y="829"/>
                </a:lnTo>
                <a:lnTo>
                  <a:pt x="129" y="853"/>
                </a:lnTo>
                <a:lnTo>
                  <a:pt x="123" y="876"/>
                </a:lnTo>
                <a:lnTo>
                  <a:pt x="119" y="899"/>
                </a:lnTo>
                <a:lnTo>
                  <a:pt x="115" y="924"/>
                </a:lnTo>
                <a:lnTo>
                  <a:pt x="112" y="948"/>
                </a:lnTo>
                <a:lnTo>
                  <a:pt x="108" y="972"/>
                </a:lnTo>
                <a:lnTo>
                  <a:pt x="106" y="996"/>
                </a:lnTo>
                <a:lnTo>
                  <a:pt x="105" y="1021"/>
                </a:lnTo>
                <a:lnTo>
                  <a:pt x="104" y="1046"/>
                </a:lnTo>
                <a:lnTo>
                  <a:pt x="104" y="1070"/>
                </a:lnTo>
                <a:lnTo>
                  <a:pt x="104" y="1096"/>
                </a:lnTo>
                <a:lnTo>
                  <a:pt x="105" y="1121"/>
                </a:lnTo>
                <a:lnTo>
                  <a:pt x="106" y="1146"/>
                </a:lnTo>
                <a:lnTo>
                  <a:pt x="108" y="1169"/>
                </a:lnTo>
                <a:lnTo>
                  <a:pt x="112" y="1194"/>
                </a:lnTo>
                <a:lnTo>
                  <a:pt x="115" y="1218"/>
                </a:lnTo>
                <a:lnTo>
                  <a:pt x="119" y="1241"/>
                </a:lnTo>
                <a:lnTo>
                  <a:pt x="123" y="1266"/>
                </a:lnTo>
                <a:lnTo>
                  <a:pt x="129" y="1289"/>
                </a:lnTo>
                <a:lnTo>
                  <a:pt x="134" y="1312"/>
                </a:lnTo>
                <a:lnTo>
                  <a:pt x="140" y="1336"/>
                </a:lnTo>
                <a:lnTo>
                  <a:pt x="147" y="1358"/>
                </a:lnTo>
                <a:lnTo>
                  <a:pt x="155" y="1381"/>
                </a:lnTo>
                <a:lnTo>
                  <a:pt x="162" y="1404"/>
                </a:lnTo>
                <a:lnTo>
                  <a:pt x="170" y="1425"/>
                </a:lnTo>
                <a:lnTo>
                  <a:pt x="179" y="1447"/>
                </a:lnTo>
                <a:lnTo>
                  <a:pt x="189" y="1469"/>
                </a:lnTo>
                <a:lnTo>
                  <a:pt x="200" y="1490"/>
                </a:lnTo>
                <a:lnTo>
                  <a:pt x="210" y="1512"/>
                </a:lnTo>
                <a:lnTo>
                  <a:pt x="221" y="1532"/>
                </a:lnTo>
                <a:lnTo>
                  <a:pt x="232" y="1552"/>
                </a:lnTo>
                <a:lnTo>
                  <a:pt x="243" y="1572"/>
                </a:lnTo>
                <a:lnTo>
                  <a:pt x="256" y="1593"/>
                </a:lnTo>
                <a:lnTo>
                  <a:pt x="269" y="1612"/>
                </a:lnTo>
                <a:lnTo>
                  <a:pt x="283" y="1631"/>
                </a:lnTo>
                <a:lnTo>
                  <a:pt x="296" y="1650"/>
                </a:lnTo>
                <a:lnTo>
                  <a:pt x="310" y="1668"/>
                </a:lnTo>
                <a:lnTo>
                  <a:pt x="324" y="1686"/>
                </a:lnTo>
                <a:lnTo>
                  <a:pt x="340" y="1704"/>
                </a:lnTo>
                <a:lnTo>
                  <a:pt x="355" y="1721"/>
                </a:lnTo>
                <a:lnTo>
                  <a:pt x="371" y="1738"/>
                </a:lnTo>
                <a:lnTo>
                  <a:pt x="388" y="1755"/>
                </a:lnTo>
                <a:lnTo>
                  <a:pt x="404" y="1772"/>
                </a:lnTo>
                <a:lnTo>
                  <a:pt x="421" y="1787"/>
                </a:lnTo>
                <a:lnTo>
                  <a:pt x="438" y="1802"/>
                </a:lnTo>
                <a:lnTo>
                  <a:pt x="456" y="1818"/>
                </a:lnTo>
                <a:lnTo>
                  <a:pt x="474" y="1832"/>
                </a:lnTo>
                <a:lnTo>
                  <a:pt x="492" y="1846"/>
                </a:lnTo>
                <a:lnTo>
                  <a:pt x="511" y="1859"/>
                </a:lnTo>
                <a:lnTo>
                  <a:pt x="530" y="1873"/>
                </a:lnTo>
                <a:lnTo>
                  <a:pt x="550" y="1886"/>
                </a:lnTo>
                <a:lnTo>
                  <a:pt x="570" y="1899"/>
                </a:lnTo>
                <a:lnTo>
                  <a:pt x="590" y="1910"/>
                </a:lnTo>
                <a:lnTo>
                  <a:pt x="610" y="1921"/>
                </a:lnTo>
                <a:lnTo>
                  <a:pt x="631" y="1933"/>
                </a:lnTo>
                <a:lnTo>
                  <a:pt x="652" y="1943"/>
                </a:lnTo>
                <a:lnTo>
                  <a:pt x="673" y="1953"/>
                </a:lnTo>
                <a:lnTo>
                  <a:pt x="695" y="1963"/>
                </a:lnTo>
                <a:lnTo>
                  <a:pt x="717" y="1972"/>
                </a:lnTo>
                <a:lnTo>
                  <a:pt x="739" y="1980"/>
                </a:lnTo>
                <a:lnTo>
                  <a:pt x="761" y="1988"/>
                </a:lnTo>
                <a:lnTo>
                  <a:pt x="784" y="1996"/>
                </a:lnTo>
                <a:lnTo>
                  <a:pt x="806" y="2002"/>
                </a:lnTo>
                <a:lnTo>
                  <a:pt x="830" y="2008"/>
                </a:lnTo>
                <a:lnTo>
                  <a:pt x="853" y="2014"/>
                </a:lnTo>
                <a:lnTo>
                  <a:pt x="876" y="2019"/>
                </a:lnTo>
                <a:lnTo>
                  <a:pt x="901" y="2024"/>
                </a:lnTo>
                <a:lnTo>
                  <a:pt x="924" y="2027"/>
                </a:lnTo>
                <a:lnTo>
                  <a:pt x="948" y="2031"/>
                </a:lnTo>
                <a:lnTo>
                  <a:pt x="973" y="2034"/>
                </a:lnTo>
                <a:lnTo>
                  <a:pt x="997" y="2036"/>
                </a:lnTo>
                <a:lnTo>
                  <a:pt x="1021" y="2037"/>
                </a:lnTo>
                <a:lnTo>
                  <a:pt x="1046" y="2038"/>
                </a:lnTo>
                <a:lnTo>
                  <a:pt x="1072" y="2038"/>
                </a:lnTo>
                <a:lnTo>
                  <a:pt x="1096" y="2038"/>
                </a:lnTo>
                <a:lnTo>
                  <a:pt x="1121" y="2037"/>
                </a:lnTo>
                <a:lnTo>
                  <a:pt x="1146" y="2036"/>
                </a:lnTo>
                <a:lnTo>
                  <a:pt x="1170" y="2034"/>
                </a:lnTo>
                <a:lnTo>
                  <a:pt x="1194" y="2031"/>
                </a:lnTo>
                <a:lnTo>
                  <a:pt x="1218" y="2027"/>
                </a:lnTo>
                <a:lnTo>
                  <a:pt x="1243" y="2024"/>
                </a:lnTo>
                <a:lnTo>
                  <a:pt x="1266" y="2019"/>
                </a:lnTo>
                <a:lnTo>
                  <a:pt x="1290" y="2014"/>
                </a:lnTo>
                <a:lnTo>
                  <a:pt x="1313" y="2008"/>
                </a:lnTo>
                <a:lnTo>
                  <a:pt x="1336" y="2002"/>
                </a:lnTo>
                <a:lnTo>
                  <a:pt x="1359" y="1996"/>
                </a:lnTo>
                <a:lnTo>
                  <a:pt x="1381" y="1988"/>
                </a:lnTo>
                <a:lnTo>
                  <a:pt x="1404" y="1980"/>
                </a:lnTo>
                <a:lnTo>
                  <a:pt x="1426" y="1972"/>
                </a:lnTo>
                <a:lnTo>
                  <a:pt x="1448" y="1963"/>
                </a:lnTo>
                <a:lnTo>
                  <a:pt x="1469" y="1953"/>
                </a:lnTo>
                <a:lnTo>
                  <a:pt x="1490" y="1943"/>
                </a:lnTo>
                <a:lnTo>
                  <a:pt x="1512" y="1933"/>
                </a:lnTo>
                <a:lnTo>
                  <a:pt x="1532" y="1921"/>
                </a:lnTo>
                <a:lnTo>
                  <a:pt x="1552" y="1910"/>
                </a:lnTo>
                <a:lnTo>
                  <a:pt x="1572" y="1899"/>
                </a:lnTo>
                <a:lnTo>
                  <a:pt x="1593" y="1886"/>
                </a:lnTo>
                <a:lnTo>
                  <a:pt x="1612" y="1873"/>
                </a:lnTo>
                <a:lnTo>
                  <a:pt x="1631" y="1859"/>
                </a:lnTo>
                <a:lnTo>
                  <a:pt x="1650" y="1846"/>
                </a:lnTo>
                <a:lnTo>
                  <a:pt x="1668" y="1832"/>
                </a:lnTo>
                <a:lnTo>
                  <a:pt x="1686" y="1818"/>
                </a:lnTo>
                <a:lnTo>
                  <a:pt x="1704" y="1802"/>
                </a:lnTo>
                <a:lnTo>
                  <a:pt x="1721" y="1787"/>
                </a:lnTo>
                <a:lnTo>
                  <a:pt x="1739" y="1772"/>
                </a:lnTo>
                <a:lnTo>
                  <a:pt x="1755" y="1755"/>
                </a:lnTo>
                <a:lnTo>
                  <a:pt x="1772" y="1738"/>
                </a:lnTo>
                <a:lnTo>
                  <a:pt x="1787" y="1721"/>
                </a:lnTo>
                <a:lnTo>
                  <a:pt x="1803" y="1704"/>
                </a:lnTo>
                <a:lnTo>
                  <a:pt x="1818" y="1686"/>
                </a:lnTo>
                <a:lnTo>
                  <a:pt x="1832" y="1668"/>
                </a:lnTo>
                <a:lnTo>
                  <a:pt x="1846" y="1650"/>
                </a:lnTo>
                <a:lnTo>
                  <a:pt x="1861" y="1631"/>
                </a:lnTo>
                <a:lnTo>
                  <a:pt x="1873" y="1612"/>
                </a:lnTo>
                <a:lnTo>
                  <a:pt x="1886" y="1593"/>
                </a:lnTo>
                <a:lnTo>
                  <a:pt x="1899" y="1572"/>
                </a:lnTo>
                <a:lnTo>
                  <a:pt x="1910" y="1552"/>
                </a:lnTo>
                <a:lnTo>
                  <a:pt x="1922" y="1532"/>
                </a:lnTo>
                <a:lnTo>
                  <a:pt x="1933" y="1512"/>
                </a:lnTo>
                <a:lnTo>
                  <a:pt x="1944" y="1490"/>
                </a:lnTo>
                <a:lnTo>
                  <a:pt x="1953" y="1469"/>
                </a:lnTo>
                <a:lnTo>
                  <a:pt x="1963" y="1447"/>
                </a:lnTo>
                <a:lnTo>
                  <a:pt x="1972" y="1425"/>
                </a:lnTo>
                <a:lnTo>
                  <a:pt x="1980" y="1404"/>
                </a:lnTo>
                <a:lnTo>
                  <a:pt x="1988" y="1381"/>
                </a:lnTo>
                <a:lnTo>
                  <a:pt x="1996" y="1358"/>
                </a:lnTo>
                <a:lnTo>
                  <a:pt x="2002" y="1336"/>
                </a:lnTo>
                <a:lnTo>
                  <a:pt x="2008" y="1312"/>
                </a:lnTo>
                <a:lnTo>
                  <a:pt x="2014" y="1289"/>
                </a:lnTo>
                <a:lnTo>
                  <a:pt x="2019" y="1266"/>
                </a:lnTo>
                <a:lnTo>
                  <a:pt x="2024" y="1241"/>
                </a:lnTo>
                <a:lnTo>
                  <a:pt x="2028" y="1218"/>
                </a:lnTo>
                <a:lnTo>
                  <a:pt x="2032" y="1194"/>
                </a:lnTo>
                <a:lnTo>
                  <a:pt x="2034" y="1169"/>
                </a:lnTo>
                <a:lnTo>
                  <a:pt x="2036" y="1146"/>
                </a:lnTo>
                <a:lnTo>
                  <a:pt x="2037" y="1121"/>
                </a:lnTo>
                <a:lnTo>
                  <a:pt x="2038" y="1096"/>
                </a:lnTo>
                <a:lnTo>
                  <a:pt x="2038" y="1070"/>
                </a:lnTo>
                <a:lnTo>
                  <a:pt x="2038" y="1046"/>
                </a:lnTo>
                <a:lnTo>
                  <a:pt x="2037" y="1021"/>
                </a:lnTo>
                <a:lnTo>
                  <a:pt x="2036" y="996"/>
                </a:lnTo>
                <a:lnTo>
                  <a:pt x="2034" y="972"/>
                </a:lnTo>
                <a:lnTo>
                  <a:pt x="2032" y="948"/>
                </a:lnTo>
                <a:lnTo>
                  <a:pt x="2028" y="924"/>
                </a:lnTo>
                <a:lnTo>
                  <a:pt x="2024" y="899"/>
                </a:lnTo>
                <a:lnTo>
                  <a:pt x="2019" y="876"/>
                </a:lnTo>
                <a:lnTo>
                  <a:pt x="2014" y="853"/>
                </a:lnTo>
                <a:lnTo>
                  <a:pt x="2008" y="829"/>
                </a:lnTo>
                <a:lnTo>
                  <a:pt x="2002" y="806"/>
                </a:lnTo>
                <a:lnTo>
                  <a:pt x="1996" y="783"/>
                </a:lnTo>
                <a:lnTo>
                  <a:pt x="1988" y="761"/>
                </a:lnTo>
                <a:lnTo>
                  <a:pt x="1980" y="738"/>
                </a:lnTo>
                <a:lnTo>
                  <a:pt x="1972" y="716"/>
                </a:lnTo>
                <a:lnTo>
                  <a:pt x="1963" y="694"/>
                </a:lnTo>
                <a:lnTo>
                  <a:pt x="1953" y="673"/>
                </a:lnTo>
                <a:lnTo>
                  <a:pt x="1944" y="652"/>
                </a:lnTo>
                <a:lnTo>
                  <a:pt x="1933" y="630"/>
                </a:lnTo>
                <a:lnTo>
                  <a:pt x="1922" y="610"/>
                </a:lnTo>
                <a:lnTo>
                  <a:pt x="1910" y="590"/>
                </a:lnTo>
                <a:lnTo>
                  <a:pt x="1899" y="569"/>
                </a:lnTo>
                <a:lnTo>
                  <a:pt x="1886" y="549"/>
                </a:lnTo>
                <a:lnTo>
                  <a:pt x="1873" y="530"/>
                </a:lnTo>
                <a:lnTo>
                  <a:pt x="1861" y="511"/>
                </a:lnTo>
                <a:lnTo>
                  <a:pt x="1846" y="492"/>
                </a:lnTo>
                <a:lnTo>
                  <a:pt x="1832" y="474"/>
                </a:lnTo>
                <a:lnTo>
                  <a:pt x="1818" y="456"/>
                </a:lnTo>
                <a:lnTo>
                  <a:pt x="1803" y="438"/>
                </a:lnTo>
                <a:lnTo>
                  <a:pt x="1787" y="421"/>
                </a:lnTo>
                <a:lnTo>
                  <a:pt x="1772" y="403"/>
                </a:lnTo>
                <a:lnTo>
                  <a:pt x="1755" y="387"/>
                </a:lnTo>
                <a:lnTo>
                  <a:pt x="1739" y="370"/>
                </a:lnTo>
                <a:lnTo>
                  <a:pt x="1721" y="354"/>
                </a:lnTo>
                <a:lnTo>
                  <a:pt x="1704" y="340"/>
                </a:lnTo>
                <a:lnTo>
                  <a:pt x="1686" y="324"/>
                </a:lnTo>
                <a:lnTo>
                  <a:pt x="1668" y="309"/>
                </a:lnTo>
                <a:lnTo>
                  <a:pt x="1650" y="296"/>
                </a:lnTo>
                <a:lnTo>
                  <a:pt x="1631" y="281"/>
                </a:lnTo>
                <a:lnTo>
                  <a:pt x="1612" y="269"/>
                </a:lnTo>
                <a:lnTo>
                  <a:pt x="1593" y="255"/>
                </a:lnTo>
                <a:lnTo>
                  <a:pt x="1572" y="243"/>
                </a:lnTo>
                <a:lnTo>
                  <a:pt x="1552" y="232"/>
                </a:lnTo>
                <a:lnTo>
                  <a:pt x="1532" y="219"/>
                </a:lnTo>
                <a:lnTo>
                  <a:pt x="1512" y="209"/>
                </a:lnTo>
                <a:lnTo>
                  <a:pt x="1490" y="198"/>
                </a:lnTo>
                <a:lnTo>
                  <a:pt x="1469" y="189"/>
                </a:lnTo>
                <a:lnTo>
                  <a:pt x="1448" y="179"/>
                </a:lnTo>
                <a:lnTo>
                  <a:pt x="1426" y="170"/>
                </a:lnTo>
                <a:lnTo>
                  <a:pt x="1404" y="162"/>
                </a:lnTo>
                <a:lnTo>
                  <a:pt x="1381" y="154"/>
                </a:lnTo>
                <a:lnTo>
                  <a:pt x="1359" y="146"/>
                </a:lnTo>
                <a:lnTo>
                  <a:pt x="1336" y="139"/>
                </a:lnTo>
                <a:lnTo>
                  <a:pt x="1313" y="134"/>
                </a:lnTo>
                <a:lnTo>
                  <a:pt x="1290" y="128"/>
                </a:lnTo>
                <a:lnTo>
                  <a:pt x="1266" y="122"/>
                </a:lnTo>
                <a:lnTo>
                  <a:pt x="1243" y="118"/>
                </a:lnTo>
                <a:lnTo>
                  <a:pt x="1218" y="113"/>
                </a:lnTo>
                <a:lnTo>
                  <a:pt x="1194" y="110"/>
                </a:lnTo>
                <a:lnTo>
                  <a:pt x="1170" y="108"/>
                </a:lnTo>
                <a:lnTo>
                  <a:pt x="1146" y="106"/>
                </a:lnTo>
                <a:lnTo>
                  <a:pt x="1121" y="104"/>
                </a:lnTo>
                <a:lnTo>
                  <a:pt x="1096" y="103"/>
                </a:lnTo>
                <a:lnTo>
                  <a:pt x="1072" y="103"/>
                </a:lnTo>
                <a:close/>
              </a:path>
            </a:pathLst>
          </a:custGeom>
          <a:no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13" name="Oval 12">
            <a:hlinkClick r:id="" action="ppaction://noaction"/>
            <a:extLst>
              <a:ext uri="{FF2B5EF4-FFF2-40B4-BE49-F238E27FC236}">
                <a16:creationId xmlns:a16="http://schemas.microsoft.com/office/drawing/2014/main" id="{D5E4454E-5B38-4330-B45F-50E2C147BBD1}"/>
              </a:ext>
            </a:extLst>
          </p:cNvPr>
          <p:cNvSpPr>
            <a:spLocks noChangeAspect="1"/>
          </p:cNvSpPr>
          <p:nvPr/>
        </p:nvSpPr>
        <p:spPr>
          <a:xfrm>
            <a:off x="40721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Oval 13">
            <a:hlinkClick r:id="" action="ppaction://noaction"/>
            <a:extLst>
              <a:ext uri="{FF2B5EF4-FFF2-40B4-BE49-F238E27FC236}">
                <a16:creationId xmlns:a16="http://schemas.microsoft.com/office/drawing/2014/main" id="{6EECBAA6-3BC3-47A5-B981-58AA23EA633A}"/>
              </a:ext>
            </a:extLst>
          </p:cNvPr>
          <p:cNvSpPr>
            <a:spLocks noChangeAspect="1"/>
          </p:cNvSpPr>
          <p:nvPr/>
        </p:nvSpPr>
        <p:spPr>
          <a:xfrm>
            <a:off x="55123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Oval 14">
            <a:hlinkClick r:id="" action="ppaction://noaction"/>
            <a:extLst>
              <a:ext uri="{FF2B5EF4-FFF2-40B4-BE49-F238E27FC236}">
                <a16:creationId xmlns:a16="http://schemas.microsoft.com/office/drawing/2014/main" id="{3B11A689-95E0-42C3-A74D-53EF13F88779}"/>
              </a:ext>
            </a:extLst>
          </p:cNvPr>
          <p:cNvSpPr>
            <a:spLocks noChangeAspect="1"/>
          </p:cNvSpPr>
          <p:nvPr/>
        </p:nvSpPr>
        <p:spPr>
          <a:xfrm>
            <a:off x="69525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Oval 15">
            <a:hlinkClick r:id="" action="ppaction://noaction"/>
            <a:extLst>
              <a:ext uri="{FF2B5EF4-FFF2-40B4-BE49-F238E27FC236}">
                <a16:creationId xmlns:a16="http://schemas.microsoft.com/office/drawing/2014/main" id="{03E6BAA1-ECE8-4F43-972C-EEB6941F88CF}"/>
              </a:ext>
            </a:extLst>
          </p:cNvPr>
          <p:cNvSpPr>
            <a:spLocks noChangeAspect="1"/>
          </p:cNvSpPr>
          <p:nvPr/>
        </p:nvSpPr>
        <p:spPr>
          <a:xfrm>
            <a:off x="839270" y="89377"/>
            <a:ext cx="108000" cy="108000"/>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Oval 16">
            <a:hlinkClick r:id="" action="ppaction://noaction"/>
            <a:extLst>
              <a:ext uri="{FF2B5EF4-FFF2-40B4-BE49-F238E27FC236}">
                <a16:creationId xmlns:a16="http://schemas.microsoft.com/office/drawing/2014/main" id="{90854E5E-F520-489F-836E-93169F89944F}"/>
              </a:ext>
            </a:extLst>
          </p:cNvPr>
          <p:cNvSpPr>
            <a:spLocks noChangeAspect="1"/>
          </p:cNvSpPr>
          <p:nvPr/>
        </p:nvSpPr>
        <p:spPr>
          <a:xfrm>
            <a:off x="98329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48726245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6AA0776-A662-463E-AA07-AD81C84093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1" name="Object 10" hidden="1">
                        <a:extLst>
                          <a:ext uri="{FF2B5EF4-FFF2-40B4-BE49-F238E27FC236}">
                            <a16:creationId xmlns:a16="http://schemas.microsoft.com/office/drawing/2014/main" id="{66AA0776-A662-463E-AA07-AD81C84093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4EADA0A2-BEE1-446C-B4FF-C84EE234AE9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9E9087F-8D29-4365-A1D1-C2092CC6B701}" type="datetime3">
              <a:rPr kumimoji="0" lang="en-US" sz="700" b="0" i="0" u="none" strike="noStrike" kern="1200" cap="none" spc="0" normalizeH="0" baseline="0" noProof="0" smtClean="0">
                <a:ln>
                  <a:noFill/>
                </a:ln>
                <a:solidFill>
                  <a:srgbClr val="0071B9"/>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 April 2022</a:t>
            </a:fld>
            <a:endParaRPr kumimoji="0" lang="en-US" sz="700" b="0" i="0" u="none" strike="noStrike" kern="1200" cap="none" spc="0" normalizeH="0" baseline="0" noProof="0">
              <a:ln>
                <a:noFill/>
              </a:ln>
              <a:solidFill>
                <a:srgbClr val="0071B9"/>
              </a:solidFill>
              <a:effectLst/>
              <a:uLnTx/>
              <a:uFillTx/>
              <a:latin typeface="Arial"/>
              <a:ea typeface="+mn-ea"/>
              <a:cs typeface="+mn-cs"/>
            </a:endParaRPr>
          </a:p>
        </p:txBody>
      </p:sp>
      <p:sp>
        <p:nvSpPr>
          <p:cNvPr id="3" name="Footer Placeholder 2">
            <a:extLst>
              <a:ext uri="{FF2B5EF4-FFF2-40B4-BE49-F238E27FC236}">
                <a16:creationId xmlns:a16="http://schemas.microsoft.com/office/drawing/2014/main" id="{79A98E0A-C88C-4028-A91D-9263D3FF8C4C}"/>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71B9"/>
                </a:solidFill>
                <a:effectLst/>
                <a:uLnTx/>
                <a:uFillTx/>
                <a:latin typeface="Arial"/>
                <a:ea typeface="+mn-ea"/>
                <a:cs typeface="+mn-cs"/>
              </a:rPr>
              <a:t>Confidential  |  © KONE Corporation</a:t>
            </a:r>
          </a:p>
        </p:txBody>
      </p:sp>
      <p:sp>
        <p:nvSpPr>
          <p:cNvPr id="4" name="Slide Number Placeholder 3">
            <a:extLst>
              <a:ext uri="{FF2B5EF4-FFF2-40B4-BE49-F238E27FC236}">
                <a16:creationId xmlns:a16="http://schemas.microsoft.com/office/drawing/2014/main" id="{815637A3-D4D1-4E50-BF85-30A41649B34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4FC64F-66B6-486E-8EFE-9FD96A66D16B}" type="slidenum">
              <a:rPr kumimoji="0" lang="en-US" sz="700" b="0" i="0" u="none" strike="noStrike" kern="1200" cap="none" spc="0" normalizeH="0" baseline="0" noProof="0" smtClean="0">
                <a:ln>
                  <a:noFill/>
                </a:ln>
                <a:solidFill>
                  <a:srgbClr val="0071B9"/>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700" b="0" i="0" u="none" strike="noStrike" kern="1200" cap="none" spc="0" normalizeH="0" baseline="0" noProof="0">
              <a:ln>
                <a:noFill/>
              </a:ln>
              <a:solidFill>
                <a:srgbClr val="0071B9"/>
              </a:solidFill>
              <a:effectLst/>
              <a:uLnTx/>
              <a:uFillTx/>
              <a:latin typeface="Arial"/>
              <a:ea typeface="+mn-ea"/>
              <a:cs typeface="+mn-cs"/>
            </a:endParaRPr>
          </a:p>
        </p:txBody>
      </p:sp>
      <p:sp>
        <p:nvSpPr>
          <p:cNvPr id="6" name="Title 5">
            <a:extLst>
              <a:ext uri="{FF2B5EF4-FFF2-40B4-BE49-F238E27FC236}">
                <a16:creationId xmlns:a16="http://schemas.microsoft.com/office/drawing/2014/main" id="{37F09E5D-5AB7-4752-8F01-10495C342C6F}"/>
              </a:ext>
            </a:extLst>
          </p:cNvPr>
          <p:cNvSpPr>
            <a:spLocks noGrp="1"/>
          </p:cNvSpPr>
          <p:nvPr>
            <p:ph type="title"/>
          </p:nvPr>
        </p:nvSpPr>
        <p:spPr>
          <a:xfrm>
            <a:off x="407987" y="404812"/>
            <a:ext cx="8714241" cy="863601"/>
          </a:xfrm>
        </p:spPr>
        <p:txBody>
          <a:bodyPr vert="horz"/>
          <a:lstStyle/>
          <a:p>
            <a:r>
              <a:rPr lang="en-US">
                <a:solidFill>
                  <a:srgbClr val="0070C0"/>
                </a:solidFill>
              </a:rPr>
              <a:t>Sustainable solutions and services </a:t>
            </a:r>
            <a:r>
              <a:rPr lang="en-US"/>
              <a:t>throughout</a:t>
            </a:r>
            <a:br>
              <a:rPr lang="en-US"/>
            </a:br>
            <a:r>
              <a:rPr lang="en-US"/>
              <a:t>the building life-cycle</a:t>
            </a:r>
            <a:endParaRPr lang="en-GB"/>
          </a:p>
        </p:txBody>
      </p:sp>
      <p:grpSp>
        <p:nvGrpSpPr>
          <p:cNvPr id="13" name="Group 12">
            <a:extLst>
              <a:ext uri="{FF2B5EF4-FFF2-40B4-BE49-F238E27FC236}">
                <a16:creationId xmlns:a16="http://schemas.microsoft.com/office/drawing/2014/main" id="{0A9D502B-609F-9F48-BFEC-63CAB6A0EF62}"/>
              </a:ext>
            </a:extLst>
          </p:cNvPr>
          <p:cNvGrpSpPr>
            <a:grpSpLocks noChangeAspect="1"/>
          </p:cNvGrpSpPr>
          <p:nvPr/>
        </p:nvGrpSpPr>
        <p:grpSpPr>
          <a:xfrm>
            <a:off x="11064013" y="404664"/>
            <a:ext cx="720000" cy="364398"/>
            <a:chOff x="3498850" y="2112963"/>
            <a:chExt cx="5197475" cy="2630487"/>
          </a:xfrm>
        </p:grpSpPr>
        <p:sp>
          <p:nvSpPr>
            <p:cNvPr id="14" name="Freeform 6">
              <a:extLst>
                <a:ext uri="{FF2B5EF4-FFF2-40B4-BE49-F238E27FC236}">
                  <a16:creationId xmlns:a16="http://schemas.microsoft.com/office/drawing/2014/main" id="{58B46F58-082B-8E44-A360-D125DB0EBB72}"/>
                </a:ext>
              </a:extLst>
            </p:cNvPr>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15" name="Freeform 7">
              <a:extLst>
                <a:ext uri="{FF2B5EF4-FFF2-40B4-BE49-F238E27FC236}">
                  <a16:creationId xmlns:a16="http://schemas.microsoft.com/office/drawing/2014/main" id="{BE850BBC-FB66-194D-A1C8-42A868866C31}"/>
                </a:ext>
              </a:extLst>
            </p:cNvPr>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grpSp>
      <p:grpSp>
        <p:nvGrpSpPr>
          <p:cNvPr id="42" name="Group 41">
            <a:extLst>
              <a:ext uri="{FF2B5EF4-FFF2-40B4-BE49-F238E27FC236}">
                <a16:creationId xmlns:a16="http://schemas.microsoft.com/office/drawing/2014/main" id="{9F837F34-5192-2740-B5D8-5135712C333C}"/>
              </a:ext>
            </a:extLst>
          </p:cNvPr>
          <p:cNvGrpSpPr/>
          <p:nvPr/>
        </p:nvGrpSpPr>
        <p:grpSpPr>
          <a:xfrm>
            <a:off x="423407" y="2608113"/>
            <a:ext cx="3080233" cy="1008491"/>
            <a:chOff x="423407" y="1628399"/>
            <a:chExt cx="3080233" cy="1008491"/>
          </a:xfrm>
        </p:grpSpPr>
        <p:sp>
          <p:nvSpPr>
            <p:cNvPr id="16" name="Text Placeholder 39">
              <a:extLst>
                <a:ext uri="{FF2B5EF4-FFF2-40B4-BE49-F238E27FC236}">
                  <a16:creationId xmlns:a16="http://schemas.microsoft.com/office/drawing/2014/main" id="{1B6A22E5-3F46-1F44-AE9E-46DF2DDB8862}"/>
                </a:ext>
              </a:extLst>
            </p:cNvPr>
            <p:cNvSpPr txBox="1">
              <a:spLocks/>
            </p:cNvSpPr>
            <p:nvPr/>
          </p:nvSpPr>
          <p:spPr>
            <a:xfrm>
              <a:off x="767260" y="1628399"/>
              <a:ext cx="2736380" cy="1008491"/>
            </a:xfrm>
            <a:prstGeom prst="rect">
              <a:avLst/>
            </a:prstGeom>
          </p:spPr>
          <p:txBody>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400"/>
                </a:spcBef>
                <a:spcAft>
                  <a:spcPts val="0"/>
                </a:spcAft>
                <a:buClr>
                  <a:srgbClr val="0071B9"/>
                </a:buClr>
                <a:buSzTx/>
                <a:buFont typeface="Wingdings" panose="05000000000000000000" pitchFamily="2" charset="2"/>
                <a:buNone/>
                <a:tabLst/>
                <a:defRPr/>
              </a:pPr>
              <a:r>
                <a:rPr kumimoji="0" lang="fi-FI" sz="1400" b="0" i="0" u="none" strike="noStrike" kern="1200" cap="none" spc="0" normalizeH="0" baseline="0" noProof="0">
                  <a:ln>
                    <a:noFill/>
                  </a:ln>
                  <a:solidFill>
                    <a:srgbClr val="0071B9"/>
                  </a:solidFill>
                  <a:effectLst/>
                  <a:uLnTx/>
                  <a:uFillTx/>
                  <a:latin typeface="Arial"/>
                  <a:ea typeface="+mn-ea"/>
                  <a:cs typeface="+mn-cs"/>
                </a:rPr>
                <a:t>SAFE AND HEALTHY  </a:t>
              </a:r>
            </a:p>
            <a:p>
              <a:pPr marL="0" marR="0" lvl="0" indent="0" algn="l" defTabSz="914400" rtl="0" eaLnBrk="1" fontAlgn="auto" latinLnBrk="0" hangingPunct="1">
                <a:lnSpc>
                  <a:spcPct val="120000"/>
                </a:lnSpc>
                <a:spcBef>
                  <a:spcPts val="400"/>
                </a:spcBef>
                <a:spcAft>
                  <a:spcPts val="0"/>
                </a:spcAft>
                <a:buClr>
                  <a:srgbClr val="0071B9"/>
                </a:buClr>
                <a:buSzTx/>
                <a:buFont typeface="Wingdings" panose="05000000000000000000" pitchFamily="2" charset="2"/>
                <a:buNone/>
                <a:tabLst/>
                <a:defRPr/>
              </a:pPr>
              <a:r>
                <a:rPr kumimoji="0" lang="fi-FI" sz="1400" b="0" i="0" u="none" strike="noStrike" kern="1200" cap="none" spc="0" normalizeH="0" baseline="0" noProof="0">
                  <a:ln>
                    <a:noFill/>
                  </a:ln>
                  <a:solidFill>
                    <a:srgbClr val="0071B9"/>
                  </a:solidFill>
                  <a:effectLst/>
                  <a:uLnTx/>
                  <a:uFillTx/>
                  <a:latin typeface="Arial"/>
                  <a:ea typeface="+mn-ea"/>
                  <a:cs typeface="+mn-cs"/>
                </a:rPr>
                <a:t>ENERGY EFFICIENT</a:t>
              </a:r>
            </a:p>
            <a:p>
              <a:pPr marL="0" marR="0" lvl="0" indent="0" algn="l" defTabSz="914400" rtl="0" eaLnBrk="1" fontAlgn="auto" latinLnBrk="0" hangingPunct="1">
                <a:lnSpc>
                  <a:spcPct val="120000"/>
                </a:lnSpc>
                <a:spcBef>
                  <a:spcPts val="400"/>
                </a:spcBef>
                <a:spcAft>
                  <a:spcPts val="0"/>
                </a:spcAft>
                <a:buClr>
                  <a:srgbClr val="0071B9"/>
                </a:buClr>
                <a:buSzTx/>
                <a:buFont typeface="Wingdings" panose="05000000000000000000" pitchFamily="2" charset="2"/>
                <a:buNone/>
                <a:tabLst/>
                <a:defRPr/>
              </a:pPr>
              <a:r>
                <a:rPr kumimoji="0" lang="fi-FI" sz="1400" b="0" i="0" u="none" strike="noStrike" kern="1200" cap="none" spc="0" normalizeH="0" baseline="0" noProof="0">
                  <a:ln>
                    <a:noFill/>
                  </a:ln>
                  <a:solidFill>
                    <a:srgbClr val="0071B9"/>
                  </a:solidFill>
                  <a:effectLst/>
                  <a:uLnTx/>
                  <a:uFillTx/>
                  <a:latin typeface="Arial"/>
                  <a:ea typeface="+mn-ea"/>
                  <a:cs typeface="+mn-cs"/>
                </a:rPr>
                <a:t>CIRCULAR </a:t>
              </a:r>
            </a:p>
          </p:txBody>
        </p:sp>
        <p:sp>
          <p:nvSpPr>
            <p:cNvPr id="38" name="Freeform 18">
              <a:extLst>
                <a:ext uri="{FF2B5EF4-FFF2-40B4-BE49-F238E27FC236}">
                  <a16:creationId xmlns:a16="http://schemas.microsoft.com/office/drawing/2014/main" id="{74EEAF80-D37B-8E46-9C33-8A4E20935AEE}"/>
                </a:ext>
              </a:extLst>
            </p:cNvPr>
            <p:cNvSpPr>
              <a:spLocks noChangeAspect="1" noEditPoints="1"/>
            </p:cNvSpPr>
            <p:nvPr/>
          </p:nvSpPr>
          <p:spPr bwMode="auto">
            <a:xfrm>
              <a:off x="423407" y="1705407"/>
              <a:ext cx="199833" cy="180000"/>
            </a:xfrm>
            <a:custGeom>
              <a:avLst/>
              <a:gdLst>
                <a:gd name="T0" fmla="*/ 1 w 1058"/>
                <a:gd name="T1" fmla="*/ 484 h 953"/>
                <a:gd name="T2" fmla="*/ 4 w 1058"/>
                <a:gd name="T3" fmla="*/ 497 h 953"/>
                <a:gd name="T4" fmla="*/ 10 w 1058"/>
                <a:gd name="T5" fmla="*/ 508 h 953"/>
                <a:gd name="T6" fmla="*/ 17 w 1058"/>
                <a:gd name="T7" fmla="*/ 518 h 953"/>
                <a:gd name="T8" fmla="*/ 25 w 1058"/>
                <a:gd name="T9" fmla="*/ 526 h 953"/>
                <a:gd name="T10" fmla="*/ 34 w 1058"/>
                <a:gd name="T11" fmla="*/ 532 h 953"/>
                <a:gd name="T12" fmla="*/ 45 w 1058"/>
                <a:gd name="T13" fmla="*/ 537 h 953"/>
                <a:gd name="T14" fmla="*/ 56 w 1058"/>
                <a:gd name="T15" fmla="*/ 539 h 953"/>
                <a:gd name="T16" fmla="*/ 529 w 1058"/>
                <a:gd name="T17" fmla="*/ 539 h 953"/>
                <a:gd name="T18" fmla="*/ 1002 w 1058"/>
                <a:gd name="T19" fmla="*/ 539 h 953"/>
                <a:gd name="T20" fmla="*/ 1014 w 1058"/>
                <a:gd name="T21" fmla="*/ 536 h 953"/>
                <a:gd name="T22" fmla="*/ 1026 w 1058"/>
                <a:gd name="T23" fmla="*/ 532 h 953"/>
                <a:gd name="T24" fmla="*/ 1035 w 1058"/>
                <a:gd name="T25" fmla="*/ 525 h 953"/>
                <a:gd name="T26" fmla="*/ 1044 w 1058"/>
                <a:gd name="T27" fmla="*/ 516 h 953"/>
                <a:gd name="T28" fmla="*/ 1050 w 1058"/>
                <a:gd name="T29" fmla="*/ 507 h 953"/>
                <a:gd name="T30" fmla="*/ 1055 w 1058"/>
                <a:gd name="T31" fmla="*/ 495 h 953"/>
                <a:gd name="T32" fmla="*/ 1058 w 1058"/>
                <a:gd name="T33" fmla="*/ 483 h 953"/>
                <a:gd name="T34" fmla="*/ 1057 w 1058"/>
                <a:gd name="T35" fmla="*/ 465 h 953"/>
                <a:gd name="T36" fmla="*/ 1055 w 1058"/>
                <a:gd name="T37" fmla="*/ 454 h 953"/>
                <a:gd name="T38" fmla="*/ 1048 w 1058"/>
                <a:gd name="T39" fmla="*/ 434 h 953"/>
                <a:gd name="T40" fmla="*/ 1038 w 1058"/>
                <a:gd name="T41" fmla="*/ 417 h 953"/>
                <a:gd name="T42" fmla="*/ 1028 w 1058"/>
                <a:gd name="T43" fmla="*/ 406 h 953"/>
                <a:gd name="T44" fmla="*/ 602 w 1058"/>
                <a:gd name="T45" fmla="*/ 27 h 953"/>
                <a:gd name="T46" fmla="*/ 585 w 1058"/>
                <a:gd name="T47" fmla="*/ 15 h 953"/>
                <a:gd name="T48" fmla="*/ 568 w 1058"/>
                <a:gd name="T49" fmla="*/ 7 h 953"/>
                <a:gd name="T50" fmla="*/ 549 w 1058"/>
                <a:gd name="T51" fmla="*/ 2 h 953"/>
                <a:gd name="T52" fmla="*/ 529 w 1058"/>
                <a:gd name="T53" fmla="*/ 0 h 953"/>
                <a:gd name="T54" fmla="*/ 509 w 1058"/>
                <a:gd name="T55" fmla="*/ 2 h 953"/>
                <a:gd name="T56" fmla="*/ 495 w 1058"/>
                <a:gd name="T57" fmla="*/ 5 h 953"/>
                <a:gd name="T58" fmla="*/ 481 w 1058"/>
                <a:gd name="T59" fmla="*/ 11 h 953"/>
                <a:gd name="T60" fmla="*/ 464 w 1058"/>
                <a:gd name="T61" fmla="*/ 21 h 953"/>
                <a:gd name="T62" fmla="*/ 443 w 1058"/>
                <a:gd name="T63" fmla="*/ 39 h 953"/>
                <a:gd name="T64" fmla="*/ 463 w 1058"/>
                <a:gd name="T65" fmla="*/ 414 h 953"/>
                <a:gd name="T66" fmla="*/ 56 w 1058"/>
                <a:gd name="T67" fmla="*/ 415 h 953"/>
                <a:gd name="T68" fmla="*/ 45 w 1058"/>
                <a:gd name="T69" fmla="*/ 417 h 953"/>
                <a:gd name="T70" fmla="*/ 34 w 1058"/>
                <a:gd name="T71" fmla="*/ 421 h 953"/>
                <a:gd name="T72" fmla="*/ 25 w 1058"/>
                <a:gd name="T73" fmla="*/ 427 h 953"/>
                <a:gd name="T74" fmla="*/ 17 w 1058"/>
                <a:gd name="T75" fmla="*/ 434 h 953"/>
                <a:gd name="T76" fmla="*/ 10 w 1058"/>
                <a:gd name="T77" fmla="*/ 443 h 953"/>
                <a:gd name="T78" fmla="*/ 5 w 1058"/>
                <a:gd name="T79" fmla="*/ 453 h 953"/>
                <a:gd name="T80" fmla="*/ 1 w 1058"/>
                <a:gd name="T81" fmla="*/ 464 h 953"/>
                <a:gd name="T82" fmla="*/ 0 w 1058"/>
                <a:gd name="T83" fmla="*/ 477 h 953"/>
                <a:gd name="T84" fmla="*/ 968 w 1058"/>
                <a:gd name="T85" fmla="*/ 601 h 953"/>
                <a:gd name="T86" fmla="*/ 594 w 1058"/>
                <a:gd name="T87" fmla="*/ 932 h 953"/>
                <a:gd name="T88" fmla="*/ 577 w 1058"/>
                <a:gd name="T89" fmla="*/ 943 h 953"/>
                <a:gd name="T90" fmla="*/ 558 w 1058"/>
                <a:gd name="T91" fmla="*/ 949 h 953"/>
                <a:gd name="T92" fmla="*/ 539 w 1058"/>
                <a:gd name="T93" fmla="*/ 953 h 953"/>
                <a:gd name="T94" fmla="*/ 519 w 1058"/>
                <a:gd name="T95" fmla="*/ 953 h 953"/>
                <a:gd name="T96" fmla="*/ 500 w 1058"/>
                <a:gd name="T97" fmla="*/ 949 h 953"/>
                <a:gd name="T98" fmla="*/ 490 w 1058"/>
                <a:gd name="T99" fmla="*/ 946 h 953"/>
                <a:gd name="T100" fmla="*/ 473 w 1058"/>
                <a:gd name="T101" fmla="*/ 938 h 953"/>
                <a:gd name="T102" fmla="*/ 456 w 1058"/>
                <a:gd name="T103" fmla="*/ 926 h 953"/>
                <a:gd name="T104" fmla="*/ 796 w 1058"/>
                <a:gd name="T105" fmla="*/ 601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8" h="953">
                  <a:moveTo>
                    <a:pt x="0" y="477"/>
                  </a:moveTo>
                  <a:lnTo>
                    <a:pt x="1" y="484"/>
                  </a:lnTo>
                  <a:lnTo>
                    <a:pt x="3" y="490"/>
                  </a:lnTo>
                  <a:lnTo>
                    <a:pt x="4" y="497"/>
                  </a:lnTo>
                  <a:lnTo>
                    <a:pt x="7" y="503"/>
                  </a:lnTo>
                  <a:lnTo>
                    <a:pt x="10" y="508"/>
                  </a:lnTo>
                  <a:lnTo>
                    <a:pt x="13" y="513"/>
                  </a:lnTo>
                  <a:lnTo>
                    <a:pt x="17" y="518"/>
                  </a:lnTo>
                  <a:lnTo>
                    <a:pt x="20" y="522"/>
                  </a:lnTo>
                  <a:lnTo>
                    <a:pt x="25" y="526"/>
                  </a:lnTo>
                  <a:lnTo>
                    <a:pt x="29" y="529"/>
                  </a:lnTo>
                  <a:lnTo>
                    <a:pt x="34" y="532"/>
                  </a:lnTo>
                  <a:lnTo>
                    <a:pt x="39" y="535"/>
                  </a:lnTo>
                  <a:lnTo>
                    <a:pt x="45" y="537"/>
                  </a:lnTo>
                  <a:lnTo>
                    <a:pt x="50" y="538"/>
                  </a:lnTo>
                  <a:lnTo>
                    <a:pt x="56" y="539"/>
                  </a:lnTo>
                  <a:lnTo>
                    <a:pt x="62" y="539"/>
                  </a:lnTo>
                  <a:lnTo>
                    <a:pt x="529" y="539"/>
                  </a:lnTo>
                  <a:lnTo>
                    <a:pt x="996" y="539"/>
                  </a:lnTo>
                  <a:lnTo>
                    <a:pt x="1002" y="539"/>
                  </a:lnTo>
                  <a:lnTo>
                    <a:pt x="1008" y="538"/>
                  </a:lnTo>
                  <a:lnTo>
                    <a:pt x="1014" y="536"/>
                  </a:lnTo>
                  <a:lnTo>
                    <a:pt x="1020" y="534"/>
                  </a:lnTo>
                  <a:lnTo>
                    <a:pt x="1026" y="532"/>
                  </a:lnTo>
                  <a:lnTo>
                    <a:pt x="1031" y="528"/>
                  </a:lnTo>
                  <a:lnTo>
                    <a:pt x="1035" y="525"/>
                  </a:lnTo>
                  <a:lnTo>
                    <a:pt x="1040" y="521"/>
                  </a:lnTo>
                  <a:lnTo>
                    <a:pt x="1044" y="516"/>
                  </a:lnTo>
                  <a:lnTo>
                    <a:pt x="1047" y="512"/>
                  </a:lnTo>
                  <a:lnTo>
                    <a:pt x="1050" y="507"/>
                  </a:lnTo>
                  <a:lnTo>
                    <a:pt x="1053" y="501"/>
                  </a:lnTo>
                  <a:lnTo>
                    <a:pt x="1055" y="495"/>
                  </a:lnTo>
                  <a:lnTo>
                    <a:pt x="1057" y="489"/>
                  </a:lnTo>
                  <a:lnTo>
                    <a:pt x="1058" y="483"/>
                  </a:lnTo>
                  <a:lnTo>
                    <a:pt x="1058" y="477"/>
                  </a:lnTo>
                  <a:lnTo>
                    <a:pt x="1057" y="465"/>
                  </a:lnTo>
                  <a:lnTo>
                    <a:pt x="1056" y="459"/>
                  </a:lnTo>
                  <a:lnTo>
                    <a:pt x="1055" y="454"/>
                  </a:lnTo>
                  <a:lnTo>
                    <a:pt x="1052" y="444"/>
                  </a:lnTo>
                  <a:lnTo>
                    <a:pt x="1048" y="434"/>
                  </a:lnTo>
                  <a:lnTo>
                    <a:pt x="1043" y="425"/>
                  </a:lnTo>
                  <a:lnTo>
                    <a:pt x="1038" y="417"/>
                  </a:lnTo>
                  <a:lnTo>
                    <a:pt x="1032" y="410"/>
                  </a:lnTo>
                  <a:lnTo>
                    <a:pt x="1028" y="406"/>
                  </a:lnTo>
                  <a:lnTo>
                    <a:pt x="1025" y="403"/>
                  </a:lnTo>
                  <a:lnTo>
                    <a:pt x="602" y="27"/>
                  </a:lnTo>
                  <a:lnTo>
                    <a:pt x="594" y="21"/>
                  </a:lnTo>
                  <a:lnTo>
                    <a:pt x="585" y="15"/>
                  </a:lnTo>
                  <a:lnTo>
                    <a:pt x="577" y="11"/>
                  </a:lnTo>
                  <a:lnTo>
                    <a:pt x="568" y="7"/>
                  </a:lnTo>
                  <a:lnTo>
                    <a:pt x="558" y="4"/>
                  </a:lnTo>
                  <a:lnTo>
                    <a:pt x="549" y="2"/>
                  </a:lnTo>
                  <a:lnTo>
                    <a:pt x="539" y="1"/>
                  </a:lnTo>
                  <a:lnTo>
                    <a:pt x="529" y="0"/>
                  </a:lnTo>
                  <a:lnTo>
                    <a:pt x="519" y="1"/>
                  </a:lnTo>
                  <a:lnTo>
                    <a:pt x="509" y="2"/>
                  </a:lnTo>
                  <a:lnTo>
                    <a:pt x="500" y="4"/>
                  </a:lnTo>
                  <a:lnTo>
                    <a:pt x="495" y="5"/>
                  </a:lnTo>
                  <a:lnTo>
                    <a:pt x="490" y="7"/>
                  </a:lnTo>
                  <a:lnTo>
                    <a:pt x="481" y="11"/>
                  </a:lnTo>
                  <a:lnTo>
                    <a:pt x="473" y="15"/>
                  </a:lnTo>
                  <a:lnTo>
                    <a:pt x="464" y="21"/>
                  </a:lnTo>
                  <a:lnTo>
                    <a:pt x="456" y="27"/>
                  </a:lnTo>
                  <a:lnTo>
                    <a:pt x="443" y="39"/>
                  </a:lnTo>
                  <a:lnTo>
                    <a:pt x="865" y="414"/>
                  </a:lnTo>
                  <a:lnTo>
                    <a:pt x="463" y="414"/>
                  </a:lnTo>
                  <a:lnTo>
                    <a:pt x="62" y="414"/>
                  </a:lnTo>
                  <a:lnTo>
                    <a:pt x="56" y="415"/>
                  </a:lnTo>
                  <a:lnTo>
                    <a:pt x="50" y="416"/>
                  </a:lnTo>
                  <a:lnTo>
                    <a:pt x="45" y="417"/>
                  </a:lnTo>
                  <a:lnTo>
                    <a:pt x="39" y="419"/>
                  </a:lnTo>
                  <a:lnTo>
                    <a:pt x="34" y="421"/>
                  </a:lnTo>
                  <a:lnTo>
                    <a:pt x="29" y="424"/>
                  </a:lnTo>
                  <a:lnTo>
                    <a:pt x="25" y="427"/>
                  </a:lnTo>
                  <a:lnTo>
                    <a:pt x="21" y="430"/>
                  </a:lnTo>
                  <a:lnTo>
                    <a:pt x="17" y="434"/>
                  </a:lnTo>
                  <a:lnTo>
                    <a:pt x="13" y="439"/>
                  </a:lnTo>
                  <a:lnTo>
                    <a:pt x="10" y="443"/>
                  </a:lnTo>
                  <a:lnTo>
                    <a:pt x="7" y="448"/>
                  </a:lnTo>
                  <a:lnTo>
                    <a:pt x="5" y="453"/>
                  </a:lnTo>
                  <a:lnTo>
                    <a:pt x="3" y="458"/>
                  </a:lnTo>
                  <a:lnTo>
                    <a:pt x="1" y="464"/>
                  </a:lnTo>
                  <a:lnTo>
                    <a:pt x="0" y="470"/>
                  </a:lnTo>
                  <a:lnTo>
                    <a:pt x="0" y="477"/>
                  </a:lnTo>
                  <a:close/>
                  <a:moveTo>
                    <a:pt x="796" y="601"/>
                  </a:moveTo>
                  <a:lnTo>
                    <a:pt x="968" y="601"/>
                  </a:lnTo>
                  <a:lnTo>
                    <a:pt x="602" y="926"/>
                  </a:lnTo>
                  <a:lnTo>
                    <a:pt x="594" y="932"/>
                  </a:lnTo>
                  <a:lnTo>
                    <a:pt x="585" y="938"/>
                  </a:lnTo>
                  <a:lnTo>
                    <a:pt x="577" y="943"/>
                  </a:lnTo>
                  <a:lnTo>
                    <a:pt x="568" y="946"/>
                  </a:lnTo>
                  <a:lnTo>
                    <a:pt x="558" y="949"/>
                  </a:lnTo>
                  <a:lnTo>
                    <a:pt x="549" y="951"/>
                  </a:lnTo>
                  <a:lnTo>
                    <a:pt x="539" y="953"/>
                  </a:lnTo>
                  <a:lnTo>
                    <a:pt x="529" y="953"/>
                  </a:lnTo>
                  <a:lnTo>
                    <a:pt x="519" y="953"/>
                  </a:lnTo>
                  <a:lnTo>
                    <a:pt x="509" y="951"/>
                  </a:lnTo>
                  <a:lnTo>
                    <a:pt x="500" y="949"/>
                  </a:lnTo>
                  <a:lnTo>
                    <a:pt x="495" y="948"/>
                  </a:lnTo>
                  <a:lnTo>
                    <a:pt x="490" y="946"/>
                  </a:lnTo>
                  <a:lnTo>
                    <a:pt x="481" y="943"/>
                  </a:lnTo>
                  <a:lnTo>
                    <a:pt x="473" y="938"/>
                  </a:lnTo>
                  <a:lnTo>
                    <a:pt x="464" y="932"/>
                  </a:lnTo>
                  <a:lnTo>
                    <a:pt x="456" y="926"/>
                  </a:lnTo>
                  <a:lnTo>
                    <a:pt x="443" y="914"/>
                  </a:lnTo>
                  <a:lnTo>
                    <a:pt x="796" y="60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B4245"/>
                </a:solidFill>
                <a:effectLst/>
                <a:uLnTx/>
                <a:uFillTx/>
                <a:latin typeface="Arial"/>
                <a:ea typeface="+mn-ea"/>
                <a:cs typeface="+mn-cs"/>
              </a:endParaRPr>
            </a:p>
          </p:txBody>
        </p:sp>
        <p:sp>
          <p:nvSpPr>
            <p:cNvPr id="39" name="Freeform 18">
              <a:extLst>
                <a:ext uri="{FF2B5EF4-FFF2-40B4-BE49-F238E27FC236}">
                  <a16:creationId xmlns:a16="http://schemas.microsoft.com/office/drawing/2014/main" id="{98F9BA99-DE62-5C49-89BC-8BC268C368FF}"/>
                </a:ext>
              </a:extLst>
            </p:cNvPr>
            <p:cNvSpPr>
              <a:spLocks noChangeAspect="1" noEditPoints="1"/>
            </p:cNvSpPr>
            <p:nvPr/>
          </p:nvSpPr>
          <p:spPr bwMode="auto">
            <a:xfrm>
              <a:off x="423407" y="2011933"/>
              <a:ext cx="199833" cy="180000"/>
            </a:xfrm>
            <a:custGeom>
              <a:avLst/>
              <a:gdLst>
                <a:gd name="T0" fmla="*/ 1 w 1058"/>
                <a:gd name="T1" fmla="*/ 484 h 953"/>
                <a:gd name="T2" fmla="*/ 4 w 1058"/>
                <a:gd name="T3" fmla="*/ 497 h 953"/>
                <a:gd name="T4" fmla="*/ 10 w 1058"/>
                <a:gd name="T5" fmla="*/ 508 h 953"/>
                <a:gd name="T6" fmla="*/ 17 w 1058"/>
                <a:gd name="T7" fmla="*/ 518 h 953"/>
                <a:gd name="T8" fmla="*/ 25 w 1058"/>
                <a:gd name="T9" fmla="*/ 526 h 953"/>
                <a:gd name="T10" fmla="*/ 34 w 1058"/>
                <a:gd name="T11" fmla="*/ 532 h 953"/>
                <a:gd name="T12" fmla="*/ 45 w 1058"/>
                <a:gd name="T13" fmla="*/ 537 h 953"/>
                <a:gd name="T14" fmla="*/ 56 w 1058"/>
                <a:gd name="T15" fmla="*/ 539 h 953"/>
                <a:gd name="T16" fmla="*/ 529 w 1058"/>
                <a:gd name="T17" fmla="*/ 539 h 953"/>
                <a:gd name="T18" fmla="*/ 1002 w 1058"/>
                <a:gd name="T19" fmla="*/ 539 h 953"/>
                <a:gd name="T20" fmla="*/ 1014 w 1058"/>
                <a:gd name="T21" fmla="*/ 536 h 953"/>
                <a:gd name="T22" fmla="*/ 1026 w 1058"/>
                <a:gd name="T23" fmla="*/ 532 h 953"/>
                <a:gd name="T24" fmla="*/ 1035 w 1058"/>
                <a:gd name="T25" fmla="*/ 525 h 953"/>
                <a:gd name="T26" fmla="*/ 1044 w 1058"/>
                <a:gd name="T27" fmla="*/ 516 h 953"/>
                <a:gd name="T28" fmla="*/ 1050 w 1058"/>
                <a:gd name="T29" fmla="*/ 507 h 953"/>
                <a:gd name="T30" fmla="*/ 1055 w 1058"/>
                <a:gd name="T31" fmla="*/ 495 h 953"/>
                <a:gd name="T32" fmla="*/ 1058 w 1058"/>
                <a:gd name="T33" fmla="*/ 483 h 953"/>
                <a:gd name="T34" fmla="*/ 1057 w 1058"/>
                <a:gd name="T35" fmla="*/ 465 h 953"/>
                <a:gd name="T36" fmla="*/ 1055 w 1058"/>
                <a:gd name="T37" fmla="*/ 454 h 953"/>
                <a:gd name="T38" fmla="*/ 1048 w 1058"/>
                <a:gd name="T39" fmla="*/ 434 h 953"/>
                <a:gd name="T40" fmla="*/ 1038 w 1058"/>
                <a:gd name="T41" fmla="*/ 417 h 953"/>
                <a:gd name="T42" fmla="*/ 1028 w 1058"/>
                <a:gd name="T43" fmla="*/ 406 h 953"/>
                <a:gd name="T44" fmla="*/ 602 w 1058"/>
                <a:gd name="T45" fmla="*/ 27 h 953"/>
                <a:gd name="T46" fmla="*/ 585 w 1058"/>
                <a:gd name="T47" fmla="*/ 15 h 953"/>
                <a:gd name="T48" fmla="*/ 568 w 1058"/>
                <a:gd name="T49" fmla="*/ 7 h 953"/>
                <a:gd name="T50" fmla="*/ 549 w 1058"/>
                <a:gd name="T51" fmla="*/ 2 h 953"/>
                <a:gd name="T52" fmla="*/ 529 w 1058"/>
                <a:gd name="T53" fmla="*/ 0 h 953"/>
                <a:gd name="T54" fmla="*/ 509 w 1058"/>
                <a:gd name="T55" fmla="*/ 2 h 953"/>
                <a:gd name="T56" fmla="*/ 495 w 1058"/>
                <a:gd name="T57" fmla="*/ 5 h 953"/>
                <a:gd name="T58" fmla="*/ 481 w 1058"/>
                <a:gd name="T59" fmla="*/ 11 h 953"/>
                <a:gd name="T60" fmla="*/ 464 w 1058"/>
                <a:gd name="T61" fmla="*/ 21 h 953"/>
                <a:gd name="T62" fmla="*/ 443 w 1058"/>
                <a:gd name="T63" fmla="*/ 39 h 953"/>
                <a:gd name="T64" fmla="*/ 463 w 1058"/>
                <a:gd name="T65" fmla="*/ 414 h 953"/>
                <a:gd name="T66" fmla="*/ 56 w 1058"/>
                <a:gd name="T67" fmla="*/ 415 h 953"/>
                <a:gd name="T68" fmla="*/ 45 w 1058"/>
                <a:gd name="T69" fmla="*/ 417 h 953"/>
                <a:gd name="T70" fmla="*/ 34 w 1058"/>
                <a:gd name="T71" fmla="*/ 421 h 953"/>
                <a:gd name="T72" fmla="*/ 25 w 1058"/>
                <a:gd name="T73" fmla="*/ 427 h 953"/>
                <a:gd name="T74" fmla="*/ 17 w 1058"/>
                <a:gd name="T75" fmla="*/ 434 h 953"/>
                <a:gd name="T76" fmla="*/ 10 w 1058"/>
                <a:gd name="T77" fmla="*/ 443 h 953"/>
                <a:gd name="T78" fmla="*/ 5 w 1058"/>
                <a:gd name="T79" fmla="*/ 453 h 953"/>
                <a:gd name="T80" fmla="*/ 1 w 1058"/>
                <a:gd name="T81" fmla="*/ 464 h 953"/>
                <a:gd name="T82" fmla="*/ 0 w 1058"/>
                <a:gd name="T83" fmla="*/ 477 h 953"/>
                <a:gd name="T84" fmla="*/ 968 w 1058"/>
                <a:gd name="T85" fmla="*/ 601 h 953"/>
                <a:gd name="T86" fmla="*/ 594 w 1058"/>
                <a:gd name="T87" fmla="*/ 932 h 953"/>
                <a:gd name="T88" fmla="*/ 577 w 1058"/>
                <a:gd name="T89" fmla="*/ 943 h 953"/>
                <a:gd name="T90" fmla="*/ 558 w 1058"/>
                <a:gd name="T91" fmla="*/ 949 h 953"/>
                <a:gd name="T92" fmla="*/ 539 w 1058"/>
                <a:gd name="T93" fmla="*/ 953 h 953"/>
                <a:gd name="T94" fmla="*/ 519 w 1058"/>
                <a:gd name="T95" fmla="*/ 953 h 953"/>
                <a:gd name="T96" fmla="*/ 500 w 1058"/>
                <a:gd name="T97" fmla="*/ 949 h 953"/>
                <a:gd name="T98" fmla="*/ 490 w 1058"/>
                <a:gd name="T99" fmla="*/ 946 h 953"/>
                <a:gd name="T100" fmla="*/ 473 w 1058"/>
                <a:gd name="T101" fmla="*/ 938 h 953"/>
                <a:gd name="T102" fmla="*/ 456 w 1058"/>
                <a:gd name="T103" fmla="*/ 926 h 953"/>
                <a:gd name="T104" fmla="*/ 796 w 1058"/>
                <a:gd name="T105" fmla="*/ 601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8" h="953">
                  <a:moveTo>
                    <a:pt x="0" y="477"/>
                  </a:moveTo>
                  <a:lnTo>
                    <a:pt x="1" y="484"/>
                  </a:lnTo>
                  <a:lnTo>
                    <a:pt x="3" y="490"/>
                  </a:lnTo>
                  <a:lnTo>
                    <a:pt x="4" y="497"/>
                  </a:lnTo>
                  <a:lnTo>
                    <a:pt x="7" y="503"/>
                  </a:lnTo>
                  <a:lnTo>
                    <a:pt x="10" y="508"/>
                  </a:lnTo>
                  <a:lnTo>
                    <a:pt x="13" y="513"/>
                  </a:lnTo>
                  <a:lnTo>
                    <a:pt x="17" y="518"/>
                  </a:lnTo>
                  <a:lnTo>
                    <a:pt x="20" y="522"/>
                  </a:lnTo>
                  <a:lnTo>
                    <a:pt x="25" y="526"/>
                  </a:lnTo>
                  <a:lnTo>
                    <a:pt x="29" y="529"/>
                  </a:lnTo>
                  <a:lnTo>
                    <a:pt x="34" y="532"/>
                  </a:lnTo>
                  <a:lnTo>
                    <a:pt x="39" y="535"/>
                  </a:lnTo>
                  <a:lnTo>
                    <a:pt x="45" y="537"/>
                  </a:lnTo>
                  <a:lnTo>
                    <a:pt x="50" y="538"/>
                  </a:lnTo>
                  <a:lnTo>
                    <a:pt x="56" y="539"/>
                  </a:lnTo>
                  <a:lnTo>
                    <a:pt x="62" y="539"/>
                  </a:lnTo>
                  <a:lnTo>
                    <a:pt x="529" y="539"/>
                  </a:lnTo>
                  <a:lnTo>
                    <a:pt x="996" y="539"/>
                  </a:lnTo>
                  <a:lnTo>
                    <a:pt x="1002" y="539"/>
                  </a:lnTo>
                  <a:lnTo>
                    <a:pt x="1008" y="538"/>
                  </a:lnTo>
                  <a:lnTo>
                    <a:pt x="1014" y="536"/>
                  </a:lnTo>
                  <a:lnTo>
                    <a:pt x="1020" y="534"/>
                  </a:lnTo>
                  <a:lnTo>
                    <a:pt x="1026" y="532"/>
                  </a:lnTo>
                  <a:lnTo>
                    <a:pt x="1031" y="528"/>
                  </a:lnTo>
                  <a:lnTo>
                    <a:pt x="1035" y="525"/>
                  </a:lnTo>
                  <a:lnTo>
                    <a:pt x="1040" y="521"/>
                  </a:lnTo>
                  <a:lnTo>
                    <a:pt x="1044" y="516"/>
                  </a:lnTo>
                  <a:lnTo>
                    <a:pt x="1047" y="512"/>
                  </a:lnTo>
                  <a:lnTo>
                    <a:pt x="1050" y="507"/>
                  </a:lnTo>
                  <a:lnTo>
                    <a:pt x="1053" y="501"/>
                  </a:lnTo>
                  <a:lnTo>
                    <a:pt x="1055" y="495"/>
                  </a:lnTo>
                  <a:lnTo>
                    <a:pt x="1057" y="489"/>
                  </a:lnTo>
                  <a:lnTo>
                    <a:pt x="1058" y="483"/>
                  </a:lnTo>
                  <a:lnTo>
                    <a:pt x="1058" y="477"/>
                  </a:lnTo>
                  <a:lnTo>
                    <a:pt x="1057" y="465"/>
                  </a:lnTo>
                  <a:lnTo>
                    <a:pt x="1056" y="459"/>
                  </a:lnTo>
                  <a:lnTo>
                    <a:pt x="1055" y="454"/>
                  </a:lnTo>
                  <a:lnTo>
                    <a:pt x="1052" y="444"/>
                  </a:lnTo>
                  <a:lnTo>
                    <a:pt x="1048" y="434"/>
                  </a:lnTo>
                  <a:lnTo>
                    <a:pt x="1043" y="425"/>
                  </a:lnTo>
                  <a:lnTo>
                    <a:pt x="1038" y="417"/>
                  </a:lnTo>
                  <a:lnTo>
                    <a:pt x="1032" y="410"/>
                  </a:lnTo>
                  <a:lnTo>
                    <a:pt x="1028" y="406"/>
                  </a:lnTo>
                  <a:lnTo>
                    <a:pt x="1025" y="403"/>
                  </a:lnTo>
                  <a:lnTo>
                    <a:pt x="602" y="27"/>
                  </a:lnTo>
                  <a:lnTo>
                    <a:pt x="594" y="21"/>
                  </a:lnTo>
                  <a:lnTo>
                    <a:pt x="585" y="15"/>
                  </a:lnTo>
                  <a:lnTo>
                    <a:pt x="577" y="11"/>
                  </a:lnTo>
                  <a:lnTo>
                    <a:pt x="568" y="7"/>
                  </a:lnTo>
                  <a:lnTo>
                    <a:pt x="558" y="4"/>
                  </a:lnTo>
                  <a:lnTo>
                    <a:pt x="549" y="2"/>
                  </a:lnTo>
                  <a:lnTo>
                    <a:pt x="539" y="1"/>
                  </a:lnTo>
                  <a:lnTo>
                    <a:pt x="529" y="0"/>
                  </a:lnTo>
                  <a:lnTo>
                    <a:pt x="519" y="1"/>
                  </a:lnTo>
                  <a:lnTo>
                    <a:pt x="509" y="2"/>
                  </a:lnTo>
                  <a:lnTo>
                    <a:pt x="500" y="4"/>
                  </a:lnTo>
                  <a:lnTo>
                    <a:pt x="495" y="5"/>
                  </a:lnTo>
                  <a:lnTo>
                    <a:pt x="490" y="7"/>
                  </a:lnTo>
                  <a:lnTo>
                    <a:pt x="481" y="11"/>
                  </a:lnTo>
                  <a:lnTo>
                    <a:pt x="473" y="15"/>
                  </a:lnTo>
                  <a:lnTo>
                    <a:pt x="464" y="21"/>
                  </a:lnTo>
                  <a:lnTo>
                    <a:pt x="456" y="27"/>
                  </a:lnTo>
                  <a:lnTo>
                    <a:pt x="443" y="39"/>
                  </a:lnTo>
                  <a:lnTo>
                    <a:pt x="865" y="414"/>
                  </a:lnTo>
                  <a:lnTo>
                    <a:pt x="463" y="414"/>
                  </a:lnTo>
                  <a:lnTo>
                    <a:pt x="62" y="414"/>
                  </a:lnTo>
                  <a:lnTo>
                    <a:pt x="56" y="415"/>
                  </a:lnTo>
                  <a:lnTo>
                    <a:pt x="50" y="416"/>
                  </a:lnTo>
                  <a:lnTo>
                    <a:pt x="45" y="417"/>
                  </a:lnTo>
                  <a:lnTo>
                    <a:pt x="39" y="419"/>
                  </a:lnTo>
                  <a:lnTo>
                    <a:pt x="34" y="421"/>
                  </a:lnTo>
                  <a:lnTo>
                    <a:pt x="29" y="424"/>
                  </a:lnTo>
                  <a:lnTo>
                    <a:pt x="25" y="427"/>
                  </a:lnTo>
                  <a:lnTo>
                    <a:pt x="21" y="430"/>
                  </a:lnTo>
                  <a:lnTo>
                    <a:pt x="17" y="434"/>
                  </a:lnTo>
                  <a:lnTo>
                    <a:pt x="13" y="439"/>
                  </a:lnTo>
                  <a:lnTo>
                    <a:pt x="10" y="443"/>
                  </a:lnTo>
                  <a:lnTo>
                    <a:pt x="7" y="448"/>
                  </a:lnTo>
                  <a:lnTo>
                    <a:pt x="5" y="453"/>
                  </a:lnTo>
                  <a:lnTo>
                    <a:pt x="3" y="458"/>
                  </a:lnTo>
                  <a:lnTo>
                    <a:pt x="1" y="464"/>
                  </a:lnTo>
                  <a:lnTo>
                    <a:pt x="0" y="470"/>
                  </a:lnTo>
                  <a:lnTo>
                    <a:pt x="0" y="477"/>
                  </a:lnTo>
                  <a:close/>
                  <a:moveTo>
                    <a:pt x="796" y="601"/>
                  </a:moveTo>
                  <a:lnTo>
                    <a:pt x="968" y="601"/>
                  </a:lnTo>
                  <a:lnTo>
                    <a:pt x="602" y="926"/>
                  </a:lnTo>
                  <a:lnTo>
                    <a:pt x="594" y="932"/>
                  </a:lnTo>
                  <a:lnTo>
                    <a:pt x="585" y="938"/>
                  </a:lnTo>
                  <a:lnTo>
                    <a:pt x="577" y="943"/>
                  </a:lnTo>
                  <a:lnTo>
                    <a:pt x="568" y="946"/>
                  </a:lnTo>
                  <a:lnTo>
                    <a:pt x="558" y="949"/>
                  </a:lnTo>
                  <a:lnTo>
                    <a:pt x="549" y="951"/>
                  </a:lnTo>
                  <a:lnTo>
                    <a:pt x="539" y="953"/>
                  </a:lnTo>
                  <a:lnTo>
                    <a:pt x="529" y="953"/>
                  </a:lnTo>
                  <a:lnTo>
                    <a:pt x="519" y="953"/>
                  </a:lnTo>
                  <a:lnTo>
                    <a:pt x="509" y="951"/>
                  </a:lnTo>
                  <a:lnTo>
                    <a:pt x="500" y="949"/>
                  </a:lnTo>
                  <a:lnTo>
                    <a:pt x="495" y="948"/>
                  </a:lnTo>
                  <a:lnTo>
                    <a:pt x="490" y="946"/>
                  </a:lnTo>
                  <a:lnTo>
                    <a:pt x="481" y="943"/>
                  </a:lnTo>
                  <a:lnTo>
                    <a:pt x="473" y="938"/>
                  </a:lnTo>
                  <a:lnTo>
                    <a:pt x="464" y="932"/>
                  </a:lnTo>
                  <a:lnTo>
                    <a:pt x="456" y="926"/>
                  </a:lnTo>
                  <a:lnTo>
                    <a:pt x="443" y="914"/>
                  </a:lnTo>
                  <a:lnTo>
                    <a:pt x="796" y="60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B4245"/>
                </a:solidFill>
                <a:effectLst/>
                <a:uLnTx/>
                <a:uFillTx/>
                <a:latin typeface="Arial"/>
                <a:ea typeface="+mn-ea"/>
                <a:cs typeface="+mn-cs"/>
              </a:endParaRPr>
            </a:p>
          </p:txBody>
        </p:sp>
        <p:sp>
          <p:nvSpPr>
            <p:cNvPr id="40" name="Freeform 18">
              <a:extLst>
                <a:ext uri="{FF2B5EF4-FFF2-40B4-BE49-F238E27FC236}">
                  <a16:creationId xmlns:a16="http://schemas.microsoft.com/office/drawing/2014/main" id="{465D8DB1-3E19-184A-A34F-1C5CFE0AA973}"/>
                </a:ext>
              </a:extLst>
            </p:cNvPr>
            <p:cNvSpPr>
              <a:spLocks noChangeAspect="1" noEditPoints="1"/>
            </p:cNvSpPr>
            <p:nvPr/>
          </p:nvSpPr>
          <p:spPr bwMode="auto">
            <a:xfrm>
              <a:off x="423407" y="2321745"/>
              <a:ext cx="199833" cy="180000"/>
            </a:xfrm>
            <a:custGeom>
              <a:avLst/>
              <a:gdLst>
                <a:gd name="T0" fmla="*/ 1 w 1058"/>
                <a:gd name="T1" fmla="*/ 484 h 953"/>
                <a:gd name="T2" fmla="*/ 4 w 1058"/>
                <a:gd name="T3" fmla="*/ 497 h 953"/>
                <a:gd name="T4" fmla="*/ 10 w 1058"/>
                <a:gd name="T5" fmla="*/ 508 h 953"/>
                <a:gd name="T6" fmla="*/ 17 w 1058"/>
                <a:gd name="T7" fmla="*/ 518 h 953"/>
                <a:gd name="T8" fmla="*/ 25 w 1058"/>
                <a:gd name="T9" fmla="*/ 526 h 953"/>
                <a:gd name="T10" fmla="*/ 34 w 1058"/>
                <a:gd name="T11" fmla="*/ 532 h 953"/>
                <a:gd name="T12" fmla="*/ 45 w 1058"/>
                <a:gd name="T13" fmla="*/ 537 h 953"/>
                <a:gd name="T14" fmla="*/ 56 w 1058"/>
                <a:gd name="T15" fmla="*/ 539 h 953"/>
                <a:gd name="T16" fmla="*/ 529 w 1058"/>
                <a:gd name="T17" fmla="*/ 539 h 953"/>
                <a:gd name="T18" fmla="*/ 1002 w 1058"/>
                <a:gd name="T19" fmla="*/ 539 h 953"/>
                <a:gd name="T20" fmla="*/ 1014 w 1058"/>
                <a:gd name="T21" fmla="*/ 536 h 953"/>
                <a:gd name="T22" fmla="*/ 1026 w 1058"/>
                <a:gd name="T23" fmla="*/ 532 h 953"/>
                <a:gd name="T24" fmla="*/ 1035 w 1058"/>
                <a:gd name="T25" fmla="*/ 525 h 953"/>
                <a:gd name="T26" fmla="*/ 1044 w 1058"/>
                <a:gd name="T27" fmla="*/ 516 h 953"/>
                <a:gd name="T28" fmla="*/ 1050 w 1058"/>
                <a:gd name="T29" fmla="*/ 507 h 953"/>
                <a:gd name="T30" fmla="*/ 1055 w 1058"/>
                <a:gd name="T31" fmla="*/ 495 h 953"/>
                <a:gd name="T32" fmla="*/ 1058 w 1058"/>
                <a:gd name="T33" fmla="*/ 483 h 953"/>
                <a:gd name="T34" fmla="*/ 1057 w 1058"/>
                <a:gd name="T35" fmla="*/ 465 h 953"/>
                <a:gd name="T36" fmla="*/ 1055 w 1058"/>
                <a:gd name="T37" fmla="*/ 454 h 953"/>
                <a:gd name="T38" fmla="*/ 1048 w 1058"/>
                <a:gd name="T39" fmla="*/ 434 h 953"/>
                <a:gd name="T40" fmla="*/ 1038 w 1058"/>
                <a:gd name="T41" fmla="*/ 417 h 953"/>
                <a:gd name="T42" fmla="*/ 1028 w 1058"/>
                <a:gd name="T43" fmla="*/ 406 h 953"/>
                <a:gd name="T44" fmla="*/ 602 w 1058"/>
                <a:gd name="T45" fmla="*/ 27 h 953"/>
                <a:gd name="T46" fmla="*/ 585 w 1058"/>
                <a:gd name="T47" fmla="*/ 15 h 953"/>
                <a:gd name="T48" fmla="*/ 568 w 1058"/>
                <a:gd name="T49" fmla="*/ 7 h 953"/>
                <a:gd name="T50" fmla="*/ 549 w 1058"/>
                <a:gd name="T51" fmla="*/ 2 h 953"/>
                <a:gd name="T52" fmla="*/ 529 w 1058"/>
                <a:gd name="T53" fmla="*/ 0 h 953"/>
                <a:gd name="T54" fmla="*/ 509 w 1058"/>
                <a:gd name="T55" fmla="*/ 2 h 953"/>
                <a:gd name="T56" fmla="*/ 495 w 1058"/>
                <a:gd name="T57" fmla="*/ 5 h 953"/>
                <a:gd name="T58" fmla="*/ 481 w 1058"/>
                <a:gd name="T59" fmla="*/ 11 h 953"/>
                <a:gd name="T60" fmla="*/ 464 w 1058"/>
                <a:gd name="T61" fmla="*/ 21 h 953"/>
                <a:gd name="T62" fmla="*/ 443 w 1058"/>
                <a:gd name="T63" fmla="*/ 39 h 953"/>
                <a:gd name="T64" fmla="*/ 463 w 1058"/>
                <a:gd name="T65" fmla="*/ 414 h 953"/>
                <a:gd name="T66" fmla="*/ 56 w 1058"/>
                <a:gd name="T67" fmla="*/ 415 h 953"/>
                <a:gd name="T68" fmla="*/ 45 w 1058"/>
                <a:gd name="T69" fmla="*/ 417 h 953"/>
                <a:gd name="T70" fmla="*/ 34 w 1058"/>
                <a:gd name="T71" fmla="*/ 421 h 953"/>
                <a:gd name="T72" fmla="*/ 25 w 1058"/>
                <a:gd name="T73" fmla="*/ 427 h 953"/>
                <a:gd name="T74" fmla="*/ 17 w 1058"/>
                <a:gd name="T75" fmla="*/ 434 h 953"/>
                <a:gd name="T76" fmla="*/ 10 w 1058"/>
                <a:gd name="T77" fmla="*/ 443 h 953"/>
                <a:gd name="T78" fmla="*/ 5 w 1058"/>
                <a:gd name="T79" fmla="*/ 453 h 953"/>
                <a:gd name="T80" fmla="*/ 1 w 1058"/>
                <a:gd name="T81" fmla="*/ 464 h 953"/>
                <a:gd name="T82" fmla="*/ 0 w 1058"/>
                <a:gd name="T83" fmla="*/ 477 h 953"/>
                <a:gd name="T84" fmla="*/ 968 w 1058"/>
                <a:gd name="T85" fmla="*/ 601 h 953"/>
                <a:gd name="T86" fmla="*/ 594 w 1058"/>
                <a:gd name="T87" fmla="*/ 932 h 953"/>
                <a:gd name="T88" fmla="*/ 577 w 1058"/>
                <a:gd name="T89" fmla="*/ 943 h 953"/>
                <a:gd name="T90" fmla="*/ 558 w 1058"/>
                <a:gd name="T91" fmla="*/ 949 h 953"/>
                <a:gd name="T92" fmla="*/ 539 w 1058"/>
                <a:gd name="T93" fmla="*/ 953 h 953"/>
                <a:gd name="T94" fmla="*/ 519 w 1058"/>
                <a:gd name="T95" fmla="*/ 953 h 953"/>
                <a:gd name="T96" fmla="*/ 500 w 1058"/>
                <a:gd name="T97" fmla="*/ 949 h 953"/>
                <a:gd name="T98" fmla="*/ 490 w 1058"/>
                <a:gd name="T99" fmla="*/ 946 h 953"/>
                <a:gd name="T100" fmla="*/ 473 w 1058"/>
                <a:gd name="T101" fmla="*/ 938 h 953"/>
                <a:gd name="T102" fmla="*/ 456 w 1058"/>
                <a:gd name="T103" fmla="*/ 926 h 953"/>
                <a:gd name="T104" fmla="*/ 796 w 1058"/>
                <a:gd name="T105" fmla="*/ 601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8" h="953">
                  <a:moveTo>
                    <a:pt x="0" y="477"/>
                  </a:moveTo>
                  <a:lnTo>
                    <a:pt x="1" y="484"/>
                  </a:lnTo>
                  <a:lnTo>
                    <a:pt x="3" y="490"/>
                  </a:lnTo>
                  <a:lnTo>
                    <a:pt x="4" y="497"/>
                  </a:lnTo>
                  <a:lnTo>
                    <a:pt x="7" y="503"/>
                  </a:lnTo>
                  <a:lnTo>
                    <a:pt x="10" y="508"/>
                  </a:lnTo>
                  <a:lnTo>
                    <a:pt x="13" y="513"/>
                  </a:lnTo>
                  <a:lnTo>
                    <a:pt x="17" y="518"/>
                  </a:lnTo>
                  <a:lnTo>
                    <a:pt x="20" y="522"/>
                  </a:lnTo>
                  <a:lnTo>
                    <a:pt x="25" y="526"/>
                  </a:lnTo>
                  <a:lnTo>
                    <a:pt x="29" y="529"/>
                  </a:lnTo>
                  <a:lnTo>
                    <a:pt x="34" y="532"/>
                  </a:lnTo>
                  <a:lnTo>
                    <a:pt x="39" y="535"/>
                  </a:lnTo>
                  <a:lnTo>
                    <a:pt x="45" y="537"/>
                  </a:lnTo>
                  <a:lnTo>
                    <a:pt x="50" y="538"/>
                  </a:lnTo>
                  <a:lnTo>
                    <a:pt x="56" y="539"/>
                  </a:lnTo>
                  <a:lnTo>
                    <a:pt x="62" y="539"/>
                  </a:lnTo>
                  <a:lnTo>
                    <a:pt x="529" y="539"/>
                  </a:lnTo>
                  <a:lnTo>
                    <a:pt x="996" y="539"/>
                  </a:lnTo>
                  <a:lnTo>
                    <a:pt x="1002" y="539"/>
                  </a:lnTo>
                  <a:lnTo>
                    <a:pt x="1008" y="538"/>
                  </a:lnTo>
                  <a:lnTo>
                    <a:pt x="1014" y="536"/>
                  </a:lnTo>
                  <a:lnTo>
                    <a:pt x="1020" y="534"/>
                  </a:lnTo>
                  <a:lnTo>
                    <a:pt x="1026" y="532"/>
                  </a:lnTo>
                  <a:lnTo>
                    <a:pt x="1031" y="528"/>
                  </a:lnTo>
                  <a:lnTo>
                    <a:pt x="1035" y="525"/>
                  </a:lnTo>
                  <a:lnTo>
                    <a:pt x="1040" y="521"/>
                  </a:lnTo>
                  <a:lnTo>
                    <a:pt x="1044" y="516"/>
                  </a:lnTo>
                  <a:lnTo>
                    <a:pt x="1047" y="512"/>
                  </a:lnTo>
                  <a:lnTo>
                    <a:pt x="1050" y="507"/>
                  </a:lnTo>
                  <a:lnTo>
                    <a:pt x="1053" y="501"/>
                  </a:lnTo>
                  <a:lnTo>
                    <a:pt x="1055" y="495"/>
                  </a:lnTo>
                  <a:lnTo>
                    <a:pt x="1057" y="489"/>
                  </a:lnTo>
                  <a:lnTo>
                    <a:pt x="1058" y="483"/>
                  </a:lnTo>
                  <a:lnTo>
                    <a:pt x="1058" y="477"/>
                  </a:lnTo>
                  <a:lnTo>
                    <a:pt x="1057" y="465"/>
                  </a:lnTo>
                  <a:lnTo>
                    <a:pt x="1056" y="459"/>
                  </a:lnTo>
                  <a:lnTo>
                    <a:pt x="1055" y="454"/>
                  </a:lnTo>
                  <a:lnTo>
                    <a:pt x="1052" y="444"/>
                  </a:lnTo>
                  <a:lnTo>
                    <a:pt x="1048" y="434"/>
                  </a:lnTo>
                  <a:lnTo>
                    <a:pt x="1043" y="425"/>
                  </a:lnTo>
                  <a:lnTo>
                    <a:pt x="1038" y="417"/>
                  </a:lnTo>
                  <a:lnTo>
                    <a:pt x="1032" y="410"/>
                  </a:lnTo>
                  <a:lnTo>
                    <a:pt x="1028" y="406"/>
                  </a:lnTo>
                  <a:lnTo>
                    <a:pt x="1025" y="403"/>
                  </a:lnTo>
                  <a:lnTo>
                    <a:pt x="602" y="27"/>
                  </a:lnTo>
                  <a:lnTo>
                    <a:pt x="594" y="21"/>
                  </a:lnTo>
                  <a:lnTo>
                    <a:pt x="585" y="15"/>
                  </a:lnTo>
                  <a:lnTo>
                    <a:pt x="577" y="11"/>
                  </a:lnTo>
                  <a:lnTo>
                    <a:pt x="568" y="7"/>
                  </a:lnTo>
                  <a:lnTo>
                    <a:pt x="558" y="4"/>
                  </a:lnTo>
                  <a:lnTo>
                    <a:pt x="549" y="2"/>
                  </a:lnTo>
                  <a:lnTo>
                    <a:pt x="539" y="1"/>
                  </a:lnTo>
                  <a:lnTo>
                    <a:pt x="529" y="0"/>
                  </a:lnTo>
                  <a:lnTo>
                    <a:pt x="519" y="1"/>
                  </a:lnTo>
                  <a:lnTo>
                    <a:pt x="509" y="2"/>
                  </a:lnTo>
                  <a:lnTo>
                    <a:pt x="500" y="4"/>
                  </a:lnTo>
                  <a:lnTo>
                    <a:pt x="495" y="5"/>
                  </a:lnTo>
                  <a:lnTo>
                    <a:pt x="490" y="7"/>
                  </a:lnTo>
                  <a:lnTo>
                    <a:pt x="481" y="11"/>
                  </a:lnTo>
                  <a:lnTo>
                    <a:pt x="473" y="15"/>
                  </a:lnTo>
                  <a:lnTo>
                    <a:pt x="464" y="21"/>
                  </a:lnTo>
                  <a:lnTo>
                    <a:pt x="456" y="27"/>
                  </a:lnTo>
                  <a:lnTo>
                    <a:pt x="443" y="39"/>
                  </a:lnTo>
                  <a:lnTo>
                    <a:pt x="865" y="414"/>
                  </a:lnTo>
                  <a:lnTo>
                    <a:pt x="463" y="414"/>
                  </a:lnTo>
                  <a:lnTo>
                    <a:pt x="62" y="414"/>
                  </a:lnTo>
                  <a:lnTo>
                    <a:pt x="56" y="415"/>
                  </a:lnTo>
                  <a:lnTo>
                    <a:pt x="50" y="416"/>
                  </a:lnTo>
                  <a:lnTo>
                    <a:pt x="45" y="417"/>
                  </a:lnTo>
                  <a:lnTo>
                    <a:pt x="39" y="419"/>
                  </a:lnTo>
                  <a:lnTo>
                    <a:pt x="34" y="421"/>
                  </a:lnTo>
                  <a:lnTo>
                    <a:pt x="29" y="424"/>
                  </a:lnTo>
                  <a:lnTo>
                    <a:pt x="25" y="427"/>
                  </a:lnTo>
                  <a:lnTo>
                    <a:pt x="21" y="430"/>
                  </a:lnTo>
                  <a:lnTo>
                    <a:pt x="17" y="434"/>
                  </a:lnTo>
                  <a:lnTo>
                    <a:pt x="13" y="439"/>
                  </a:lnTo>
                  <a:lnTo>
                    <a:pt x="10" y="443"/>
                  </a:lnTo>
                  <a:lnTo>
                    <a:pt x="7" y="448"/>
                  </a:lnTo>
                  <a:lnTo>
                    <a:pt x="5" y="453"/>
                  </a:lnTo>
                  <a:lnTo>
                    <a:pt x="3" y="458"/>
                  </a:lnTo>
                  <a:lnTo>
                    <a:pt x="1" y="464"/>
                  </a:lnTo>
                  <a:lnTo>
                    <a:pt x="0" y="470"/>
                  </a:lnTo>
                  <a:lnTo>
                    <a:pt x="0" y="477"/>
                  </a:lnTo>
                  <a:close/>
                  <a:moveTo>
                    <a:pt x="796" y="601"/>
                  </a:moveTo>
                  <a:lnTo>
                    <a:pt x="968" y="601"/>
                  </a:lnTo>
                  <a:lnTo>
                    <a:pt x="602" y="926"/>
                  </a:lnTo>
                  <a:lnTo>
                    <a:pt x="594" y="932"/>
                  </a:lnTo>
                  <a:lnTo>
                    <a:pt x="585" y="938"/>
                  </a:lnTo>
                  <a:lnTo>
                    <a:pt x="577" y="943"/>
                  </a:lnTo>
                  <a:lnTo>
                    <a:pt x="568" y="946"/>
                  </a:lnTo>
                  <a:lnTo>
                    <a:pt x="558" y="949"/>
                  </a:lnTo>
                  <a:lnTo>
                    <a:pt x="549" y="951"/>
                  </a:lnTo>
                  <a:lnTo>
                    <a:pt x="539" y="953"/>
                  </a:lnTo>
                  <a:lnTo>
                    <a:pt x="529" y="953"/>
                  </a:lnTo>
                  <a:lnTo>
                    <a:pt x="519" y="953"/>
                  </a:lnTo>
                  <a:lnTo>
                    <a:pt x="509" y="951"/>
                  </a:lnTo>
                  <a:lnTo>
                    <a:pt x="500" y="949"/>
                  </a:lnTo>
                  <a:lnTo>
                    <a:pt x="495" y="948"/>
                  </a:lnTo>
                  <a:lnTo>
                    <a:pt x="490" y="946"/>
                  </a:lnTo>
                  <a:lnTo>
                    <a:pt x="481" y="943"/>
                  </a:lnTo>
                  <a:lnTo>
                    <a:pt x="473" y="938"/>
                  </a:lnTo>
                  <a:lnTo>
                    <a:pt x="464" y="932"/>
                  </a:lnTo>
                  <a:lnTo>
                    <a:pt x="456" y="926"/>
                  </a:lnTo>
                  <a:lnTo>
                    <a:pt x="443" y="914"/>
                  </a:lnTo>
                  <a:lnTo>
                    <a:pt x="796" y="60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B4245"/>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9D1AFCDA-5778-9C40-B0AB-38A71515AAD0}"/>
              </a:ext>
            </a:extLst>
          </p:cNvPr>
          <p:cNvGrpSpPr/>
          <p:nvPr/>
        </p:nvGrpSpPr>
        <p:grpSpPr>
          <a:xfrm>
            <a:off x="782335" y="1509032"/>
            <a:ext cx="10369440" cy="4608513"/>
            <a:chOff x="695250" y="1628775"/>
            <a:chExt cx="10369440" cy="4608513"/>
          </a:xfrm>
        </p:grpSpPr>
        <p:grpSp>
          <p:nvGrpSpPr>
            <p:cNvPr id="17" name="Group 16">
              <a:extLst>
                <a:ext uri="{FF2B5EF4-FFF2-40B4-BE49-F238E27FC236}">
                  <a16:creationId xmlns:a16="http://schemas.microsoft.com/office/drawing/2014/main" id="{50FF14A2-C884-774A-A3CA-9C8E1EEA9BCB}"/>
                </a:ext>
              </a:extLst>
            </p:cNvPr>
            <p:cNvGrpSpPr/>
            <p:nvPr/>
          </p:nvGrpSpPr>
          <p:grpSpPr>
            <a:xfrm>
              <a:off x="3791680" y="1628775"/>
              <a:ext cx="4608495" cy="4608513"/>
              <a:chOff x="3791680" y="1628775"/>
              <a:chExt cx="4608495" cy="4608513"/>
            </a:xfrm>
          </p:grpSpPr>
          <p:sp>
            <p:nvSpPr>
              <p:cNvPr id="18" name="Freeform: Shape 55">
                <a:extLst>
                  <a:ext uri="{FF2B5EF4-FFF2-40B4-BE49-F238E27FC236}">
                    <a16:creationId xmlns:a16="http://schemas.microsoft.com/office/drawing/2014/main" id="{CDEF8502-C66C-FC41-A0AE-6148C1FDCAF8}"/>
                  </a:ext>
                </a:extLst>
              </p:cNvPr>
              <p:cNvSpPr>
                <a:spLocks/>
              </p:cNvSpPr>
              <p:nvPr/>
            </p:nvSpPr>
            <p:spPr bwMode="auto">
              <a:xfrm>
                <a:off x="6096000" y="1630362"/>
                <a:ext cx="1629574" cy="1386905"/>
              </a:xfrm>
              <a:custGeom>
                <a:avLst/>
                <a:gdLst>
                  <a:gd name="connsiteX0" fmla="*/ 0 w 1629574"/>
                  <a:gd name="connsiteY0" fmla="*/ 0 h 1386905"/>
                  <a:gd name="connsiteX1" fmla="*/ 1629574 w 1629574"/>
                  <a:gd name="connsiteY1" fmla="*/ 674367 h 1386905"/>
                  <a:gd name="connsiteX2" fmla="*/ 916515 w 1629574"/>
                  <a:gd name="connsiteY2" fmla="*/ 1386905 h 1386905"/>
                  <a:gd name="connsiteX3" fmla="*/ 824491 w 1629574"/>
                  <a:gd name="connsiteY3" fmla="*/ 1303268 h 1386905"/>
                  <a:gd name="connsiteX4" fmla="*/ 0 w 1629574"/>
                  <a:gd name="connsiteY4" fmla="*/ 1007283 h 1386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9574" h="1386905">
                    <a:moveTo>
                      <a:pt x="0" y="0"/>
                    </a:moveTo>
                    <a:cubicBezTo>
                      <a:pt x="611240" y="0"/>
                      <a:pt x="1197367" y="242602"/>
                      <a:pt x="1629574" y="674367"/>
                    </a:cubicBezTo>
                    <a:lnTo>
                      <a:pt x="916515" y="1386905"/>
                    </a:lnTo>
                    <a:lnTo>
                      <a:pt x="824491" y="1303268"/>
                    </a:lnTo>
                    <a:cubicBezTo>
                      <a:pt x="600435" y="1118360"/>
                      <a:pt x="313189" y="1007283"/>
                      <a:pt x="0" y="1007283"/>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B4245"/>
                  </a:solidFill>
                  <a:effectLst/>
                  <a:uLnTx/>
                  <a:uFillTx/>
                  <a:latin typeface="Arial"/>
                  <a:ea typeface="+mn-ea"/>
                  <a:cs typeface="+mn-cs"/>
                </a:endParaRPr>
              </a:p>
            </p:txBody>
          </p:sp>
          <p:sp>
            <p:nvSpPr>
              <p:cNvPr id="19" name="Freeform: Shape 56">
                <a:extLst>
                  <a:ext uri="{FF2B5EF4-FFF2-40B4-BE49-F238E27FC236}">
                    <a16:creationId xmlns:a16="http://schemas.microsoft.com/office/drawing/2014/main" id="{04F81BE9-C82F-D84C-8D1C-494E0441D5F6}"/>
                  </a:ext>
                </a:extLst>
              </p:cNvPr>
              <p:cNvSpPr>
                <a:spLocks/>
              </p:cNvSpPr>
              <p:nvPr/>
            </p:nvSpPr>
            <p:spPr bwMode="auto">
              <a:xfrm>
                <a:off x="7012929" y="2304963"/>
                <a:ext cx="1387246" cy="1628150"/>
              </a:xfrm>
              <a:custGeom>
                <a:avLst/>
                <a:gdLst>
                  <a:gd name="connsiteX0" fmla="*/ 712562 w 1387246"/>
                  <a:gd name="connsiteY0" fmla="*/ 0 h 1628150"/>
                  <a:gd name="connsiteX1" fmla="*/ 1387246 w 1387246"/>
                  <a:gd name="connsiteY1" fmla="*/ 1628150 h 1628150"/>
                  <a:gd name="connsiteX2" fmla="*/ 379248 w 1387246"/>
                  <a:gd name="connsiteY2" fmla="*/ 1628150 h 1628150"/>
                  <a:gd name="connsiteX3" fmla="*/ 379251 w 1387246"/>
                  <a:gd name="connsiteY3" fmla="*/ 1628082 h 1628150"/>
                  <a:gd name="connsiteX4" fmla="*/ 83267 w 1387246"/>
                  <a:gd name="connsiteY4" fmla="*/ 803591 h 1628150"/>
                  <a:gd name="connsiteX5" fmla="*/ 0 w 1387246"/>
                  <a:gd name="connsiteY5" fmla="*/ 711976 h 162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7246" h="1628150">
                    <a:moveTo>
                      <a:pt x="712562" y="0"/>
                    </a:moveTo>
                    <a:cubicBezTo>
                      <a:pt x="1144360" y="431875"/>
                      <a:pt x="1387246" y="1017722"/>
                      <a:pt x="1387246" y="1628150"/>
                    </a:cubicBezTo>
                    <a:lnTo>
                      <a:pt x="379248" y="1628150"/>
                    </a:lnTo>
                    <a:lnTo>
                      <a:pt x="379251" y="1628082"/>
                    </a:lnTo>
                    <a:cubicBezTo>
                      <a:pt x="379251" y="1314893"/>
                      <a:pt x="268174" y="1027648"/>
                      <a:pt x="83267" y="803591"/>
                    </a:cubicBezTo>
                    <a:lnTo>
                      <a:pt x="0" y="711976"/>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B4245"/>
                  </a:solidFill>
                  <a:effectLst/>
                  <a:uLnTx/>
                  <a:uFillTx/>
                  <a:latin typeface="Arial"/>
                  <a:ea typeface="+mn-ea"/>
                  <a:cs typeface="+mn-cs"/>
                </a:endParaRPr>
              </a:p>
            </p:txBody>
          </p:sp>
          <p:sp>
            <p:nvSpPr>
              <p:cNvPr id="20" name="Freeform: Shape 57">
                <a:extLst>
                  <a:ext uri="{FF2B5EF4-FFF2-40B4-BE49-F238E27FC236}">
                    <a16:creationId xmlns:a16="http://schemas.microsoft.com/office/drawing/2014/main" id="{19BE5E1F-A4BE-524C-8713-30D8376A8F69}"/>
                  </a:ext>
                </a:extLst>
              </p:cNvPr>
              <p:cNvSpPr>
                <a:spLocks/>
              </p:cNvSpPr>
              <p:nvPr/>
            </p:nvSpPr>
            <p:spPr bwMode="auto">
              <a:xfrm>
                <a:off x="7012855" y="3933113"/>
                <a:ext cx="1387320" cy="1629574"/>
              </a:xfrm>
              <a:custGeom>
                <a:avLst/>
                <a:gdLst>
                  <a:gd name="connsiteX0" fmla="*/ 379289 w 1387320"/>
                  <a:gd name="connsiteY0" fmla="*/ 0 h 1629574"/>
                  <a:gd name="connsiteX1" fmla="*/ 1387320 w 1387320"/>
                  <a:gd name="connsiteY1" fmla="*/ 0 h 1629574"/>
                  <a:gd name="connsiteX2" fmla="*/ 712636 w 1387320"/>
                  <a:gd name="connsiteY2" fmla="*/ 1629574 h 1629574"/>
                  <a:gd name="connsiteX3" fmla="*/ 0 w 1387320"/>
                  <a:gd name="connsiteY3" fmla="*/ 916901 h 1629574"/>
                  <a:gd name="connsiteX4" fmla="*/ 83341 w 1387320"/>
                  <a:gd name="connsiteY4" fmla="*/ 825203 h 1629574"/>
                  <a:gd name="connsiteX5" fmla="*/ 379325 w 1387320"/>
                  <a:gd name="connsiteY5" fmla="*/ 712 h 162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7320" h="1629574">
                    <a:moveTo>
                      <a:pt x="379289" y="0"/>
                    </a:moveTo>
                    <a:lnTo>
                      <a:pt x="1387320" y="0"/>
                    </a:lnTo>
                    <a:cubicBezTo>
                      <a:pt x="1387320" y="611176"/>
                      <a:pt x="1144434" y="1197413"/>
                      <a:pt x="712636" y="1629574"/>
                    </a:cubicBezTo>
                    <a:lnTo>
                      <a:pt x="0" y="916901"/>
                    </a:lnTo>
                    <a:lnTo>
                      <a:pt x="83341" y="825203"/>
                    </a:lnTo>
                    <a:cubicBezTo>
                      <a:pt x="268248" y="601147"/>
                      <a:pt x="379325" y="313901"/>
                      <a:pt x="379325" y="712"/>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B4245"/>
                  </a:solidFill>
                  <a:effectLst/>
                  <a:uLnTx/>
                  <a:uFillTx/>
                  <a:latin typeface="Arial"/>
                  <a:ea typeface="+mn-ea"/>
                  <a:cs typeface="+mn-cs"/>
                </a:endParaRPr>
              </a:p>
            </p:txBody>
          </p:sp>
          <p:sp>
            <p:nvSpPr>
              <p:cNvPr id="21" name="Freeform: Shape 58">
                <a:extLst>
                  <a:ext uri="{FF2B5EF4-FFF2-40B4-BE49-F238E27FC236}">
                    <a16:creationId xmlns:a16="http://schemas.microsoft.com/office/drawing/2014/main" id="{0D0B0E5F-F3D2-AC4D-9B1C-4F43E7C09C47}"/>
                  </a:ext>
                </a:extLst>
              </p:cNvPr>
              <p:cNvSpPr>
                <a:spLocks/>
              </p:cNvSpPr>
              <p:nvPr/>
            </p:nvSpPr>
            <p:spPr bwMode="auto">
              <a:xfrm>
                <a:off x="6096000" y="4849950"/>
                <a:ext cx="1629574" cy="1387338"/>
              </a:xfrm>
              <a:custGeom>
                <a:avLst/>
                <a:gdLst>
                  <a:gd name="connsiteX0" fmla="*/ 916913 w 1629574"/>
                  <a:gd name="connsiteY0" fmla="*/ 0 h 1387338"/>
                  <a:gd name="connsiteX1" fmla="*/ 1629574 w 1629574"/>
                  <a:gd name="connsiteY1" fmla="*/ 712604 h 1387338"/>
                  <a:gd name="connsiteX2" fmla="*/ 0 w 1629574"/>
                  <a:gd name="connsiteY2" fmla="*/ 1387338 h 1387338"/>
                  <a:gd name="connsiteX3" fmla="*/ 0 w 1629574"/>
                  <a:gd name="connsiteY3" fmla="*/ 380055 h 1387338"/>
                  <a:gd name="connsiteX4" fmla="*/ 916538 w 1629574"/>
                  <a:gd name="connsiteY4" fmla="*/ 413 h 1387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9574" h="1387338">
                    <a:moveTo>
                      <a:pt x="916913" y="0"/>
                    </a:moveTo>
                    <a:lnTo>
                      <a:pt x="1629574" y="712604"/>
                    </a:lnTo>
                    <a:cubicBezTo>
                      <a:pt x="1197367" y="1144605"/>
                      <a:pt x="611240" y="1387338"/>
                      <a:pt x="0" y="1387338"/>
                    </a:cubicBezTo>
                    <a:lnTo>
                      <a:pt x="0" y="380055"/>
                    </a:lnTo>
                    <a:cubicBezTo>
                      <a:pt x="357930" y="380055"/>
                      <a:pt x="681975" y="234975"/>
                      <a:pt x="916538" y="413"/>
                    </a:cubicBez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B4245"/>
                  </a:solidFill>
                  <a:effectLst/>
                  <a:uLnTx/>
                  <a:uFillTx/>
                  <a:latin typeface="Arial"/>
                  <a:ea typeface="+mn-ea"/>
                  <a:cs typeface="+mn-cs"/>
                </a:endParaRPr>
              </a:p>
            </p:txBody>
          </p:sp>
          <p:sp>
            <p:nvSpPr>
              <p:cNvPr id="22" name="Freeform: Shape 61">
                <a:extLst>
                  <a:ext uri="{FF2B5EF4-FFF2-40B4-BE49-F238E27FC236}">
                    <a16:creationId xmlns:a16="http://schemas.microsoft.com/office/drawing/2014/main" id="{0AFBC545-48E1-B940-A490-8F23CA48AFB2}"/>
                  </a:ext>
                </a:extLst>
              </p:cNvPr>
              <p:cNvSpPr>
                <a:spLocks/>
              </p:cNvSpPr>
              <p:nvPr/>
            </p:nvSpPr>
            <p:spPr bwMode="auto">
              <a:xfrm>
                <a:off x="4466426" y="4849950"/>
                <a:ext cx="1629574" cy="1387338"/>
              </a:xfrm>
              <a:custGeom>
                <a:avLst/>
                <a:gdLst>
                  <a:gd name="connsiteX0" fmla="*/ 712662 w 1629574"/>
                  <a:gd name="connsiteY0" fmla="*/ 0 h 1387338"/>
                  <a:gd name="connsiteX1" fmla="*/ 713037 w 1629574"/>
                  <a:gd name="connsiteY1" fmla="*/ 413 h 1387338"/>
                  <a:gd name="connsiteX2" fmla="*/ 1629574 w 1629574"/>
                  <a:gd name="connsiteY2" fmla="*/ 380055 h 1387338"/>
                  <a:gd name="connsiteX3" fmla="*/ 1629574 w 1629574"/>
                  <a:gd name="connsiteY3" fmla="*/ 1387338 h 1387338"/>
                  <a:gd name="connsiteX4" fmla="*/ 0 w 1629574"/>
                  <a:gd name="connsiteY4" fmla="*/ 712604 h 1387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9574" h="1387338">
                    <a:moveTo>
                      <a:pt x="712662" y="0"/>
                    </a:moveTo>
                    <a:lnTo>
                      <a:pt x="713037" y="413"/>
                    </a:lnTo>
                    <a:cubicBezTo>
                      <a:pt x="947599" y="234975"/>
                      <a:pt x="1271644" y="380055"/>
                      <a:pt x="1629574" y="380055"/>
                    </a:cubicBezTo>
                    <a:lnTo>
                      <a:pt x="1629574" y="1387338"/>
                    </a:lnTo>
                    <a:cubicBezTo>
                      <a:pt x="1018441" y="1387338"/>
                      <a:pt x="432253" y="1144605"/>
                      <a:pt x="0" y="712604"/>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B4245"/>
                  </a:solidFill>
                  <a:effectLst/>
                  <a:uLnTx/>
                  <a:uFillTx/>
                  <a:latin typeface="Arial"/>
                  <a:ea typeface="+mn-ea"/>
                  <a:cs typeface="+mn-cs"/>
                </a:endParaRPr>
              </a:p>
            </p:txBody>
          </p:sp>
          <p:sp>
            <p:nvSpPr>
              <p:cNvPr id="23" name="Freeform: Shape 65">
                <a:extLst>
                  <a:ext uri="{FF2B5EF4-FFF2-40B4-BE49-F238E27FC236}">
                    <a16:creationId xmlns:a16="http://schemas.microsoft.com/office/drawing/2014/main" id="{812DC42F-3063-FF4B-B5EA-8C1B793C1980}"/>
                  </a:ext>
                </a:extLst>
              </p:cNvPr>
              <p:cNvSpPr>
                <a:spLocks/>
              </p:cNvSpPr>
              <p:nvPr/>
            </p:nvSpPr>
            <p:spPr bwMode="auto">
              <a:xfrm>
                <a:off x="3791680" y="3645030"/>
                <a:ext cx="1387493" cy="1917657"/>
              </a:xfrm>
              <a:custGeom>
                <a:avLst/>
                <a:gdLst>
                  <a:gd name="connsiteX0" fmla="*/ 504070 w 1387493"/>
                  <a:gd name="connsiteY0" fmla="*/ 0 h 1917657"/>
                  <a:gd name="connsiteX1" fmla="*/ 1006897 w 1387493"/>
                  <a:gd name="connsiteY1" fmla="*/ 288083 h 1917657"/>
                  <a:gd name="connsiteX2" fmla="*/ 1008176 w 1387493"/>
                  <a:gd name="connsiteY2" fmla="*/ 288083 h 1917657"/>
                  <a:gd name="connsiteX3" fmla="*/ 1008140 w 1387493"/>
                  <a:gd name="connsiteY3" fmla="*/ 288795 h 1917657"/>
                  <a:gd name="connsiteX4" fmla="*/ 1304125 w 1387493"/>
                  <a:gd name="connsiteY4" fmla="*/ 1113286 h 1917657"/>
                  <a:gd name="connsiteX5" fmla="*/ 1387493 w 1387493"/>
                  <a:gd name="connsiteY5" fmla="*/ 1205014 h 1917657"/>
                  <a:gd name="connsiteX6" fmla="*/ 674930 w 1387493"/>
                  <a:gd name="connsiteY6" fmla="*/ 1917657 h 1917657"/>
                  <a:gd name="connsiteX7" fmla="*/ 11420 w 1387493"/>
                  <a:gd name="connsiteY7" fmla="*/ 515869 h 1917657"/>
                  <a:gd name="connsiteX8" fmla="*/ 180 w 1387493"/>
                  <a:gd name="connsiteY8" fmla="*/ 288795 h 1917657"/>
                  <a:gd name="connsiteX9" fmla="*/ 0 w 1387493"/>
                  <a:gd name="connsiteY9" fmla="*/ 288795 h 1917657"/>
                  <a:gd name="connsiteX10" fmla="*/ 175 w 1387493"/>
                  <a:gd name="connsiteY10" fmla="*/ 288695 h 1917657"/>
                  <a:gd name="connsiteX11" fmla="*/ 145 w 1387493"/>
                  <a:gd name="connsiteY11" fmla="*/ 288083 h 1917657"/>
                  <a:gd name="connsiteX12" fmla="*/ 1243 w 1387493"/>
                  <a:gd name="connsiteY12" fmla="*/ 288083 h 191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7493" h="1917657">
                    <a:moveTo>
                      <a:pt x="504070" y="0"/>
                    </a:moveTo>
                    <a:lnTo>
                      <a:pt x="1006897" y="288083"/>
                    </a:lnTo>
                    <a:lnTo>
                      <a:pt x="1008176" y="288083"/>
                    </a:lnTo>
                    <a:lnTo>
                      <a:pt x="1008140" y="288795"/>
                    </a:lnTo>
                    <a:cubicBezTo>
                      <a:pt x="1008140" y="601984"/>
                      <a:pt x="1119217" y="889230"/>
                      <a:pt x="1304125" y="1113286"/>
                    </a:cubicBezTo>
                    <a:lnTo>
                      <a:pt x="1387493" y="1205014"/>
                    </a:lnTo>
                    <a:lnTo>
                      <a:pt x="674930" y="1917657"/>
                    </a:lnTo>
                    <a:cubicBezTo>
                      <a:pt x="296901" y="1539476"/>
                      <a:pt x="63791" y="1043450"/>
                      <a:pt x="11420" y="515869"/>
                    </a:cubicBezTo>
                    <a:lnTo>
                      <a:pt x="180" y="288795"/>
                    </a:lnTo>
                    <a:lnTo>
                      <a:pt x="0" y="288795"/>
                    </a:lnTo>
                    <a:lnTo>
                      <a:pt x="175" y="288695"/>
                    </a:lnTo>
                    <a:lnTo>
                      <a:pt x="145" y="288083"/>
                    </a:lnTo>
                    <a:lnTo>
                      <a:pt x="1243" y="288083"/>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B4245"/>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3BBA9DC6-2A20-F24C-91EF-89DB7FC7A4DE}"/>
                  </a:ext>
                </a:extLst>
              </p:cNvPr>
              <p:cNvSpPr/>
              <p:nvPr/>
            </p:nvSpPr>
            <p:spPr>
              <a:xfrm>
                <a:off x="3791680" y="1628775"/>
                <a:ext cx="2304319" cy="1008115"/>
              </a:xfrm>
              <a:prstGeom prst="rect">
                <a:avLst/>
              </a:prstGeom>
              <a:gradFill flip="none" rotWithShape="1">
                <a:gsLst>
                  <a:gs pos="0">
                    <a:schemeClr val="bg1"/>
                  </a:gs>
                  <a:gs pos="80000">
                    <a:schemeClr val="accent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Freeform: Shape 73">
                <a:extLst>
                  <a:ext uri="{FF2B5EF4-FFF2-40B4-BE49-F238E27FC236}">
                    <a16:creationId xmlns:a16="http://schemas.microsoft.com/office/drawing/2014/main" id="{8D446AF4-CA3D-884C-871A-0A4A1C21756C}"/>
                  </a:ext>
                </a:extLst>
              </p:cNvPr>
              <p:cNvSpPr/>
              <p:nvPr/>
            </p:nvSpPr>
            <p:spPr>
              <a:xfrm>
                <a:off x="3791680" y="2420860"/>
                <a:ext cx="3815775" cy="3024420"/>
              </a:xfrm>
              <a:custGeom>
                <a:avLst/>
                <a:gdLst>
                  <a:gd name="connsiteX0" fmla="*/ 2304320 w 3815775"/>
                  <a:gd name="connsiteY0" fmla="*/ 433570 h 3024420"/>
                  <a:gd name="connsiteX1" fmla="*/ 1224925 w 3815775"/>
                  <a:gd name="connsiteY1" fmla="*/ 1512965 h 3024420"/>
                  <a:gd name="connsiteX2" fmla="*/ 2304320 w 3815775"/>
                  <a:gd name="connsiteY2" fmla="*/ 2592360 h 3024420"/>
                  <a:gd name="connsiteX3" fmla="*/ 3383715 w 3815775"/>
                  <a:gd name="connsiteY3" fmla="*/ 1512965 h 3024420"/>
                  <a:gd name="connsiteX4" fmla="*/ 2304320 w 3815775"/>
                  <a:gd name="connsiteY4" fmla="*/ 433570 h 3024420"/>
                  <a:gd name="connsiteX5" fmla="*/ 0 w 3815775"/>
                  <a:gd name="connsiteY5" fmla="*/ 0 h 3024420"/>
                  <a:gd name="connsiteX6" fmla="*/ 359633 w 3815775"/>
                  <a:gd name="connsiteY6" fmla="*/ 0 h 3024420"/>
                  <a:gd name="connsiteX7" fmla="*/ 1152160 w 3815775"/>
                  <a:gd name="connsiteY7" fmla="*/ 0 h 3024420"/>
                  <a:gd name="connsiteX8" fmla="*/ 2304320 w 3815775"/>
                  <a:gd name="connsiteY8" fmla="*/ 0 h 3024420"/>
                  <a:gd name="connsiteX9" fmla="*/ 2304320 w 3815775"/>
                  <a:gd name="connsiteY9" fmla="*/ 1510 h 3024420"/>
                  <a:gd name="connsiteX10" fmla="*/ 3815775 w 3815775"/>
                  <a:gd name="connsiteY10" fmla="*/ 1512965 h 3024420"/>
                  <a:gd name="connsiteX11" fmla="*/ 2304320 w 3815775"/>
                  <a:gd name="connsiteY11" fmla="*/ 3024420 h 3024420"/>
                  <a:gd name="connsiteX12" fmla="*/ 792865 w 3815775"/>
                  <a:gd name="connsiteY12" fmla="*/ 1512965 h 3024420"/>
                  <a:gd name="connsiteX13" fmla="*/ 1235560 w 3815775"/>
                  <a:gd name="connsiteY13" fmla="*/ 444205 h 3024420"/>
                  <a:gd name="connsiteX14" fmla="*/ 1248923 w 3815775"/>
                  <a:gd name="connsiteY14" fmla="*/ 432060 h 3024420"/>
                  <a:gd name="connsiteX15" fmla="*/ 1152160 w 3815775"/>
                  <a:gd name="connsiteY15" fmla="*/ 432060 h 3024420"/>
                  <a:gd name="connsiteX16" fmla="*/ 359633 w 3815775"/>
                  <a:gd name="connsiteY16" fmla="*/ 432060 h 3024420"/>
                  <a:gd name="connsiteX17" fmla="*/ 0 w 3815775"/>
                  <a:gd name="connsiteY17" fmla="*/ 432060 h 3024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5775" h="3024420">
                    <a:moveTo>
                      <a:pt x="2304320" y="433570"/>
                    </a:moveTo>
                    <a:cubicBezTo>
                      <a:pt x="1708187" y="433570"/>
                      <a:pt x="1224925" y="916832"/>
                      <a:pt x="1224925" y="1512965"/>
                    </a:cubicBezTo>
                    <a:cubicBezTo>
                      <a:pt x="1224925" y="2109098"/>
                      <a:pt x="1708187" y="2592360"/>
                      <a:pt x="2304320" y="2592360"/>
                    </a:cubicBezTo>
                    <a:cubicBezTo>
                      <a:pt x="2900453" y="2592360"/>
                      <a:pt x="3383715" y="2109098"/>
                      <a:pt x="3383715" y="1512965"/>
                    </a:cubicBezTo>
                    <a:cubicBezTo>
                      <a:pt x="3383715" y="916832"/>
                      <a:pt x="2900453" y="433570"/>
                      <a:pt x="2304320" y="433570"/>
                    </a:cubicBezTo>
                    <a:close/>
                    <a:moveTo>
                      <a:pt x="0" y="0"/>
                    </a:moveTo>
                    <a:lnTo>
                      <a:pt x="359633" y="0"/>
                    </a:lnTo>
                    <a:lnTo>
                      <a:pt x="1152160" y="0"/>
                    </a:lnTo>
                    <a:lnTo>
                      <a:pt x="2304320" y="0"/>
                    </a:lnTo>
                    <a:lnTo>
                      <a:pt x="2304320" y="1510"/>
                    </a:lnTo>
                    <a:cubicBezTo>
                      <a:pt x="3139074" y="1510"/>
                      <a:pt x="3815775" y="678211"/>
                      <a:pt x="3815775" y="1512965"/>
                    </a:cubicBezTo>
                    <a:cubicBezTo>
                      <a:pt x="3815775" y="2347719"/>
                      <a:pt x="3139074" y="3024420"/>
                      <a:pt x="2304320" y="3024420"/>
                    </a:cubicBezTo>
                    <a:cubicBezTo>
                      <a:pt x="1469566" y="3024420"/>
                      <a:pt x="792865" y="2347719"/>
                      <a:pt x="792865" y="1512965"/>
                    </a:cubicBezTo>
                    <a:cubicBezTo>
                      <a:pt x="792865" y="1095588"/>
                      <a:pt x="962041" y="717724"/>
                      <a:pt x="1235560" y="444205"/>
                    </a:cubicBezTo>
                    <a:lnTo>
                      <a:pt x="1248923" y="432060"/>
                    </a:lnTo>
                    <a:lnTo>
                      <a:pt x="1152160" y="432060"/>
                    </a:lnTo>
                    <a:lnTo>
                      <a:pt x="359633" y="432060"/>
                    </a:lnTo>
                    <a:lnTo>
                      <a:pt x="0" y="432060"/>
                    </a:lnTo>
                    <a:close/>
                  </a:path>
                </a:pathLst>
              </a:cu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6" name="Freeform 22">
              <a:extLst>
                <a:ext uri="{FF2B5EF4-FFF2-40B4-BE49-F238E27FC236}">
                  <a16:creationId xmlns:a16="http://schemas.microsoft.com/office/drawing/2014/main" id="{044644F9-A692-E941-9F88-EB26D74DA91D}"/>
                </a:ext>
              </a:extLst>
            </p:cNvPr>
            <p:cNvSpPr>
              <a:spLocks noChangeAspect="1" noEditPoints="1"/>
            </p:cNvSpPr>
            <p:nvPr/>
          </p:nvSpPr>
          <p:spPr bwMode="auto">
            <a:xfrm>
              <a:off x="6672080" y="1988800"/>
              <a:ext cx="360987" cy="360000"/>
            </a:xfrm>
            <a:custGeom>
              <a:avLst/>
              <a:gdLst>
                <a:gd name="T0" fmla="*/ 562 w 731"/>
                <a:gd name="T1" fmla="*/ 545 h 729"/>
                <a:gd name="T2" fmla="*/ 545 w 731"/>
                <a:gd name="T3" fmla="*/ 547 h 729"/>
                <a:gd name="T4" fmla="*/ 535 w 731"/>
                <a:gd name="T5" fmla="*/ 534 h 729"/>
                <a:gd name="T6" fmla="*/ 540 w 731"/>
                <a:gd name="T7" fmla="*/ 518 h 729"/>
                <a:gd name="T8" fmla="*/ 471 w 731"/>
                <a:gd name="T9" fmla="*/ 459 h 729"/>
                <a:gd name="T10" fmla="*/ 454 w 731"/>
                <a:gd name="T11" fmla="*/ 457 h 729"/>
                <a:gd name="T12" fmla="*/ 446 w 731"/>
                <a:gd name="T13" fmla="*/ 442 h 729"/>
                <a:gd name="T14" fmla="*/ 482 w 731"/>
                <a:gd name="T15" fmla="*/ 399 h 729"/>
                <a:gd name="T16" fmla="*/ 379 w 731"/>
                <a:gd name="T17" fmla="*/ 371 h 729"/>
                <a:gd name="T18" fmla="*/ 363 w 731"/>
                <a:gd name="T19" fmla="*/ 367 h 729"/>
                <a:gd name="T20" fmla="*/ 358 w 731"/>
                <a:gd name="T21" fmla="*/ 351 h 729"/>
                <a:gd name="T22" fmla="*/ 331 w 731"/>
                <a:gd name="T23" fmla="*/ 247 h 729"/>
                <a:gd name="T24" fmla="*/ 286 w 731"/>
                <a:gd name="T25" fmla="*/ 283 h 729"/>
                <a:gd name="T26" fmla="*/ 272 w 731"/>
                <a:gd name="T27" fmla="*/ 275 h 729"/>
                <a:gd name="T28" fmla="*/ 270 w 731"/>
                <a:gd name="T29" fmla="*/ 259 h 729"/>
                <a:gd name="T30" fmla="*/ 210 w 731"/>
                <a:gd name="T31" fmla="*/ 190 h 729"/>
                <a:gd name="T32" fmla="*/ 195 w 731"/>
                <a:gd name="T33" fmla="*/ 195 h 729"/>
                <a:gd name="T34" fmla="*/ 182 w 731"/>
                <a:gd name="T35" fmla="*/ 184 h 729"/>
                <a:gd name="T36" fmla="*/ 183 w 731"/>
                <a:gd name="T37" fmla="*/ 168 h 729"/>
                <a:gd name="T38" fmla="*/ 572 w 731"/>
                <a:gd name="T39" fmla="*/ 652 h 729"/>
                <a:gd name="T40" fmla="*/ 725 w 731"/>
                <a:gd name="T41" fmla="*/ 545 h 729"/>
                <a:gd name="T42" fmla="*/ 731 w 731"/>
                <a:gd name="T43" fmla="*/ 571 h 729"/>
                <a:gd name="T44" fmla="*/ 725 w 731"/>
                <a:gd name="T45" fmla="*/ 596 h 729"/>
                <a:gd name="T46" fmla="*/ 607 w 731"/>
                <a:gd name="T47" fmla="*/ 716 h 729"/>
                <a:gd name="T48" fmla="*/ 583 w 731"/>
                <a:gd name="T49" fmla="*/ 728 h 729"/>
                <a:gd name="T50" fmla="*/ 556 w 731"/>
                <a:gd name="T51" fmla="*/ 726 h 729"/>
                <a:gd name="T52" fmla="*/ 533 w 731"/>
                <a:gd name="T53" fmla="*/ 713 h 729"/>
                <a:gd name="T54" fmla="*/ 4 w 731"/>
                <a:gd name="T55" fmla="*/ 178 h 729"/>
                <a:gd name="T56" fmla="*/ 0 w 731"/>
                <a:gd name="T57" fmla="*/ 152 h 729"/>
                <a:gd name="T58" fmla="*/ 9 w 731"/>
                <a:gd name="T59" fmla="*/ 127 h 729"/>
                <a:gd name="T60" fmla="*/ 128 w 731"/>
                <a:gd name="T61" fmla="*/ 9 h 729"/>
                <a:gd name="T62" fmla="*/ 153 w 731"/>
                <a:gd name="T63" fmla="*/ 0 h 729"/>
                <a:gd name="T64" fmla="*/ 179 w 731"/>
                <a:gd name="T65" fmla="*/ 4 h 729"/>
                <a:gd name="T66" fmla="*/ 716 w 731"/>
                <a:gd name="T67" fmla="*/ 178 h 729"/>
                <a:gd name="T68" fmla="*/ 560 w 731"/>
                <a:gd name="T69" fmla="*/ 8 h 729"/>
                <a:gd name="T70" fmla="*/ 585 w 731"/>
                <a:gd name="T71" fmla="*/ 0 h 729"/>
                <a:gd name="T72" fmla="*/ 611 w 731"/>
                <a:gd name="T73" fmla="*/ 4 h 729"/>
                <a:gd name="T74" fmla="*/ 715 w 731"/>
                <a:gd name="T75" fmla="*/ 101 h 729"/>
                <a:gd name="T76" fmla="*/ 729 w 731"/>
                <a:gd name="T77" fmla="*/ 124 h 729"/>
                <a:gd name="T78" fmla="*/ 730 w 731"/>
                <a:gd name="T79" fmla="*/ 150 h 729"/>
                <a:gd name="T80" fmla="*/ 719 w 731"/>
                <a:gd name="T81" fmla="*/ 174 h 729"/>
                <a:gd name="T82" fmla="*/ 242 w 731"/>
                <a:gd name="T83" fmla="*/ 650 h 729"/>
                <a:gd name="T84" fmla="*/ 203 w 731"/>
                <a:gd name="T85" fmla="*/ 675 h 729"/>
                <a:gd name="T86" fmla="*/ 28 w 731"/>
                <a:gd name="T87" fmla="*/ 728 h 729"/>
                <a:gd name="T88" fmla="*/ 13 w 731"/>
                <a:gd name="T89" fmla="*/ 721 h 729"/>
                <a:gd name="T90" fmla="*/ 1 w 731"/>
                <a:gd name="T91" fmla="*/ 702 h 729"/>
                <a:gd name="T92" fmla="*/ 51 w 731"/>
                <a:gd name="T93" fmla="*/ 532 h 729"/>
                <a:gd name="T94" fmla="*/ 70 w 731"/>
                <a:gd name="T95" fmla="*/ 496 h 729"/>
                <a:gd name="T96" fmla="*/ 165 w 731"/>
                <a:gd name="T97" fmla="*/ 500 h 729"/>
                <a:gd name="T98" fmla="*/ 175 w 731"/>
                <a:gd name="T99" fmla="*/ 611 h 729"/>
                <a:gd name="T100" fmla="*/ 513 w 731"/>
                <a:gd name="T101" fmla="*/ 281 h 729"/>
                <a:gd name="T102" fmla="*/ 449 w 731"/>
                <a:gd name="T103" fmla="*/ 217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31" h="729">
                  <a:moveTo>
                    <a:pt x="572" y="652"/>
                  </a:moveTo>
                  <a:lnTo>
                    <a:pt x="654" y="571"/>
                  </a:lnTo>
                  <a:lnTo>
                    <a:pt x="595" y="512"/>
                  </a:lnTo>
                  <a:lnTo>
                    <a:pt x="564" y="543"/>
                  </a:lnTo>
                  <a:lnTo>
                    <a:pt x="562" y="545"/>
                  </a:lnTo>
                  <a:lnTo>
                    <a:pt x="559" y="547"/>
                  </a:lnTo>
                  <a:lnTo>
                    <a:pt x="555" y="548"/>
                  </a:lnTo>
                  <a:lnTo>
                    <a:pt x="552" y="548"/>
                  </a:lnTo>
                  <a:lnTo>
                    <a:pt x="549" y="548"/>
                  </a:lnTo>
                  <a:lnTo>
                    <a:pt x="545" y="547"/>
                  </a:lnTo>
                  <a:lnTo>
                    <a:pt x="542" y="545"/>
                  </a:lnTo>
                  <a:lnTo>
                    <a:pt x="540" y="543"/>
                  </a:lnTo>
                  <a:lnTo>
                    <a:pt x="537" y="540"/>
                  </a:lnTo>
                  <a:lnTo>
                    <a:pt x="536" y="537"/>
                  </a:lnTo>
                  <a:lnTo>
                    <a:pt x="535" y="534"/>
                  </a:lnTo>
                  <a:lnTo>
                    <a:pt x="534" y="530"/>
                  </a:lnTo>
                  <a:lnTo>
                    <a:pt x="535" y="527"/>
                  </a:lnTo>
                  <a:lnTo>
                    <a:pt x="536" y="524"/>
                  </a:lnTo>
                  <a:lnTo>
                    <a:pt x="537" y="521"/>
                  </a:lnTo>
                  <a:lnTo>
                    <a:pt x="540" y="518"/>
                  </a:lnTo>
                  <a:lnTo>
                    <a:pt x="570" y="487"/>
                  </a:lnTo>
                  <a:lnTo>
                    <a:pt x="507" y="424"/>
                  </a:lnTo>
                  <a:lnTo>
                    <a:pt x="476" y="455"/>
                  </a:lnTo>
                  <a:lnTo>
                    <a:pt x="474" y="457"/>
                  </a:lnTo>
                  <a:lnTo>
                    <a:pt x="471" y="459"/>
                  </a:lnTo>
                  <a:lnTo>
                    <a:pt x="467" y="460"/>
                  </a:lnTo>
                  <a:lnTo>
                    <a:pt x="464" y="460"/>
                  </a:lnTo>
                  <a:lnTo>
                    <a:pt x="461" y="460"/>
                  </a:lnTo>
                  <a:lnTo>
                    <a:pt x="457" y="459"/>
                  </a:lnTo>
                  <a:lnTo>
                    <a:pt x="454" y="457"/>
                  </a:lnTo>
                  <a:lnTo>
                    <a:pt x="452" y="455"/>
                  </a:lnTo>
                  <a:lnTo>
                    <a:pt x="449" y="452"/>
                  </a:lnTo>
                  <a:lnTo>
                    <a:pt x="448" y="449"/>
                  </a:lnTo>
                  <a:lnTo>
                    <a:pt x="447" y="446"/>
                  </a:lnTo>
                  <a:lnTo>
                    <a:pt x="446" y="442"/>
                  </a:lnTo>
                  <a:lnTo>
                    <a:pt x="447" y="439"/>
                  </a:lnTo>
                  <a:lnTo>
                    <a:pt x="448" y="436"/>
                  </a:lnTo>
                  <a:lnTo>
                    <a:pt x="449" y="433"/>
                  </a:lnTo>
                  <a:lnTo>
                    <a:pt x="452" y="430"/>
                  </a:lnTo>
                  <a:lnTo>
                    <a:pt x="482" y="399"/>
                  </a:lnTo>
                  <a:lnTo>
                    <a:pt x="419" y="336"/>
                  </a:lnTo>
                  <a:lnTo>
                    <a:pt x="388" y="367"/>
                  </a:lnTo>
                  <a:lnTo>
                    <a:pt x="385" y="369"/>
                  </a:lnTo>
                  <a:lnTo>
                    <a:pt x="382" y="370"/>
                  </a:lnTo>
                  <a:lnTo>
                    <a:pt x="379" y="371"/>
                  </a:lnTo>
                  <a:lnTo>
                    <a:pt x="376" y="372"/>
                  </a:lnTo>
                  <a:lnTo>
                    <a:pt x="372" y="371"/>
                  </a:lnTo>
                  <a:lnTo>
                    <a:pt x="369" y="370"/>
                  </a:lnTo>
                  <a:lnTo>
                    <a:pt x="366" y="369"/>
                  </a:lnTo>
                  <a:lnTo>
                    <a:pt x="363" y="367"/>
                  </a:lnTo>
                  <a:lnTo>
                    <a:pt x="361" y="364"/>
                  </a:lnTo>
                  <a:lnTo>
                    <a:pt x="359" y="361"/>
                  </a:lnTo>
                  <a:lnTo>
                    <a:pt x="358" y="357"/>
                  </a:lnTo>
                  <a:lnTo>
                    <a:pt x="358" y="354"/>
                  </a:lnTo>
                  <a:lnTo>
                    <a:pt x="358" y="351"/>
                  </a:lnTo>
                  <a:lnTo>
                    <a:pt x="359" y="348"/>
                  </a:lnTo>
                  <a:lnTo>
                    <a:pt x="361" y="344"/>
                  </a:lnTo>
                  <a:lnTo>
                    <a:pt x="363" y="342"/>
                  </a:lnTo>
                  <a:lnTo>
                    <a:pt x="394" y="311"/>
                  </a:lnTo>
                  <a:lnTo>
                    <a:pt x="331" y="247"/>
                  </a:lnTo>
                  <a:lnTo>
                    <a:pt x="300" y="278"/>
                  </a:lnTo>
                  <a:lnTo>
                    <a:pt x="297" y="280"/>
                  </a:lnTo>
                  <a:lnTo>
                    <a:pt x="293" y="282"/>
                  </a:lnTo>
                  <a:lnTo>
                    <a:pt x="290" y="283"/>
                  </a:lnTo>
                  <a:lnTo>
                    <a:pt x="286" y="283"/>
                  </a:lnTo>
                  <a:lnTo>
                    <a:pt x="283" y="283"/>
                  </a:lnTo>
                  <a:lnTo>
                    <a:pt x="280" y="282"/>
                  </a:lnTo>
                  <a:lnTo>
                    <a:pt x="277" y="280"/>
                  </a:lnTo>
                  <a:lnTo>
                    <a:pt x="274" y="278"/>
                  </a:lnTo>
                  <a:lnTo>
                    <a:pt x="272" y="275"/>
                  </a:lnTo>
                  <a:lnTo>
                    <a:pt x="270" y="272"/>
                  </a:lnTo>
                  <a:lnTo>
                    <a:pt x="269" y="269"/>
                  </a:lnTo>
                  <a:lnTo>
                    <a:pt x="269" y="266"/>
                  </a:lnTo>
                  <a:lnTo>
                    <a:pt x="269" y="262"/>
                  </a:lnTo>
                  <a:lnTo>
                    <a:pt x="270" y="259"/>
                  </a:lnTo>
                  <a:lnTo>
                    <a:pt x="272" y="256"/>
                  </a:lnTo>
                  <a:lnTo>
                    <a:pt x="274" y="253"/>
                  </a:lnTo>
                  <a:lnTo>
                    <a:pt x="306" y="223"/>
                  </a:lnTo>
                  <a:lnTo>
                    <a:pt x="241" y="159"/>
                  </a:lnTo>
                  <a:lnTo>
                    <a:pt x="210" y="190"/>
                  </a:lnTo>
                  <a:lnTo>
                    <a:pt x="208" y="192"/>
                  </a:lnTo>
                  <a:lnTo>
                    <a:pt x="205" y="194"/>
                  </a:lnTo>
                  <a:lnTo>
                    <a:pt x="201" y="195"/>
                  </a:lnTo>
                  <a:lnTo>
                    <a:pt x="198" y="195"/>
                  </a:lnTo>
                  <a:lnTo>
                    <a:pt x="195" y="195"/>
                  </a:lnTo>
                  <a:lnTo>
                    <a:pt x="191" y="194"/>
                  </a:lnTo>
                  <a:lnTo>
                    <a:pt x="188" y="192"/>
                  </a:lnTo>
                  <a:lnTo>
                    <a:pt x="186" y="190"/>
                  </a:lnTo>
                  <a:lnTo>
                    <a:pt x="183" y="187"/>
                  </a:lnTo>
                  <a:lnTo>
                    <a:pt x="182" y="184"/>
                  </a:lnTo>
                  <a:lnTo>
                    <a:pt x="181" y="181"/>
                  </a:lnTo>
                  <a:lnTo>
                    <a:pt x="180" y="178"/>
                  </a:lnTo>
                  <a:lnTo>
                    <a:pt x="181" y="174"/>
                  </a:lnTo>
                  <a:lnTo>
                    <a:pt x="182" y="171"/>
                  </a:lnTo>
                  <a:lnTo>
                    <a:pt x="183" y="168"/>
                  </a:lnTo>
                  <a:lnTo>
                    <a:pt x="186" y="165"/>
                  </a:lnTo>
                  <a:lnTo>
                    <a:pt x="216" y="134"/>
                  </a:lnTo>
                  <a:lnTo>
                    <a:pt x="158" y="76"/>
                  </a:lnTo>
                  <a:lnTo>
                    <a:pt x="77" y="157"/>
                  </a:lnTo>
                  <a:lnTo>
                    <a:pt x="572" y="652"/>
                  </a:lnTo>
                  <a:close/>
                  <a:moveTo>
                    <a:pt x="197" y="15"/>
                  </a:moveTo>
                  <a:lnTo>
                    <a:pt x="715" y="532"/>
                  </a:lnTo>
                  <a:lnTo>
                    <a:pt x="719" y="536"/>
                  </a:lnTo>
                  <a:lnTo>
                    <a:pt x="722" y="540"/>
                  </a:lnTo>
                  <a:lnTo>
                    <a:pt x="725" y="545"/>
                  </a:lnTo>
                  <a:lnTo>
                    <a:pt x="727" y="550"/>
                  </a:lnTo>
                  <a:lnTo>
                    <a:pt x="729" y="555"/>
                  </a:lnTo>
                  <a:lnTo>
                    <a:pt x="730" y="560"/>
                  </a:lnTo>
                  <a:lnTo>
                    <a:pt x="731" y="565"/>
                  </a:lnTo>
                  <a:lnTo>
                    <a:pt x="731" y="571"/>
                  </a:lnTo>
                  <a:lnTo>
                    <a:pt x="731" y="576"/>
                  </a:lnTo>
                  <a:lnTo>
                    <a:pt x="730" y="581"/>
                  </a:lnTo>
                  <a:lnTo>
                    <a:pt x="729" y="586"/>
                  </a:lnTo>
                  <a:lnTo>
                    <a:pt x="727" y="591"/>
                  </a:lnTo>
                  <a:lnTo>
                    <a:pt x="725" y="596"/>
                  </a:lnTo>
                  <a:lnTo>
                    <a:pt x="722" y="601"/>
                  </a:lnTo>
                  <a:lnTo>
                    <a:pt x="719" y="605"/>
                  </a:lnTo>
                  <a:lnTo>
                    <a:pt x="715" y="610"/>
                  </a:lnTo>
                  <a:lnTo>
                    <a:pt x="611" y="713"/>
                  </a:lnTo>
                  <a:lnTo>
                    <a:pt x="607" y="716"/>
                  </a:lnTo>
                  <a:lnTo>
                    <a:pt x="603" y="720"/>
                  </a:lnTo>
                  <a:lnTo>
                    <a:pt x="598" y="722"/>
                  </a:lnTo>
                  <a:lnTo>
                    <a:pt x="593" y="725"/>
                  </a:lnTo>
                  <a:lnTo>
                    <a:pt x="588" y="726"/>
                  </a:lnTo>
                  <a:lnTo>
                    <a:pt x="583" y="728"/>
                  </a:lnTo>
                  <a:lnTo>
                    <a:pt x="578" y="729"/>
                  </a:lnTo>
                  <a:lnTo>
                    <a:pt x="572" y="729"/>
                  </a:lnTo>
                  <a:lnTo>
                    <a:pt x="567" y="729"/>
                  </a:lnTo>
                  <a:lnTo>
                    <a:pt x="562" y="728"/>
                  </a:lnTo>
                  <a:lnTo>
                    <a:pt x="556" y="726"/>
                  </a:lnTo>
                  <a:lnTo>
                    <a:pt x="551" y="725"/>
                  </a:lnTo>
                  <a:lnTo>
                    <a:pt x="546" y="722"/>
                  </a:lnTo>
                  <a:lnTo>
                    <a:pt x="542" y="720"/>
                  </a:lnTo>
                  <a:lnTo>
                    <a:pt x="537" y="716"/>
                  </a:lnTo>
                  <a:lnTo>
                    <a:pt x="533" y="713"/>
                  </a:lnTo>
                  <a:lnTo>
                    <a:pt x="16" y="196"/>
                  </a:lnTo>
                  <a:lnTo>
                    <a:pt x="12" y="192"/>
                  </a:lnTo>
                  <a:lnTo>
                    <a:pt x="9" y="188"/>
                  </a:lnTo>
                  <a:lnTo>
                    <a:pt x="6" y="183"/>
                  </a:lnTo>
                  <a:lnTo>
                    <a:pt x="4" y="178"/>
                  </a:lnTo>
                  <a:lnTo>
                    <a:pt x="2" y="173"/>
                  </a:lnTo>
                  <a:lnTo>
                    <a:pt x="1" y="168"/>
                  </a:lnTo>
                  <a:lnTo>
                    <a:pt x="0" y="163"/>
                  </a:lnTo>
                  <a:lnTo>
                    <a:pt x="0" y="157"/>
                  </a:lnTo>
                  <a:lnTo>
                    <a:pt x="0" y="152"/>
                  </a:lnTo>
                  <a:lnTo>
                    <a:pt x="1" y="147"/>
                  </a:lnTo>
                  <a:lnTo>
                    <a:pt x="2" y="141"/>
                  </a:lnTo>
                  <a:lnTo>
                    <a:pt x="4" y="136"/>
                  </a:lnTo>
                  <a:lnTo>
                    <a:pt x="6" y="131"/>
                  </a:lnTo>
                  <a:lnTo>
                    <a:pt x="9" y="127"/>
                  </a:lnTo>
                  <a:lnTo>
                    <a:pt x="12" y="123"/>
                  </a:lnTo>
                  <a:lnTo>
                    <a:pt x="16" y="118"/>
                  </a:lnTo>
                  <a:lnTo>
                    <a:pt x="119" y="16"/>
                  </a:lnTo>
                  <a:lnTo>
                    <a:pt x="123" y="12"/>
                  </a:lnTo>
                  <a:lnTo>
                    <a:pt x="128" y="9"/>
                  </a:lnTo>
                  <a:lnTo>
                    <a:pt x="132" y="6"/>
                  </a:lnTo>
                  <a:lnTo>
                    <a:pt x="137" y="4"/>
                  </a:lnTo>
                  <a:lnTo>
                    <a:pt x="142" y="2"/>
                  </a:lnTo>
                  <a:lnTo>
                    <a:pt x="147" y="1"/>
                  </a:lnTo>
                  <a:lnTo>
                    <a:pt x="153" y="0"/>
                  </a:lnTo>
                  <a:lnTo>
                    <a:pt x="158" y="0"/>
                  </a:lnTo>
                  <a:lnTo>
                    <a:pt x="163" y="0"/>
                  </a:lnTo>
                  <a:lnTo>
                    <a:pt x="169" y="1"/>
                  </a:lnTo>
                  <a:lnTo>
                    <a:pt x="174" y="2"/>
                  </a:lnTo>
                  <a:lnTo>
                    <a:pt x="179" y="4"/>
                  </a:lnTo>
                  <a:lnTo>
                    <a:pt x="184" y="6"/>
                  </a:lnTo>
                  <a:lnTo>
                    <a:pt x="188" y="9"/>
                  </a:lnTo>
                  <a:lnTo>
                    <a:pt x="193" y="12"/>
                  </a:lnTo>
                  <a:lnTo>
                    <a:pt x="197" y="15"/>
                  </a:lnTo>
                  <a:close/>
                  <a:moveTo>
                    <a:pt x="716" y="178"/>
                  </a:moveTo>
                  <a:lnTo>
                    <a:pt x="705" y="189"/>
                  </a:lnTo>
                  <a:lnTo>
                    <a:pt x="540" y="26"/>
                  </a:lnTo>
                  <a:lnTo>
                    <a:pt x="551" y="15"/>
                  </a:lnTo>
                  <a:lnTo>
                    <a:pt x="555" y="12"/>
                  </a:lnTo>
                  <a:lnTo>
                    <a:pt x="560" y="8"/>
                  </a:lnTo>
                  <a:lnTo>
                    <a:pt x="564" y="6"/>
                  </a:lnTo>
                  <a:lnTo>
                    <a:pt x="569" y="4"/>
                  </a:lnTo>
                  <a:lnTo>
                    <a:pt x="574" y="2"/>
                  </a:lnTo>
                  <a:lnTo>
                    <a:pt x="579" y="1"/>
                  </a:lnTo>
                  <a:lnTo>
                    <a:pt x="585" y="0"/>
                  </a:lnTo>
                  <a:lnTo>
                    <a:pt x="590" y="0"/>
                  </a:lnTo>
                  <a:lnTo>
                    <a:pt x="595" y="0"/>
                  </a:lnTo>
                  <a:lnTo>
                    <a:pt x="601" y="1"/>
                  </a:lnTo>
                  <a:lnTo>
                    <a:pt x="606" y="2"/>
                  </a:lnTo>
                  <a:lnTo>
                    <a:pt x="611" y="4"/>
                  </a:lnTo>
                  <a:lnTo>
                    <a:pt x="616" y="6"/>
                  </a:lnTo>
                  <a:lnTo>
                    <a:pt x="621" y="8"/>
                  </a:lnTo>
                  <a:lnTo>
                    <a:pt x="625" y="12"/>
                  </a:lnTo>
                  <a:lnTo>
                    <a:pt x="629" y="15"/>
                  </a:lnTo>
                  <a:lnTo>
                    <a:pt x="715" y="101"/>
                  </a:lnTo>
                  <a:lnTo>
                    <a:pt x="719" y="105"/>
                  </a:lnTo>
                  <a:lnTo>
                    <a:pt x="722" y="109"/>
                  </a:lnTo>
                  <a:lnTo>
                    <a:pt x="725" y="114"/>
                  </a:lnTo>
                  <a:lnTo>
                    <a:pt x="727" y="119"/>
                  </a:lnTo>
                  <a:lnTo>
                    <a:pt x="729" y="124"/>
                  </a:lnTo>
                  <a:lnTo>
                    <a:pt x="730" y="129"/>
                  </a:lnTo>
                  <a:lnTo>
                    <a:pt x="731" y="134"/>
                  </a:lnTo>
                  <a:lnTo>
                    <a:pt x="731" y="140"/>
                  </a:lnTo>
                  <a:lnTo>
                    <a:pt x="731" y="145"/>
                  </a:lnTo>
                  <a:lnTo>
                    <a:pt x="730" y="150"/>
                  </a:lnTo>
                  <a:lnTo>
                    <a:pt x="729" y="155"/>
                  </a:lnTo>
                  <a:lnTo>
                    <a:pt x="727" y="160"/>
                  </a:lnTo>
                  <a:lnTo>
                    <a:pt x="725" y="165"/>
                  </a:lnTo>
                  <a:lnTo>
                    <a:pt x="723" y="170"/>
                  </a:lnTo>
                  <a:lnTo>
                    <a:pt x="719" y="174"/>
                  </a:lnTo>
                  <a:lnTo>
                    <a:pt x="716" y="178"/>
                  </a:lnTo>
                  <a:close/>
                  <a:moveTo>
                    <a:pt x="229" y="564"/>
                  </a:moveTo>
                  <a:lnTo>
                    <a:pt x="281" y="511"/>
                  </a:lnTo>
                  <a:lnTo>
                    <a:pt x="332" y="561"/>
                  </a:lnTo>
                  <a:lnTo>
                    <a:pt x="242" y="650"/>
                  </a:lnTo>
                  <a:lnTo>
                    <a:pt x="232" y="658"/>
                  </a:lnTo>
                  <a:lnTo>
                    <a:pt x="221" y="666"/>
                  </a:lnTo>
                  <a:lnTo>
                    <a:pt x="216" y="669"/>
                  </a:lnTo>
                  <a:lnTo>
                    <a:pt x="210" y="673"/>
                  </a:lnTo>
                  <a:lnTo>
                    <a:pt x="203" y="675"/>
                  </a:lnTo>
                  <a:lnTo>
                    <a:pt x="197" y="677"/>
                  </a:lnTo>
                  <a:lnTo>
                    <a:pt x="46" y="727"/>
                  </a:lnTo>
                  <a:lnTo>
                    <a:pt x="40" y="729"/>
                  </a:lnTo>
                  <a:lnTo>
                    <a:pt x="35" y="729"/>
                  </a:lnTo>
                  <a:lnTo>
                    <a:pt x="28" y="728"/>
                  </a:lnTo>
                  <a:lnTo>
                    <a:pt x="25" y="727"/>
                  </a:lnTo>
                  <a:lnTo>
                    <a:pt x="22" y="726"/>
                  </a:lnTo>
                  <a:lnTo>
                    <a:pt x="18" y="725"/>
                  </a:lnTo>
                  <a:lnTo>
                    <a:pt x="15" y="723"/>
                  </a:lnTo>
                  <a:lnTo>
                    <a:pt x="13" y="721"/>
                  </a:lnTo>
                  <a:lnTo>
                    <a:pt x="10" y="719"/>
                  </a:lnTo>
                  <a:lnTo>
                    <a:pt x="7" y="715"/>
                  </a:lnTo>
                  <a:lnTo>
                    <a:pt x="4" y="711"/>
                  </a:lnTo>
                  <a:lnTo>
                    <a:pt x="2" y="707"/>
                  </a:lnTo>
                  <a:lnTo>
                    <a:pt x="1" y="702"/>
                  </a:lnTo>
                  <a:lnTo>
                    <a:pt x="0" y="697"/>
                  </a:lnTo>
                  <a:lnTo>
                    <a:pt x="0" y="692"/>
                  </a:lnTo>
                  <a:lnTo>
                    <a:pt x="0" y="688"/>
                  </a:lnTo>
                  <a:lnTo>
                    <a:pt x="1" y="683"/>
                  </a:lnTo>
                  <a:lnTo>
                    <a:pt x="51" y="532"/>
                  </a:lnTo>
                  <a:lnTo>
                    <a:pt x="54" y="525"/>
                  </a:lnTo>
                  <a:lnTo>
                    <a:pt x="56" y="519"/>
                  </a:lnTo>
                  <a:lnTo>
                    <a:pt x="63" y="507"/>
                  </a:lnTo>
                  <a:lnTo>
                    <a:pt x="66" y="502"/>
                  </a:lnTo>
                  <a:lnTo>
                    <a:pt x="70" y="496"/>
                  </a:lnTo>
                  <a:lnTo>
                    <a:pt x="75" y="491"/>
                  </a:lnTo>
                  <a:lnTo>
                    <a:pt x="79" y="486"/>
                  </a:lnTo>
                  <a:lnTo>
                    <a:pt x="168" y="398"/>
                  </a:lnTo>
                  <a:lnTo>
                    <a:pt x="217" y="447"/>
                  </a:lnTo>
                  <a:lnTo>
                    <a:pt x="165" y="500"/>
                  </a:lnTo>
                  <a:lnTo>
                    <a:pt x="229" y="564"/>
                  </a:lnTo>
                  <a:close/>
                  <a:moveTo>
                    <a:pt x="175" y="611"/>
                  </a:moveTo>
                  <a:lnTo>
                    <a:pt x="119" y="552"/>
                  </a:lnTo>
                  <a:lnTo>
                    <a:pt x="90" y="639"/>
                  </a:lnTo>
                  <a:lnTo>
                    <a:pt x="175" y="611"/>
                  </a:lnTo>
                  <a:close/>
                  <a:moveTo>
                    <a:pt x="513" y="281"/>
                  </a:moveTo>
                  <a:lnTo>
                    <a:pt x="624" y="170"/>
                  </a:lnTo>
                  <a:lnTo>
                    <a:pt x="675" y="219"/>
                  </a:lnTo>
                  <a:lnTo>
                    <a:pt x="563" y="330"/>
                  </a:lnTo>
                  <a:lnTo>
                    <a:pt x="513" y="281"/>
                  </a:lnTo>
                  <a:close/>
                  <a:moveTo>
                    <a:pt x="449" y="217"/>
                  </a:moveTo>
                  <a:lnTo>
                    <a:pt x="399" y="167"/>
                  </a:lnTo>
                  <a:lnTo>
                    <a:pt x="510" y="56"/>
                  </a:lnTo>
                  <a:lnTo>
                    <a:pt x="560" y="106"/>
                  </a:lnTo>
                  <a:lnTo>
                    <a:pt x="449" y="2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B4245"/>
                </a:solidFill>
                <a:effectLst/>
                <a:uLnTx/>
                <a:uFillTx/>
                <a:latin typeface="Arial"/>
                <a:ea typeface="+mn-ea"/>
                <a:cs typeface="+mn-cs"/>
              </a:endParaRPr>
            </a:p>
          </p:txBody>
        </p:sp>
        <p:sp>
          <p:nvSpPr>
            <p:cNvPr id="27" name="Freeform 23">
              <a:extLst>
                <a:ext uri="{FF2B5EF4-FFF2-40B4-BE49-F238E27FC236}">
                  <a16:creationId xmlns:a16="http://schemas.microsoft.com/office/drawing/2014/main" id="{9524FCB1-EA0A-4F40-9E6F-2F2B6BF74DC3}"/>
                </a:ext>
              </a:extLst>
            </p:cNvPr>
            <p:cNvSpPr>
              <a:spLocks noChangeAspect="1" noEditPoints="1"/>
            </p:cNvSpPr>
            <p:nvPr/>
          </p:nvSpPr>
          <p:spPr bwMode="auto">
            <a:xfrm>
              <a:off x="7752230" y="4365130"/>
              <a:ext cx="248667" cy="432000"/>
            </a:xfrm>
            <a:custGeom>
              <a:avLst/>
              <a:gdLst>
                <a:gd name="T0" fmla="*/ 615 w 628"/>
                <a:gd name="T1" fmla="*/ 447 h 1091"/>
                <a:gd name="T2" fmla="*/ 601 w 628"/>
                <a:gd name="T3" fmla="*/ 438 h 1091"/>
                <a:gd name="T4" fmla="*/ 585 w 628"/>
                <a:gd name="T5" fmla="*/ 434 h 1091"/>
                <a:gd name="T6" fmla="*/ 422 w 628"/>
                <a:gd name="T7" fmla="*/ 45 h 1091"/>
                <a:gd name="T8" fmla="*/ 421 w 628"/>
                <a:gd name="T9" fmla="*/ 34 h 1091"/>
                <a:gd name="T10" fmla="*/ 415 w 628"/>
                <a:gd name="T11" fmla="*/ 20 h 1091"/>
                <a:gd name="T12" fmla="*/ 399 w 628"/>
                <a:gd name="T13" fmla="*/ 5 h 1091"/>
                <a:gd name="T14" fmla="*/ 388 w 628"/>
                <a:gd name="T15" fmla="*/ 1 h 1091"/>
                <a:gd name="T16" fmla="*/ 377 w 628"/>
                <a:gd name="T17" fmla="*/ 0 h 1091"/>
                <a:gd name="T18" fmla="*/ 363 w 628"/>
                <a:gd name="T19" fmla="*/ 2 h 1091"/>
                <a:gd name="T20" fmla="*/ 347 w 628"/>
                <a:gd name="T21" fmla="*/ 12 h 1091"/>
                <a:gd name="T22" fmla="*/ 6 w 628"/>
                <a:gd name="T23" fmla="*/ 590 h 1091"/>
                <a:gd name="T24" fmla="*/ 0 w 628"/>
                <a:gd name="T25" fmla="*/ 606 h 1091"/>
                <a:gd name="T26" fmla="*/ 1 w 628"/>
                <a:gd name="T27" fmla="*/ 623 h 1091"/>
                <a:gd name="T28" fmla="*/ 8 w 628"/>
                <a:gd name="T29" fmla="*/ 638 h 1091"/>
                <a:gd name="T30" fmla="*/ 21 w 628"/>
                <a:gd name="T31" fmla="*/ 650 h 1091"/>
                <a:gd name="T32" fmla="*/ 37 w 628"/>
                <a:gd name="T33" fmla="*/ 655 h 1091"/>
                <a:gd name="T34" fmla="*/ 206 w 628"/>
                <a:gd name="T35" fmla="*/ 1042 h 1091"/>
                <a:gd name="T36" fmla="*/ 206 w 628"/>
                <a:gd name="T37" fmla="*/ 1053 h 1091"/>
                <a:gd name="T38" fmla="*/ 209 w 628"/>
                <a:gd name="T39" fmla="*/ 1064 h 1091"/>
                <a:gd name="T40" fmla="*/ 222 w 628"/>
                <a:gd name="T41" fmla="*/ 1082 h 1091"/>
                <a:gd name="T42" fmla="*/ 236 w 628"/>
                <a:gd name="T43" fmla="*/ 1089 h 1091"/>
                <a:gd name="T44" fmla="*/ 246 w 628"/>
                <a:gd name="T45" fmla="*/ 1091 h 1091"/>
                <a:gd name="T46" fmla="*/ 261 w 628"/>
                <a:gd name="T47" fmla="*/ 1090 h 1091"/>
                <a:gd name="T48" fmla="*/ 276 w 628"/>
                <a:gd name="T49" fmla="*/ 1082 h 1091"/>
                <a:gd name="T50" fmla="*/ 284 w 628"/>
                <a:gd name="T51" fmla="*/ 1075 h 1091"/>
                <a:gd name="T52" fmla="*/ 625 w 628"/>
                <a:gd name="T53" fmla="*/ 495 h 1091"/>
                <a:gd name="T54" fmla="*/ 628 w 628"/>
                <a:gd name="T55" fmla="*/ 478 h 1091"/>
                <a:gd name="T56" fmla="*/ 625 w 628"/>
                <a:gd name="T57" fmla="*/ 462 h 1091"/>
                <a:gd name="T58" fmla="*/ 349 w 628"/>
                <a:gd name="T59" fmla="*/ 618 h 1091"/>
                <a:gd name="T60" fmla="*/ 349 w 628"/>
                <a:gd name="T61" fmla="*/ 612 h 1091"/>
                <a:gd name="T62" fmla="*/ 347 w 628"/>
                <a:gd name="T63" fmla="*/ 602 h 1091"/>
                <a:gd name="T64" fmla="*/ 344 w 628"/>
                <a:gd name="T65" fmla="*/ 593 h 1091"/>
                <a:gd name="T66" fmla="*/ 336 w 628"/>
                <a:gd name="T67" fmla="*/ 582 h 1091"/>
                <a:gd name="T68" fmla="*/ 327 w 628"/>
                <a:gd name="T69" fmla="*/ 575 h 1091"/>
                <a:gd name="T70" fmla="*/ 315 w 628"/>
                <a:gd name="T71" fmla="*/ 570 h 1091"/>
                <a:gd name="T72" fmla="*/ 305 w 628"/>
                <a:gd name="T73" fmla="*/ 568 h 1091"/>
                <a:gd name="T74" fmla="*/ 279 w 628"/>
                <a:gd name="T75" fmla="*/ 472 h 1091"/>
                <a:gd name="T76" fmla="*/ 279 w 628"/>
                <a:gd name="T77" fmla="*/ 478 h 1091"/>
                <a:gd name="T78" fmla="*/ 280 w 628"/>
                <a:gd name="T79" fmla="*/ 488 h 1091"/>
                <a:gd name="T80" fmla="*/ 284 w 628"/>
                <a:gd name="T81" fmla="*/ 497 h 1091"/>
                <a:gd name="T82" fmla="*/ 294 w 628"/>
                <a:gd name="T83" fmla="*/ 510 h 1091"/>
                <a:gd name="T84" fmla="*/ 305 w 628"/>
                <a:gd name="T85" fmla="*/ 517 h 1091"/>
                <a:gd name="T86" fmla="*/ 317 w 628"/>
                <a:gd name="T87" fmla="*/ 521 h 1091"/>
                <a:gd name="T88" fmla="*/ 508 w 628"/>
                <a:gd name="T89" fmla="*/ 522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8" h="1091">
                  <a:moveTo>
                    <a:pt x="622" y="456"/>
                  </a:moveTo>
                  <a:lnTo>
                    <a:pt x="619" y="451"/>
                  </a:lnTo>
                  <a:lnTo>
                    <a:pt x="615" y="447"/>
                  </a:lnTo>
                  <a:lnTo>
                    <a:pt x="611" y="443"/>
                  </a:lnTo>
                  <a:lnTo>
                    <a:pt x="606" y="440"/>
                  </a:lnTo>
                  <a:lnTo>
                    <a:pt x="601" y="438"/>
                  </a:lnTo>
                  <a:lnTo>
                    <a:pt x="596" y="436"/>
                  </a:lnTo>
                  <a:lnTo>
                    <a:pt x="590" y="435"/>
                  </a:lnTo>
                  <a:lnTo>
                    <a:pt x="585" y="434"/>
                  </a:lnTo>
                  <a:lnTo>
                    <a:pt x="372" y="434"/>
                  </a:lnTo>
                  <a:lnTo>
                    <a:pt x="421" y="49"/>
                  </a:lnTo>
                  <a:lnTo>
                    <a:pt x="422" y="45"/>
                  </a:lnTo>
                  <a:lnTo>
                    <a:pt x="422" y="41"/>
                  </a:lnTo>
                  <a:lnTo>
                    <a:pt x="421" y="37"/>
                  </a:lnTo>
                  <a:lnTo>
                    <a:pt x="421" y="34"/>
                  </a:lnTo>
                  <a:lnTo>
                    <a:pt x="420" y="30"/>
                  </a:lnTo>
                  <a:lnTo>
                    <a:pt x="418" y="27"/>
                  </a:lnTo>
                  <a:lnTo>
                    <a:pt x="415" y="20"/>
                  </a:lnTo>
                  <a:lnTo>
                    <a:pt x="411" y="14"/>
                  </a:lnTo>
                  <a:lnTo>
                    <a:pt x="405" y="9"/>
                  </a:lnTo>
                  <a:lnTo>
                    <a:pt x="399" y="5"/>
                  </a:lnTo>
                  <a:lnTo>
                    <a:pt x="396" y="3"/>
                  </a:lnTo>
                  <a:lnTo>
                    <a:pt x="392" y="2"/>
                  </a:lnTo>
                  <a:lnTo>
                    <a:pt x="388" y="1"/>
                  </a:lnTo>
                  <a:lnTo>
                    <a:pt x="385" y="0"/>
                  </a:lnTo>
                  <a:lnTo>
                    <a:pt x="381" y="0"/>
                  </a:lnTo>
                  <a:lnTo>
                    <a:pt x="377" y="0"/>
                  </a:lnTo>
                  <a:lnTo>
                    <a:pt x="370" y="0"/>
                  </a:lnTo>
                  <a:lnTo>
                    <a:pt x="366" y="1"/>
                  </a:lnTo>
                  <a:lnTo>
                    <a:pt x="363" y="2"/>
                  </a:lnTo>
                  <a:lnTo>
                    <a:pt x="356" y="5"/>
                  </a:lnTo>
                  <a:lnTo>
                    <a:pt x="350" y="10"/>
                  </a:lnTo>
                  <a:lnTo>
                    <a:pt x="347" y="12"/>
                  </a:lnTo>
                  <a:lnTo>
                    <a:pt x="345" y="15"/>
                  </a:lnTo>
                  <a:lnTo>
                    <a:pt x="340" y="21"/>
                  </a:lnTo>
                  <a:lnTo>
                    <a:pt x="6" y="590"/>
                  </a:lnTo>
                  <a:lnTo>
                    <a:pt x="3" y="595"/>
                  </a:lnTo>
                  <a:lnTo>
                    <a:pt x="1" y="600"/>
                  </a:lnTo>
                  <a:lnTo>
                    <a:pt x="0" y="606"/>
                  </a:lnTo>
                  <a:lnTo>
                    <a:pt x="0" y="612"/>
                  </a:lnTo>
                  <a:lnTo>
                    <a:pt x="0" y="617"/>
                  </a:lnTo>
                  <a:lnTo>
                    <a:pt x="1" y="623"/>
                  </a:lnTo>
                  <a:lnTo>
                    <a:pt x="3" y="628"/>
                  </a:lnTo>
                  <a:lnTo>
                    <a:pt x="5" y="633"/>
                  </a:lnTo>
                  <a:lnTo>
                    <a:pt x="8" y="638"/>
                  </a:lnTo>
                  <a:lnTo>
                    <a:pt x="12" y="643"/>
                  </a:lnTo>
                  <a:lnTo>
                    <a:pt x="17" y="646"/>
                  </a:lnTo>
                  <a:lnTo>
                    <a:pt x="21" y="650"/>
                  </a:lnTo>
                  <a:lnTo>
                    <a:pt x="26" y="652"/>
                  </a:lnTo>
                  <a:lnTo>
                    <a:pt x="32" y="654"/>
                  </a:lnTo>
                  <a:lnTo>
                    <a:pt x="37" y="655"/>
                  </a:lnTo>
                  <a:lnTo>
                    <a:pt x="43" y="655"/>
                  </a:lnTo>
                  <a:lnTo>
                    <a:pt x="256" y="655"/>
                  </a:lnTo>
                  <a:lnTo>
                    <a:pt x="206" y="1042"/>
                  </a:lnTo>
                  <a:lnTo>
                    <a:pt x="206" y="1046"/>
                  </a:lnTo>
                  <a:lnTo>
                    <a:pt x="206" y="1050"/>
                  </a:lnTo>
                  <a:lnTo>
                    <a:pt x="206" y="1053"/>
                  </a:lnTo>
                  <a:lnTo>
                    <a:pt x="207" y="1057"/>
                  </a:lnTo>
                  <a:lnTo>
                    <a:pt x="208" y="1061"/>
                  </a:lnTo>
                  <a:lnTo>
                    <a:pt x="209" y="1064"/>
                  </a:lnTo>
                  <a:lnTo>
                    <a:pt x="213" y="1071"/>
                  </a:lnTo>
                  <a:lnTo>
                    <a:pt x="217" y="1076"/>
                  </a:lnTo>
                  <a:lnTo>
                    <a:pt x="222" y="1082"/>
                  </a:lnTo>
                  <a:lnTo>
                    <a:pt x="229" y="1086"/>
                  </a:lnTo>
                  <a:lnTo>
                    <a:pt x="232" y="1087"/>
                  </a:lnTo>
                  <a:lnTo>
                    <a:pt x="236" y="1089"/>
                  </a:lnTo>
                  <a:lnTo>
                    <a:pt x="239" y="1090"/>
                  </a:lnTo>
                  <a:lnTo>
                    <a:pt x="243" y="1091"/>
                  </a:lnTo>
                  <a:lnTo>
                    <a:pt x="246" y="1091"/>
                  </a:lnTo>
                  <a:lnTo>
                    <a:pt x="250" y="1091"/>
                  </a:lnTo>
                  <a:lnTo>
                    <a:pt x="255" y="1091"/>
                  </a:lnTo>
                  <a:lnTo>
                    <a:pt x="261" y="1090"/>
                  </a:lnTo>
                  <a:lnTo>
                    <a:pt x="266" y="1088"/>
                  </a:lnTo>
                  <a:lnTo>
                    <a:pt x="271" y="1086"/>
                  </a:lnTo>
                  <a:lnTo>
                    <a:pt x="276" y="1082"/>
                  </a:lnTo>
                  <a:lnTo>
                    <a:pt x="278" y="1081"/>
                  </a:lnTo>
                  <a:lnTo>
                    <a:pt x="280" y="1079"/>
                  </a:lnTo>
                  <a:lnTo>
                    <a:pt x="284" y="1075"/>
                  </a:lnTo>
                  <a:lnTo>
                    <a:pt x="287" y="1070"/>
                  </a:lnTo>
                  <a:lnTo>
                    <a:pt x="622" y="500"/>
                  </a:lnTo>
                  <a:lnTo>
                    <a:pt x="625" y="495"/>
                  </a:lnTo>
                  <a:lnTo>
                    <a:pt x="627" y="490"/>
                  </a:lnTo>
                  <a:lnTo>
                    <a:pt x="628" y="484"/>
                  </a:lnTo>
                  <a:lnTo>
                    <a:pt x="628" y="478"/>
                  </a:lnTo>
                  <a:lnTo>
                    <a:pt x="628" y="473"/>
                  </a:lnTo>
                  <a:lnTo>
                    <a:pt x="627" y="467"/>
                  </a:lnTo>
                  <a:lnTo>
                    <a:pt x="625" y="462"/>
                  </a:lnTo>
                  <a:lnTo>
                    <a:pt x="622" y="456"/>
                  </a:lnTo>
                  <a:close/>
                  <a:moveTo>
                    <a:pt x="320" y="840"/>
                  </a:moveTo>
                  <a:lnTo>
                    <a:pt x="349" y="618"/>
                  </a:lnTo>
                  <a:lnTo>
                    <a:pt x="349" y="616"/>
                  </a:lnTo>
                  <a:lnTo>
                    <a:pt x="348" y="614"/>
                  </a:lnTo>
                  <a:lnTo>
                    <a:pt x="349" y="612"/>
                  </a:lnTo>
                  <a:lnTo>
                    <a:pt x="348" y="609"/>
                  </a:lnTo>
                  <a:lnTo>
                    <a:pt x="348" y="607"/>
                  </a:lnTo>
                  <a:lnTo>
                    <a:pt x="347" y="602"/>
                  </a:lnTo>
                  <a:lnTo>
                    <a:pt x="346" y="598"/>
                  </a:lnTo>
                  <a:lnTo>
                    <a:pt x="345" y="596"/>
                  </a:lnTo>
                  <a:lnTo>
                    <a:pt x="344" y="593"/>
                  </a:lnTo>
                  <a:lnTo>
                    <a:pt x="341" y="589"/>
                  </a:lnTo>
                  <a:lnTo>
                    <a:pt x="339" y="585"/>
                  </a:lnTo>
                  <a:lnTo>
                    <a:pt x="336" y="582"/>
                  </a:lnTo>
                  <a:lnTo>
                    <a:pt x="334" y="580"/>
                  </a:lnTo>
                  <a:lnTo>
                    <a:pt x="328" y="576"/>
                  </a:lnTo>
                  <a:lnTo>
                    <a:pt x="327" y="575"/>
                  </a:lnTo>
                  <a:lnTo>
                    <a:pt x="323" y="573"/>
                  </a:lnTo>
                  <a:lnTo>
                    <a:pt x="319" y="571"/>
                  </a:lnTo>
                  <a:lnTo>
                    <a:pt x="315" y="570"/>
                  </a:lnTo>
                  <a:lnTo>
                    <a:pt x="311" y="569"/>
                  </a:lnTo>
                  <a:lnTo>
                    <a:pt x="308" y="569"/>
                  </a:lnTo>
                  <a:lnTo>
                    <a:pt x="305" y="568"/>
                  </a:lnTo>
                  <a:lnTo>
                    <a:pt x="120" y="568"/>
                  </a:lnTo>
                  <a:lnTo>
                    <a:pt x="307" y="250"/>
                  </a:lnTo>
                  <a:lnTo>
                    <a:pt x="279" y="472"/>
                  </a:lnTo>
                  <a:lnTo>
                    <a:pt x="279" y="474"/>
                  </a:lnTo>
                  <a:lnTo>
                    <a:pt x="279" y="476"/>
                  </a:lnTo>
                  <a:lnTo>
                    <a:pt x="279" y="478"/>
                  </a:lnTo>
                  <a:lnTo>
                    <a:pt x="279" y="481"/>
                  </a:lnTo>
                  <a:lnTo>
                    <a:pt x="280" y="483"/>
                  </a:lnTo>
                  <a:lnTo>
                    <a:pt x="280" y="488"/>
                  </a:lnTo>
                  <a:lnTo>
                    <a:pt x="282" y="492"/>
                  </a:lnTo>
                  <a:lnTo>
                    <a:pt x="283" y="494"/>
                  </a:lnTo>
                  <a:lnTo>
                    <a:pt x="284" y="497"/>
                  </a:lnTo>
                  <a:lnTo>
                    <a:pt x="286" y="501"/>
                  </a:lnTo>
                  <a:lnTo>
                    <a:pt x="289" y="505"/>
                  </a:lnTo>
                  <a:lnTo>
                    <a:pt x="294" y="510"/>
                  </a:lnTo>
                  <a:lnTo>
                    <a:pt x="299" y="514"/>
                  </a:lnTo>
                  <a:lnTo>
                    <a:pt x="301" y="515"/>
                  </a:lnTo>
                  <a:lnTo>
                    <a:pt x="305" y="517"/>
                  </a:lnTo>
                  <a:lnTo>
                    <a:pt x="308" y="519"/>
                  </a:lnTo>
                  <a:lnTo>
                    <a:pt x="312" y="520"/>
                  </a:lnTo>
                  <a:lnTo>
                    <a:pt x="317" y="521"/>
                  </a:lnTo>
                  <a:lnTo>
                    <a:pt x="320" y="521"/>
                  </a:lnTo>
                  <a:lnTo>
                    <a:pt x="323" y="522"/>
                  </a:lnTo>
                  <a:lnTo>
                    <a:pt x="508" y="522"/>
                  </a:lnTo>
                  <a:lnTo>
                    <a:pt x="320" y="8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B4245"/>
                </a:solidFill>
                <a:effectLst/>
                <a:uLnTx/>
                <a:uFillTx/>
                <a:latin typeface="Arial"/>
                <a:ea typeface="+mn-ea"/>
                <a:cs typeface="+mn-cs"/>
              </a:endParaRPr>
            </a:p>
          </p:txBody>
        </p:sp>
        <p:sp>
          <p:nvSpPr>
            <p:cNvPr id="28" name="Freeform 24">
              <a:extLst>
                <a:ext uri="{FF2B5EF4-FFF2-40B4-BE49-F238E27FC236}">
                  <a16:creationId xmlns:a16="http://schemas.microsoft.com/office/drawing/2014/main" id="{F9C1CD4F-06E5-7149-88B4-DDC70C984124}"/>
                </a:ext>
              </a:extLst>
            </p:cNvPr>
            <p:cNvSpPr>
              <a:spLocks noChangeAspect="1"/>
            </p:cNvSpPr>
            <p:nvPr/>
          </p:nvSpPr>
          <p:spPr bwMode="auto">
            <a:xfrm>
              <a:off x="7680220" y="3069000"/>
              <a:ext cx="404495" cy="360000"/>
            </a:xfrm>
            <a:custGeom>
              <a:avLst/>
              <a:gdLst>
                <a:gd name="T0" fmla="*/ 544 w 800"/>
                <a:gd name="T1" fmla="*/ 2 h 712"/>
                <a:gd name="T2" fmla="*/ 511 w 800"/>
                <a:gd name="T3" fmla="*/ 10 h 712"/>
                <a:gd name="T4" fmla="*/ 452 w 800"/>
                <a:gd name="T5" fmla="*/ 39 h 712"/>
                <a:gd name="T6" fmla="*/ 424 w 800"/>
                <a:gd name="T7" fmla="*/ 62 h 712"/>
                <a:gd name="T8" fmla="*/ 400 w 800"/>
                <a:gd name="T9" fmla="*/ 89 h 712"/>
                <a:gd name="T10" fmla="*/ 362 w 800"/>
                <a:gd name="T11" fmla="*/ 50 h 712"/>
                <a:gd name="T12" fmla="*/ 305 w 800"/>
                <a:gd name="T13" fmla="*/ 16 h 712"/>
                <a:gd name="T14" fmla="*/ 273 w 800"/>
                <a:gd name="T15" fmla="*/ 6 h 712"/>
                <a:gd name="T16" fmla="*/ 211 w 800"/>
                <a:gd name="T17" fmla="*/ 0 h 712"/>
                <a:gd name="T18" fmla="*/ 177 w 800"/>
                <a:gd name="T19" fmla="*/ 4 h 712"/>
                <a:gd name="T20" fmla="*/ 135 w 800"/>
                <a:gd name="T21" fmla="*/ 17 h 712"/>
                <a:gd name="T22" fmla="*/ 98 w 800"/>
                <a:gd name="T23" fmla="*/ 38 h 712"/>
                <a:gd name="T24" fmla="*/ 65 w 800"/>
                <a:gd name="T25" fmla="*/ 65 h 712"/>
                <a:gd name="T26" fmla="*/ 38 w 800"/>
                <a:gd name="T27" fmla="*/ 97 h 712"/>
                <a:gd name="T28" fmla="*/ 18 w 800"/>
                <a:gd name="T29" fmla="*/ 135 h 712"/>
                <a:gd name="T30" fmla="*/ 5 w 800"/>
                <a:gd name="T31" fmla="*/ 176 h 712"/>
                <a:gd name="T32" fmla="*/ 0 w 800"/>
                <a:gd name="T33" fmla="*/ 221 h 712"/>
                <a:gd name="T34" fmla="*/ 6 w 800"/>
                <a:gd name="T35" fmla="*/ 273 h 712"/>
                <a:gd name="T36" fmla="*/ 20 w 800"/>
                <a:gd name="T37" fmla="*/ 312 h 712"/>
                <a:gd name="T38" fmla="*/ 40 w 800"/>
                <a:gd name="T39" fmla="*/ 348 h 712"/>
                <a:gd name="T40" fmla="*/ 65 w 800"/>
                <a:gd name="T41" fmla="*/ 377 h 712"/>
                <a:gd name="T42" fmla="*/ 375 w 800"/>
                <a:gd name="T43" fmla="*/ 704 h 712"/>
                <a:gd name="T44" fmla="*/ 391 w 800"/>
                <a:gd name="T45" fmla="*/ 711 h 712"/>
                <a:gd name="T46" fmla="*/ 409 w 800"/>
                <a:gd name="T47" fmla="*/ 711 h 712"/>
                <a:gd name="T48" fmla="*/ 425 w 800"/>
                <a:gd name="T49" fmla="*/ 704 h 712"/>
                <a:gd name="T50" fmla="*/ 400 w 800"/>
                <a:gd name="T51" fmla="*/ 604 h 712"/>
                <a:gd name="T52" fmla="*/ 120 w 800"/>
                <a:gd name="T53" fmla="*/ 308 h 712"/>
                <a:gd name="T54" fmla="*/ 96 w 800"/>
                <a:gd name="T55" fmla="*/ 267 h 712"/>
                <a:gd name="T56" fmla="*/ 89 w 800"/>
                <a:gd name="T57" fmla="*/ 239 h 712"/>
                <a:gd name="T58" fmla="*/ 90 w 800"/>
                <a:gd name="T59" fmla="*/ 194 h 712"/>
                <a:gd name="T60" fmla="*/ 101 w 800"/>
                <a:gd name="T61" fmla="*/ 163 h 712"/>
                <a:gd name="T62" fmla="*/ 118 w 800"/>
                <a:gd name="T63" fmla="*/ 136 h 712"/>
                <a:gd name="T64" fmla="*/ 147 w 800"/>
                <a:gd name="T65" fmla="*/ 110 h 712"/>
                <a:gd name="T66" fmla="*/ 176 w 800"/>
                <a:gd name="T67" fmla="*/ 95 h 712"/>
                <a:gd name="T68" fmla="*/ 202 w 800"/>
                <a:gd name="T69" fmla="*/ 89 h 712"/>
                <a:gd name="T70" fmla="*/ 250 w 800"/>
                <a:gd name="T71" fmla="*/ 90 h 712"/>
                <a:gd name="T72" fmla="*/ 275 w 800"/>
                <a:gd name="T73" fmla="*/ 98 h 712"/>
                <a:gd name="T74" fmla="*/ 314 w 800"/>
                <a:gd name="T75" fmla="*/ 123 h 712"/>
                <a:gd name="T76" fmla="*/ 482 w 800"/>
                <a:gd name="T77" fmla="*/ 128 h 712"/>
                <a:gd name="T78" fmla="*/ 502 w 800"/>
                <a:gd name="T79" fmla="*/ 111 h 712"/>
                <a:gd name="T80" fmla="*/ 537 w 800"/>
                <a:gd name="T81" fmla="*/ 93 h 712"/>
                <a:gd name="T82" fmla="*/ 579 w 800"/>
                <a:gd name="T83" fmla="*/ 87 h 712"/>
                <a:gd name="T84" fmla="*/ 625 w 800"/>
                <a:gd name="T85" fmla="*/ 95 h 712"/>
                <a:gd name="T86" fmla="*/ 648 w 800"/>
                <a:gd name="T87" fmla="*/ 107 h 712"/>
                <a:gd name="T88" fmla="*/ 673 w 800"/>
                <a:gd name="T89" fmla="*/ 126 h 712"/>
                <a:gd name="T90" fmla="*/ 696 w 800"/>
                <a:gd name="T91" fmla="*/ 157 h 712"/>
                <a:gd name="T92" fmla="*/ 708 w 800"/>
                <a:gd name="T93" fmla="*/ 188 h 712"/>
                <a:gd name="T94" fmla="*/ 712 w 800"/>
                <a:gd name="T95" fmla="*/ 214 h 712"/>
                <a:gd name="T96" fmla="*/ 707 w 800"/>
                <a:gd name="T97" fmla="*/ 258 h 712"/>
                <a:gd name="T98" fmla="*/ 692 w 800"/>
                <a:gd name="T99" fmla="*/ 292 h 712"/>
                <a:gd name="T100" fmla="*/ 443 w 800"/>
                <a:gd name="T101" fmla="*/ 558 h 712"/>
                <a:gd name="T102" fmla="*/ 754 w 800"/>
                <a:gd name="T103" fmla="*/ 356 h 712"/>
                <a:gd name="T104" fmla="*/ 776 w 800"/>
                <a:gd name="T105" fmla="*/ 321 h 712"/>
                <a:gd name="T106" fmla="*/ 794 w 800"/>
                <a:gd name="T107" fmla="*/ 273 h 712"/>
                <a:gd name="T108" fmla="*/ 800 w 800"/>
                <a:gd name="T109" fmla="*/ 232 h 712"/>
                <a:gd name="T110" fmla="*/ 798 w 800"/>
                <a:gd name="T111" fmla="*/ 193 h 712"/>
                <a:gd name="T112" fmla="*/ 790 w 800"/>
                <a:gd name="T113" fmla="*/ 155 h 712"/>
                <a:gd name="T114" fmla="*/ 773 w 800"/>
                <a:gd name="T115" fmla="*/ 116 h 712"/>
                <a:gd name="T116" fmla="*/ 750 w 800"/>
                <a:gd name="T117" fmla="*/ 80 h 712"/>
                <a:gd name="T118" fmla="*/ 720 w 800"/>
                <a:gd name="T119" fmla="*/ 50 h 712"/>
                <a:gd name="T120" fmla="*/ 684 w 800"/>
                <a:gd name="T121" fmla="*/ 26 h 712"/>
                <a:gd name="T122" fmla="*/ 645 w 800"/>
                <a:gd name="T123" fmla="*/ 10 h 712"/>
                <a:gd name="T124" fmla="*/ 601 w 800"/>
                <a:gd name="T125" fmla="*/ 1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0" h="712">
                  <a:moveTo>
                    <a:pt x="579" y="0"/>
                  </a:moveTo>
                  <a:lnTo>
                    <a:pt x="561" y="0"/>
                  </a:lnTo>
                  <a:lnTo>
                    <a:pt x="552" y="1"/>
                  </a:lnTo>
                  <a:lnTo>
                    <a:pt x="544" y="2"/>
                  </a:lnTo>
                  <a:lnTo>
                    <a:pt x="535" y="4"/>
                  </a:lnTo>
                  <a:lnTo>
                    <a:pt x="527" y="6"/>
                  </a:lnTo>
                  <a:lnTo>
                    <a:pt x="519" y="8"/>
                  </a:lnTo>
                  <a:lnTo>
                    <a:pt x="511" y="10"/>
                  </a:lnTo>
                  <a:lnTo>
                    <a:pt x="495" y="16"/>
                  </a:lnTo>
                  <a:lnTo>
                    <a:pt x="480" y="22"/>
                  </a:lnTo>
                  <a:lnTo>
                    <a:pt x="466" y="30"/>
                  </a:lnTo>
                  <a:lnTo>
                    <a:pt x="452" y="39"/>
                  </a:lnTo>
                  <a:lnTo>
                    <a:pt x="445" y="44"/>
                  </a:lnTo>
                  <a:lnTo>
                    <a:pt x="438" y="50"/>
                  </a:lnTo>
                  <a:lnTo>
                    <a:pt x="431" y="56"/>
                  </a:lnTo>
                  <a:lnTo>
                    <a:pt x="424" y="62"/>
                  </a:lnTo>
                  <a:lnTo>
                    <a:pt x="418" y="68"/>
                  </a:lnTo>
                  <a:lnTo>
                    <a:pt x="412" y="75"/>
                  </a:lnTo>
                  <a:lnTo>
                    <a:pt x="406" y="82"/>
                  </a:lnTo>
                  <a:lnTo>
                    <a:pt x="400" y="89"/>
                  </a:lnTo>
                  <a:lnTo>
                    <a:pt x="389" y="75"/>
                  </a:lnTo>
                  <a:lnTo>
                    <a:pt x="376" y="62"/>
                  </a:lnTo>
                  <a:lnTo>
                    <a:pt x="369" y="56"/>
                  </a:lnTo>
                  <a:lnTo>
                    <a:pt x="362" y="50"/>
                  </a:lnTo>
                  <a:lnTo>
                    <a:pt x="348" y="39"/>
                  </a:lnTo>
                  <a:lnTo>
                    <a:pt x="334" y="30"/>
                  </a:lnTo>
                  <a:lnTo>
                    <a:pt x="320" y="22"/>
                  </a:lnTo>
                  <a:lnTo>
                    <a:pt x="305" y="16"/>
                  </a:lnTo>
                  <a:lnTo>
                    <a:pt x="297" y="13"/>
                  </a:lnTo>
                  <a:lnTo>
                    <a:pt x="289" y="10"/>
                  </a:lnTo>
                  <a:lnTo>
                    <a:pt x="281" y="8"/>
                  </a:lnTo>
                  <a:lnTo>
                    <a:pt x="273" y="6"/>
                  </a:lnTo>
                  <a:lnTo>
                    <a:pt x="257" y="2"/>
                  </a:lnTo>
                  <a:lnTo>
                    <a:pt x="240" y="0"/>
                  </a:lnTo>
                  <a:lnTo>
                    <a:pt x="223" y="0"/>
                  </a:lnTo>
                  <a:lnTo>
                    <a:pt x="211" y="0"/>
                  </a:lnTo>
                  <a:lnTo>
                    <a:pt x="200" y="1"/>
                  </a:lnTo>
                  <a:lnTo>
                    <a:pt x="194" y="1"/>
                  </a:lnTo>
                  <a:lnTo>
                    <a:pt x="189" y="2"/>
                  </a:lnTo>
                  <a:lnTo>
                    <a:pt x="177" y="4"/>
                  </a:lnTo>
                  <a:lnTo>
                    <a:pt x="166" y="7"/>
                  </a:lnTo>
                  <a:lnTo>
                    <a:pt x="156" y="10"/>
                  </a:lnTo>
                  <a:lnTo>
                    <a:pt x="145" y="13"/>
                  </a:lnTo>
                  <a:lnTo>
                    <a:pt x="135" y="17"/>
                  </a:lnTo>
                  <a:lnTo>
                    <a:pt x="126" y="22"/>
                  </a:lnTo>
                  <a:lnTo>
                    <a:pt x="116" y="26"/>
                  </a:lnTo>
                  <a:lnTo>
                    <a:pt x="107" y="32"/>
                  </a:lnTo>
                  <a:lnTo>
                    <a:pt x="98" y="38"/>
                  </a:lnTo>
                  <a:lnTo>
                    <a:pt x="89" y="44"/>
                  </a:lnTo>
                  <a:lnTo>
                    <a:pt x="81" y="50"/>
                  </a:lnTo>
                  <a:lnTo>
                    <a:pt x="73" y="57"/>
                  </a:lnTo>
                  <a:lnTo>
                    <a:pt x="65" y="65"/>
                  </a:lnTo>
                  <a:lnTo>
                    <a:pt x="58" y="72"/>
                  </a:lnTo>
                  <a:lnTo>
                    <a:pt x="51" y="80"/>
                  </a:lnTo>
                  <a:lnTo>
                    <a:pt x="44" y="89"/>
                  </a:lnTo>
                  <a:lnTo>
                    <a:pt x="38" y="97"/>
                  </a:lnTo>
                  <a:lnTo>
                    <a:pt x="32" y="106"/>
                  </a:lnTo>
                  <a:lnTo>
                    <a:pt x="27" y="116"/>
                  </a:lnTo>
                  <a:lnTo>
                    <a:pt x="22" y="125"/>
                  </a:lnTo>
                  <a:lnTo>
                    <a:pt x="18" y="135"/>
                  </a:lnTo>
                  <a:lnTo>
                    <a:pt x="14" y="145"/>
                  </a:lnTo>
                  <a:lnTo>
                    <a:pt x="10" y="155"/>
                  </a:lnTo>
                  <a:lnTo>
                    <a:pt x="7" y="166"/>
                  </a:lnTo>
                  <a:lnTo>
                    <a:pt x="5" y="176"/>
                  </a:lnTo>
                  <a:lnTo>
                    <a:pt x="3" y="187"/>
                  </a:lnTo>
                  <a:lnTo>
                    <a:pt x="1" y="198"/>
                  </a:lnTo>
                  <a:lnTo>
                    <a:pt x="0" y="210"/>
                  </a:lnTo>
                  <a:lnTo>
                    <a:pt x="0" y="221"/>
                  </a:lnTo>
                  <a:lnTo>
                    <a:pt x="0" y="232"/>
                  </a:lnTo>
                  <a:lnTo>
                    <a:pt x="1" y="242"/>
                  </a:lnTo>
                  <a:lnTo>
                    <a:pt x="4" y="263"/>
                  </a:lnTo>
                  <a:lnTo>
                    <a:pt x="6" y="273"/>
                  </a:lnTo>
                  <a:lnTo>
                    <a:pt x="9" y="283"/>
                  </a:lnTo>
                  <a:lnTo>
                    <a:pt x="12" y="293"/>
                  </a:lnTo>
                  <a:lnTo>
                    <a:pt x="16" y="302"/>
                  </a:lnTo>
                  <a:lnTo>
                    <a:pt x="20" y="312"/>
                  </a:lnTo>
                  <a:lnTo>
                    <a:pt x="24" y="321"/>
                  </a:lnTo>
                  <a:lnTo>
                    <a:pt x="29" y="330"/>
                  </a:lnTo>
                  <a:lnTo>
                    <a:pt x="34" y="339"/>
                  </a:lnTo>
                  <a:lnTo>
                    <a:pt x="40" y="348"/>
                  </a:lnTo>
                  <a:lnTo>
                    <a:pt x="46" y="356"/>
                  </a:lnTo>
                  <a:lnTo>
                    <a:pt x="53" y="364"/>
                  </a:lnTo>
                  <a:lnTo>
                    <a:pt x="60" y="372"/>
                  </a:lnTo>
                  <a:lnTo>
                    <a:pt x="65" y="377"/>
                  </a:lnTo>
                  <a:lnTo>
                    <a:pt x="368" y="698"/>
                  </a:lnTo>
                  <a:lnTo>
                    <a:pt x="370" y="700"/>
                  </a:lnTo>
                  <a:lnTo>
                    <a:pt x="372" y="701"/>
                  </a:lnTo>
                  <a:lnTo>
                    <a:pt x="375" y="704"/>
                  </a:lnTo>
                  <a:lnTo>
                    <a:pt x="379" y="706"/>
                  </a:lnTo>
                  <a:lnTo>
                    <a:pt x="383" y="708"/>
                  </a:lnTo>
                  <a:lnTo>
                    <a:pt x="387" y="710"/>
                  </a:lnTo>
                  <a:lnTo>
                    <a:pt x="391" y="711"/>
                  </a:lnTo>
                  <a:lnTo>
                    <a:pt x="396" y="712"/>
                  </a:lnTo>
                  <a:lnTo>
                    <a:pt x="400" y="712"/>
                  </a:lnTo>
                  <a:lnTo>
                    <a:pt x="405" y="712"/>
                  </a:lnTo>
                  <a:lnTo>
                    <a:pt x="409" y="711"/>
                  </a:lnTo>
                  <a:lnTo>
                    <a:pt x="413" y="710"/>
                  </a:lnTo>
                  <a:lnTo>
                    <a:pt x="417" y="708"/>
                  </a:lnTo>
                  <a:lnTo>
                    <a:pt x="421" y="706"/>
                  </a:lnTo>
                  <a:lnTo>
                    <a:pt x="425" y="704"/>
                  </a:lnTo>
                  <a:lnTo>
                    <a:pt x="429" y="701"/>
                  </a:lnTo>
                  <a:lnTo>
                    <a:pt x="432" y="698"/>
                  </a:lnTo>
                  <a:lnTo>
                    <a:pt x="460" y="668"/>
                  </a:lnTo>
                  <a:lnTo>
                    <a:pt x="400" y="604"/>
                  </a:lnTo>
                  <a:lnTo>
                    <a:pt x="401" y="604"/>
                  </a:lnTo>
                  <a:lnTo>
                    <a:pt x="400" y="604"/>
                  </a:lnTo>
                  <a:lnTo>
                    <a:pt x="124" y="312"/>
                  </a:lnTo>
                  <a:lnTo>
                    <a:pt x="120" y="308"/>
                  </a:lnTo>
                  <a:lnTo>
                    <a:pt x="112" y="298"/>
                  </a:lnTo>
                  <a:lnTo>
                    <a:pt x="106" y="289"/>
                  </a:lnTo>
                  <a:lnTo>
                    <a:pt x="100" y="278"/>
                  </a:lnTo>
                  <a:lnTo>
                    <a:pt x="96" y="267"/>
                  </a:lnTo>
                  <a:lnTo>
                    <a:pt x="92" y="256"/>
                  </a:lnTo>
                  <a:lnTo>
                    <a:pt x="91" y="250"/>
                  </a:lnTo>
                  <a:lnTo>
                    <a:pt x="90" y="245"/>
                  </a:lnTo>
                  <a:lnTo>
                    <a:pt x="89" y="239"/>
                  </a:lnTo>
                  <a:lnTo>
                    <a:pt x="88" y="233"/>
                  </a:lnTo>
                  <a:lnTo>
                    <a:pt x="88" y="221"/>
                  </a:lnTo>
                  <a:lnTo>
                    <a:pt x="88" y="207"/>
                  </a:lnTo>
                  <a:lnTo>
                    <a:pt x="90" y="194"/>
                  </a:lnTo>
                  <a:lnTo>
                    <a:pt x="94" y="181"/>
                  </a:lnTo>
                  <a:lnTo>
                    <a:pt x="96" y="175"/>
                  </a:lnTo>
                  <a:lnTo>
                    <a:pt x="98" y="169"/>
                  </a:lnTo>
                  <a:lnTo>
                    <a:pt x="101" y="163"/>
                  </a:lnTo>
                  <a:lnTo>
                    <a:pt x="104" y="157"/>
                  </a:lnTo>
                  <a:lnTo>
                    <a:pt x="107" y="152"/>
                  </a:lnTo>
                  <a:lnTo>
                    <a:pt x="111" y="146"/>
                  </a:lnTo>
                  <a:lnTo>
                    <a:pt x="118" y="136"/>
                  </a:lnTo>
                  <a:lnTo>
                    <a:pt x="122" y="131"/>
                  </a:lnTo>
                  <a:lnTo>
                    <a:pt x="127" y="127"/>
                  </a:lnTo>
                  <a:lnTo>
                    <a:pt x="136" y="118"/>
                  </a:lnTo>
                  <a:lnTo>
                    <a:pt x="147" y="110"/>
                  </a:lnTo>
                  <a:lnTo>
                    <a:pt x="152" y="107"/>
                  </a:lnTo>
                  <a:lnTo>
                    <a:pt x="158" y="103"/>
                  </a:lnTo>
                  <a:lnTo>
                    <a:pt x="169" y="98"/>
                  </a:lnTo>
                  <a:lnTo>
                    <a:pt x="176" y="95"/>
                  </a:lnTo>
                  <a:lnTo>
                    <a:pt x="182" y="93"/>
                  </a:lnTo>
                  <a:lnTo>
                    <a:pt x="189" y="91"/>
                  </a:lnTo>
                  <a:lnTo>
                    <a:pt x="196" y="90"/>
                  </a:lnTo>
                  <a:lnTo>
                    <a:pt x="202" y="89"/>
                  </a:lnTo>
                  <a:lnTo>
                    <a:pt x="209" y="88"/>
                  </a:lnTo>
                  <a:lnTo>
                    <a:pt x="222" y="87"/>
                  </a:lnTo>
                  <a:lnTo>
                    <a:pt x="236" y="88"/>
                  </a:lnTo>
                  <a:lnTo>
                    <a:pt x="250" y="90"/>
                  </a:lnTo>
                  <a:lnTo>
                    <a:pt x="256" y="92"/>
                  </a:lnTo>
                  <a:lnTo>
                    <a:pt x="263" y="93"/>
                  </a:lnTo>
                  <a:lnTo>
                    <a:pt x="269" y="96"/>
                  </a:lnTo>
                  <a:lnTo>
                    <a:pt x="275" y="98"/>
                  </a:lnTo>
                  <a:lnTo>
                    <a:pt x="287" y="104"/>
                  </a:lnTo>
                  <a:lnTo>
                    <a:pt x="298" y="111"/>
                  </a:lnTo>
                  <a:lnTo>
                    <a:pt x="309" y="119"/>
                  </a:lnTo>
                  <a:lnTo>
                    <a:pt x="314" y="123"/>
                  </a:lnTo>
                  <a:lnTo>
                    <a:pt x="318" y="128"/>
                  </a:lnTo>
                  <a:lnTo>
                    <a:pt x="319" y="128"/>
                  </a:lnTo>
                  <a:lnTo>
                    <a:pt x="400" y="209"/>
                  </a:lnTo>
                  <a:lnTo>
                    <a:pt x="482" y="128"/>
                  </a:lnTo>
                  <a:lnTo>
                    <a:pt x="487" y="123"/>
                  </a:lnTo>
                  <a:lnTo>
                    <a:pt x="491" y="119"/>
                  </a:lnTo>
                  <a:lnTo>
                    <a:pt x="497" y="115"/>
                  </a:lnTo>
                  <a:lnTo>
                    <a:pt x="502" y="111"/>
                  </a:lnTo>
                  <a:lnTo>
                    <a:pt x="513" y="104"/>
                  </a:lnTo>
                  <a:lnTo>
                    <a:pt x="519" y="101"/>
                  </a:lnTo>
                  <a:lnTo>
                    <a:pt x="525" y="98"/>
                  </a:lnTo>
                  <a:lnTo>
                    <a:pt x="537" y="93"/>
                  </a:lnTo>
                  <a:lnTo>
                    <a:pt x="550" y="90"/>
                  </a:lnTo>
                  <a:lnTo>
                    <a:pt x="558" y="89"/>
                  </a:lnTo>
                  <a:lnTo>
                    <a:pt x="565" y="88"/>
                  </a:lnTo>
                  <a:lnTo>
                    <a:pt x="579" y="87"/>
                  </a:lnTo>
                  <a:lnTo>
                    <a:pt x="592" y="88"/>
                  </a:lnTo>
                  <a:lnTo>
                    <a:pt x="606" y="90"/>
                  </a:lnTo>
                  <a:lnTo>
                    <a:pt x="619" y="93"/>
                  </a:lnTo>
                  <a:lnTo>
                    <a:pt x="625" y="95"/>
                  </a:lnTo>
                  <a:lnTo>
                    <a:pt x="631" y="98"/>
                  </a:lnTo>
                  <a:lnTo>
                    <a:pt x="637" y="100"/>
                  </a:lnTo>
                  <a:lnTo>
                    <a:pt x="643" y="103"/>
                  </a:lnTo>
                  <a:lnTo>
                    <a:pt x="648" y="107"/>
                  </a:lnTo>
                  <a:lnTo>
                    <a:pt x="654" y="110"/>
                  </a:lnTo>
                  <a:lnTo>
                    <a:pt x="664" y="118"/>
                  </a:lnTo>
                  <a:lnTo>
                    <a:pt x="669" y="122"/>
                  </a:lnTo>
                  <a:lnTo>
                    <a:pt x="673" y="126"/>
                  </a:lnTo>
                  <a:lnTo>
                    <a:pt x="682" y="136"/>
                  </a:lnTo>
                  <a:lnTo>
                    <a:pt x="690" y="146"/>
                  </a:lnTo>
                  <a:lnTo>
                    <a:pt x="693" y="152"/>
                  </a:lnTo>
                  <a:lnTo>
                    <a:pt x="696" y="157"/>
                  </a:lnTo>
                  <a:lnTo>
                    <a:pt x="702" y="169"/>
                  </a:lnTo>
                  <a:lnTo>
                    <a:pt x="704" y="175"/>
                  </a:lnTo>
                  <a:lnTo>
                    <a:pt x="707" y="181"/>
                  </a:lnTo>
                  <a:lnTo>
                    <a:pt x="708" y="188"/>
                  </a:lnTo>
                  <a:lnTo>
                    <a:pt x="710" y="194"/>
                  </a:lnTo>
                  <a:lnTo>
                    <a:pt x="711" y="201"/>
                  </a:lnTo>
                  <a:lnTo>
                    <a:pt x="712" y="207"/>
                  </a:lnTo>
                  <a:lnTo>
                    <a:pt x="712" y="214"/>
                  </a:lnTo>
                  <a:lnTo>
                    <a:pt x="713" y="221"/>
                  </a:lnTo>
                  <a:lnTo>
                    <a:pt x="712" y="234"/>
                  </a:lnTo>
                  <a:lnTo>
                    <a:pt x="710" y="246"/>
                  </a:lnTo>
                  <a:lnTo>
                    <a:pt x="707" y="258"/>
                  </a:lnTo>
                  <a:lnTo>
                    <a:pt x="703" y="270"/>
                  </a:lnTo>
                  <a:lnTo>
                    <a:pt x="698" y="281"/>
                  </a:lnTo>
                  <a:lnTo>
                    <a:pt x="695" y="287"/>
                  </a:lnTo>
                  <a:lnTo>
                    <a:pt x="692" y="292"/>
                  </a:lnTo>
                  <a:lnTo>
                    <a:pt x="689" y="297"/>
                  </a:lnTo>
                  <a:lnTo>
                    <a:pt x="685" y="302"/>
                  </a:lnTo>
                  <a:lnTo>
                    <a:pt x="677" y="312"/>
                  </a:lnTo>
                  <a:lnTo>
                    <a:pt x="443" y="558"/>
                  </a:lnTo>
                  <a:lnTo>
                    <a:pt x="504" y="622"/>
                  </a:lnTo>
                  <a:lnTo>
                    <a:pt x="740" y="373"/>
                  </a:lnTo>
                  <a:lnTo>
                    <a:pt x="740" y="372"/>
                  </a:lnTo>
                  <a:lnTo>
                    <a:pt x="754" y="356"/>
                  </a:lnTo>
                  <a:lnTo>
                    <a:pt x="760" y="348"/>
                  </a:lnTo>
                  <a:lnTo>
                    <a:pt x="766" y="339"/>
                  </a:lnTo>
                  <a:lnTo>
                    <a:pt x="771" y="330"/>
                  </a:lnTo>
                  <a:lnTo>
                    <a:pt x="776" y="321"/>
                  </a:lnTo>
                  <a:lnTo>
                    <a:pt x="781" y="312"/>
                  </a:lnTo>
                  <a:lnTo>
                    <a:pt x="785" y="302"/>
                  </a:lnTo>
                  <a:lnTo>
                    <a:pt x="791" y="283"/>
                  </a:lnTo>
                  <a:lnTo>
                    <a:pt x="794" y="273"/>
                  </a:lnTo>
                  <a:lnTo>
                    <a:pt x="796" y="263"/>
                  </a:lnTo>
                  <a:lnTo>
                    <a:pt x="798" y="252"/>
                  </a:lnTo>
                  <a:lnTo>
                    <a:pt x="799" y="242"/>
                  </a:lnTo>
                  <a:lnTo>
                    <a:pt x="800" y="232"/>
                  </a:lnTo>
                  <a:lnTo>
                    <a:pt x="800" y="221"/>
                  </a:lnTo>
                  <a:lnTo>
                    <a:pt x="800" y="210"/>
                  </a:lnTo>
                  <a:lnTo>
                    <a:pt x="799" y="198"/>
                  </a:lnTo>
                  <a:lnTo>
                    <a:pt x="798" y="193"/>
                  </a:lnTo>
                  <a:lnTo>
                    <a:pt x="798" y="187"/>
                  </a:lnTo>
                  <a:lnTo>
                    <a:pt x="796" y="176"/>
                  </a:lnTo>
                  <a:lnTo>
                    <a:pt x="793" y="166"/>
                  </a:lnTo>
                  <a:lnTo>
                    <a:pt x="790" y="155"/>
                  </a:lnTo>
                  <a:lnTo>
                    <a:pt x="787" y="145"/>
                  </a:lnTo>
                  <a:lnTo>
                    <a:pt x="783" y="135"/>
                  </a:lnTo>
                  <a:lnTo>
                    <a:pt x="778" y="125"/>
                  </a:lnTo>
                  <a:lnTo>
                    <a:pt x="773" y="116"/>
                  </a:lnTo>
                  <a:lnTo>
                    <a:pt x="768" y="106"/>
                  </a:lnTo>
                  <a:lnTo>
                    <a:pt x="762" y="97"/>
                  </a:lnTo>
                  <a:lnTo>
                    <a:pt x="756" y="89"/>
                  </a:lnTo>
                  <a:lnTo>
                    <a:pt x="750" y="80"/>
                  </a:lnTo>
                  <a:lnTo>
                    <a:pt x="743" y="72"/>
                  </a:lnTo>
                  <a:lnTo>
                    <a:pt x="735" y="65"/>
                  </a:lnTo>
                  <a:lnTo>
                    <a:pt x="728" y="57"/>
                  </a:lnTo>
                  <a:lnTo>
                    <a:pt x="720" y="50"/>
                  </a:lnTo>
                  <a:lnTo>
                    <a:pt x="711" y="44"/>
                  </a:lnTo>
                  <a:lnTo>
                    <a:pt x="702" y="38"/>
                  </a:lnTo>
                  <a:lnTo>
                    <a:pt x="693" y="32"/>
                  </a:lnTo>
                  <a:lnTo>
                    <a:pt x="684" y="26"/>
                  </a:lnTo>
                  <a:lnTo>
                    <a:pt x="675" y="22"/>
                  </a:lnTo>
                  <a:lnTo>
                    <a:pt x="665" y="17"/>
                  </a:lnTo>
                  <a:lnTo>
                    <a:pt x="655" y="13"/>
                  </a:lnTo>
                  <a:lnTo>
                    <a:pt x="645" y="10"/>
                  </a:lnTo>
                  <a:lnTo>
                    <a:pt x="634" y="7"/>
                  </a:lnTo>
                  <a:lnTo>
                    <a:pt x="623" y="4"/>
                  </a:lnTo>
                  <a:lnTo>
                    <a:pt x="612" y="2"/>
                  </a:lnTo>
                  <a:lnTo>
                    <a:pt x="601" y="1"/>
                  </a:lnTo>
                  <a:lnTo>
                    <a:pt x="590" y="0"/>
                  </a:lnTo>
                  <a:lnTo>
                    <a:pt x="57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B4245"/>
                </a:solidFill>
                <a:effectLst/>
                <a:uLnTx/>
                <a:uFillTx/>
                <a:latin typeface="Arial"/>
                <a:ea typeface="+mn-ea"/>
                <a:cs typeface="+mn-cs"/>
              </a:endParaRPr>
            </a:p>
          </p:txBody>
        </p:sp>
        <p:sp>
          <p:nvSpPr>
            <p:cNvPr id="29" name="Freeform 25">
              <a:extLst>
                <a:ext uri="{FF2B5EF4-FFF2-40B4-BE49-F238E27FC236}">
                  <a16:creationId xmlns:a16="http://schemas.microsoft.com/office/drawing/2014/main" id="{EA566AFB-5295-6D4B-9D90-56CA925577F5}"/>
                </a:ext>
              </a:extLst>
            </p:cNvPr>
            <p:cNvSpPr>
              <a:spLocks noChangeAspect="1" noEditPoints="1"/>
            </p:cNvSpPr>
            <p:nvPr/>
          </p:nvSpPr>
          <p:spPr bwMode="auto">
            <a:xfrm>
              <a:off x="6672080" y="5445280"/>
              <a:ext cx="439538" cy="432000"/>
            </a:xfrm>
            <a:custGeom>
              <a:avLst/>
              <a:gdLst>
                <a:gd name="T0" fmla="*/ 745 w 758"/>
                <a:gd name="T1" fmla="*/ 157 h 745"/>
                <a:gd name="T2" fmla="*/ 723 w 758"/>
                <a:gd name="T3" fmla="*/ 153 h 745"/>
                <a:gd name="T4" fmla="*/ 591 w 758"/>
                <a:gd name="T5" fmla="*/ 198 h 745"/>
                <a:gd name="T6" fmla="*/ 567 w 758"/>
                <a:gd name="T7" fmla="*/ 146 h 745"/>
                <a:gd name="T8" fmla="*/ 685 w 758"/>
                <a:gd name="T9" fmla="*/ 67 h 745"/>
                <a:gd name="T10" fmla="*/ 692 w 758"/>
                <a:gd name="T11" fmla="*/ 47 h 745"/>
                <a:gd name="T12" fmla="*/ 683 w 758"/>
                <a:gd name="T13" fmla="*/ 27 h 745"/>
                <a:gd name="T14" fmla="*/ 648 w 758"/>
                <a:gd name="T15" fmla="*/ 9 h 745"/>
                <a:gd name="T16" fmla="*/ 600 w 758"/>
                <a:gd name="T17" fmla="*/ 0 h 745"/>
                <a:gd name="T18" fmla="*/ 533 w 758"/>
                <a:gd name="T19" fmla="*/ 5 h 745"/>
                <a:gd name="T20" fmla="*/ 473 w 758"/>
                <a:gd name="T21" fmla="*/ 27 h 745"/>
                <a:gd name="T22" fmla="*/ 426 w 758"/>
                <a:gd name="T23" fmla="*/ 69 h 745"/>
                <a:gd name="T24" fmla="*/ 406 w 758"/>
                <a:gd name="T25" fmla="*/ 121 h 745"/>
                <a:gd name="T26" fmla="*/ 399 w 758"/>
                <a:gd name="T27" fmla="*/ 207 h 745"/>
                <a:gd name="T28" fmla="*/ 9 w 758"/>
                <a:gd name="T29" fmla="*/ 602 h 745"/>
                <a:gd name="T30" fmla="*/ 0 w 758"/>
                <a:gd name="T31" fmla="*/ 645 h 745"/>
                <a:gd name="T32" fmla="*/ 12 w 758"/>
                <a:gd name="T33" fmla="*/ 689 h 745"/>
                <a:gd name="T34" fmla="*/ 40 w 758"/>
                <a:gd name="T35" fmla="*/ 722 h 745"/>
                <a:gd name="T36" fmla="*/ 80 w 758"/>
                <a:gd name="T37" fmla="*/ 742 h 745"/>
                <a:gd name="T38" fmla="*/ 120 w 758"/>
                <a:gd name="T39" fmla="*/ 743 h 745"/>
                <a:gd name="T40" fmla="*/ 151 w 758"/>
                <a:gd name="T41" fmla="*/ 730 h 745"/>
                <a:gd name="T42" fmla="*/ 547 w 758"/>
                <a:gd name="T43" fmla="*/ 353 h 745"/>
                <a:gd name="T44" fmla="*/ 611 w 758"/>
                <a:gd name="T45" fmla="*/ 358 h 745"/>
                <a:gd name="T46" fmla="*/ 658 w 758"/>
                <a:gd name="T47" fmla="*/ 345 h 745"/>
                <a:gd name="T48" fmla="*/ 701 w 758"/>
                <a:gd name="T49" fmla="*/ 316 h 745"/>
                <a:gd name="T50" fmla="*/ 732 w 758"/>
                <a:gd name="T51" fmla="*/ 272 h 745"/>
                <a:gd name="T52" fmla="*/ 753 w 758"/>
                <a:gd name="T53" fmla="*/ 213 h 745"/>
                <a:gd name="T54" fmla="*/ 757 w 758"/>
                <a:gd name="T55" fmla="*/ 172 h 745"/>
                <a:gd name="T56" fmla="*/ 614 w 758"/>
                <a:gd name="T57" fmla="*/ 298 h 745"/>
                <a:gd name="T58" fmla="*/ 573 w 758"/>
                <a:gd name="T59" fmla="*/ 298 h 745"/>
                <a:gd name="T60" fmla="*/ 535 w 758"/>
                <a:gd name="T61" fmla="*/ 288 h 745"/>
                <a:gd name="T62" fmla="*/ 513 w 758"/>
                <a:gd name="T63" fmla="*/ 290 h 745"/>
                <a:gd name="T64" fmla="*/ 118 w 758"/>
                <a:gd name="T65" fmla="*/ 681 h 745"/>
                <a:gd name="T66" fmla="*/ 97 w 758"/>
                <a:gd name="T67" fmla="*/ 685 h 745"/>
                <a:gd name="T68" fmla="*/ 77 w 758"/>
                <a:gd name="T69" fmla="*/ 676 h 745"/>
                <a:gd name="T70" fmla="*/ 64 w 758"/>
                <a:gd name="T71" fmla="*/ 661 h 745"/>
                <a:gd name="T72" fmla="*/ 59 w 758"/>
                <a:gd name="T73" fmla="*/ 642 h 745"/>
                <a:gd name="T74" fmla="*/ 63 w 758"/>
                <a:gd name="T75" fmla="*/ 626 h 745"/>
                <a:gd name="T76" fmla="*/ 453 w 758"/>
                <a:gd name="T77" fmla="*/ 235 h 745"/>
                <a:gd name="T78" fmla="*/ 458 w 758"/>
                <a:gd name="T79" fmla="*/ 220 h 745"/>
                <a:gd name="T80" fmla="*/ 458 w 758"/>
                <a:gd name="T81" fmla="*/ 170 h 745"/>
                <a:gd name="T82" fmla="*/ 467 w 758"/>
                <a:gd name="T83" fmla="*/ 118 h 745"/>
                <a:gd name="T84" fmla="*/ 485 w 758"/>
                <a:gd name="T85" fmla="*/ 91 h 745"/>
                <a:gd name="T86" fmla="*/ 537 w 758"/>
                <a:gd name="T87" fmla="*/ 65 h 745"/>
                <a:gd name="T88" fmla="*/ 520 w 758"/>
                <a:gd name="T89" fmla="*/ 92 h 745"/>
                <a:gd name="T90" fmla="*/ 508 w 758"/>
                <a:gd name="T91" fmla="*/ 104 h 745"/>
                <a:gd name="T92" fmla="*/ 505 w 758"/>
                <a:gd name="T93" fmla="*/ 131 h 745"/>
                <a:gd name="T94" fmla="*/ 518 w 758"/>
                <a:gd name="T95" fmla="*/ 185 h 745"/>
                <a:gd name="T96" fmla="*/ 545 w 758"/>
                <a:gd name="T97" fmla="*/ 234 h 745"/>
                <a:gd name="T98" fmla="*/ 580 w 758"/>
                <a:gd name="T99" fmla="*/ 271 h 745"/>
                <a:gd name="T100" fmla="*/ 597 w 758"/>
                <a:gd name="T101" fmla="*/ 280 h 745"/>
                <a:gd name="T102" fmla="*/ 614 w 758"/>
                <a:gd name="T103" fmla="*/ 278 h 745"/>
                <a:gd name="T104" fmla="*/ 671 w 758"/>
                <a:gd name="T105" fmla="*/ 260 h 745"/>
                <a:gd name="T106" fmla="*/ 646 w 758"/>
                <a:gd name="T107" fmla="*/ 285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8" h="745">
                  <a:moveTo>
                    <a:pt x="755" y="167"/>
                  </a:moveTo>
                  <a:lnTo>
                    <a:pt x="753" y="165"/>
                  </a:lnTo>
                  <a:lnTo>
                    <a:pt x="751" y="162"/>
                  </a:lnTo>
                  <a:lnTo>
                    <a:pt x="747" y="158"/>
                  </a:lnTo>
                  <a:lnTo>
                    <a:pt x="745" y="157"/>
                  </a:lnTo>
                  <a:lnTo>
                    <a:pt x="742" y="155"/>
                  </a:lnTo>
                  <a:lnTo>
                    <a:pt x="737" y="153"/>
                  </a:lnTo>
                  <a:lnTo>
                    <a:pt x="732" y="152"/>
                  </a:lnTo>
                  <a:lnTo>
                    <a:pt x="726" y="152"/>
                  </a:lnTo>
                  <a:lnTo>
                    <a:pt x="723" y="153"/>
                  </a:lnTo>
                  <a:lnTo>
                    <a:pt x="720" y="153"/>
                  </a:lnTo>
                  <a:lnTo>
                    <a:pt x="715" y="156"/>
                  </a:lnTo>
                  <a:lnTo>
                    <a:pt x="606" y="215"/>
                  </a:lnTo>
                  <a:lnTo>
                    <a:pt x="598" y="207"/>
                  </a:lnTo>
                  <a:lnTo>
                    <a:pt x="591" y="198"/>
                  </a:lnTo>
                  <a:lnTo>
                    <a:pt x="585" y="188"/>
                  </a:lnTo>
                  <a:lnTo>
                    <a:pt x="579" y="178"/>
                  </a:lnTo>
                  <a:lnTo>
                    <a:pt x="574" y="168"/>
                  </a:lnTo>
                  <a:lnTo>
                    <a:pt x="570" y="157"/>
                  </a:lnTo>
                  <a:lnTo>
                    <a:pt x="567" y="146"/>
                  </a:lnTo>
                  <a:lnTo>
                    <a:pt x="565" y="135"/>
                  </a:lnTo>
                  <a:lnTo>
                    <a:pt x="676" y="74"/>
                  </a:lnTo>
                  <a:lnTo>
                    <a:pt x="676" y="73"/>
                  </a:lnTo>
                  <a:lnTo>
                    <a:pt x="682" y="69"/>
                  </a:lnTo>
                  <a:lnTo>
                    <a:pt x="685" y="67"/>
                  </a:lnTo>
                  <a:lnTo>
                    <a:pt x="687" y="64"/>
                  </a:lnTo>
                  <a:lnTo>
                    <a:pt x="690" y="58"/>
                  </a:lnTo>
                  <a:lnTo>
                    <a:pt x="691" y="53"/>
                  </a:lnTo>
                  <a:lnTo>
                    <a:pt x="692" y="50"/>
                  </a:lnTo>
                  <a:lnTo>
                    <a:pt x="692" y="47"/>
                  </a:lnTo>
                  <a:lnTo>
                    <a:pt x="691" y="44"/>
                  </a:lnTo>
                  <a:lnTo>
                    <a:pt x="691" y="41"/>
                  </a:lnTo>
                  <a:lnTo>
                    <a:pt x="689" y="36"/>
                  </a:lnTo>
                  <a:lnTo>
                    <a:pt x="686" y="31"/>
                  </a:lnTo>
                  <a:lnTo>
                    <a:pt x="683" y="27"/>
                  </a:lnTo>
                  <a:lnTo>
                    <a:pt x="678" y="23"/>
                  </a:lnTo>
                  <a:lnTo>
                    <a:pt x="671" y="19"/>
                  </a:lnTo>
                  <a:lnTo>
                    <a:pt x="663" y="15"/>
                  </a:lnTo>
                  <a:lnTo>
                    <a:pt x="656" y="12"/>
                  </a:lnTo>
                  <a:lnTo>
                    <a:pt x="648" y="9"/>
                  </a:lnTo>
                  <a:lnTo>
                    <a:pt x="641" y="7"/>
                  </a:lnTo>
                  <a:lnTo>
                    <a:pt x="633" y="5"/>
                  </a:lnTo>
                  <a:lnTo>
                    <a:pt x="617" y="2"/>
                  </a:lnTo>
                  <a:lnTo>
                    <a:pt x="609" y="1"/>
                  </a:lnTo>
                  <a:lnTo>
                    <a:pt x="600" y="0"/>
                  </a:lnTo>
                  <a:lnTo>
                    <a:pt x="584" y="0"/>
                  </a:lnTo>
                  <a:lnTo>
                    <a:pt x="567" y="0"/>
                  </a:lnTo>
                  <a:lnTo>
                    <a:pt x="558" y="1"/>
                  </a:lnTo>
                  <a:lnTo>
                    <a:pt x="550" y="2"/>
                  </a:lnTo>
                  <a:lnTo>
                    <a:pt x="533" y="5"/>
                  </a:lnTo>
                  <a:lnTo>
                    <a:pt x="517" y="10"/>
                  </a:lnTo>
                  <a:lnTo>
                    <a:pt x="502" y="15"/>
                  </a:lnTo>
                  <a:lnTo>
                    <a:pt x="494" y="18"/>
                  </a:lnTo>
                  <a:lnTo>
                    <a:pt x="487" y="21"/>
                  </a:lnTo>
                  <a:lnTo>
                    <a:pt x="473" y="27"/>
                  </a:lnTo>
                  <a:lnTo>
                    <a:pt x="461" y="35"/>
                  </a:lnTo>
                  <a:lnTo>
                    <a:pt x="449" y="43"/>
                  </a:lnTo>
                  <a:lnTo>
                    <a:pt x="439" y="52"/>
                  </a:lnTo>
                  <a:lnTo>
                    <a:pt x="432" y="60"/>
                  </a:lnTo>
                  <a:lnTo>
                    <a:pt x="426" y="69"/>
                  </a:lnTo>
                  <a:lnTo>
                    <a:pt x="421" y="79"/>
                  </a:lnTo>
                  <a:lnTo>
                    <a:pt x="416" y="89"/>
                  </a:lnTo>
                  <a:lnTo>
                    <a:pt x="412" y="99"/>
                  </a:lnTo>
                  <a:lnTo>
                    <a:pt x="409" y="110"/>
                  </a:lnTo>
                  <a:lnTo>
                    <a:pt x="406" y="121"/>
                  </a:lnTo>
                  <a:lnTo>
                    <a:pt x="404" y="132"/>
                  </a:lnTo>
                  <a:lnTo>
                    <a:pt x="401" y="154"/>
                  </a:lnTo>
                  <a:lnTo>
                    <a:pt x="399" y="174"/>
                  </a:lnTo>
                  <a:lnTo>
                    <a:pt x="399" y="192"/>
                  </a:lnTo>
                  <a:lnTo>
                    <a:pt x="399" y="207"/>
                  </a:lnTo>
                  <a:lnTo>
                    <a:pt x="25" y="580"/>
                  </a:lnTo>
                  <a:lnTo>
                    <a:pt x="19" y="586"/>
                  </a:lnTo>
                  <a:lnTo>
                    <a:pt x="16" y="590"/>
                  </a:lnTo>
                  <a:lnTo>
                    <a:pt x="14" y="594"/>
                  </a:lnTo>
                  <a:lnTo>
                    <a:pt x="9" y="602"/>
                  </a:lnTo>
                  <a:lnTo>
                    <a:pt x="6" y="610"/>
                  </a:lnTo>
                  <a:lnTo>
                    <a:pt x="3" y="618"/>
                  </a:lnTo>
                  <a:lnTo>
                    <a:pt x="1" y="627"/>
                  </a:lnTo>
                  <a:lnTo>
                    <a:pt x="0" y="636"/>
                  </a:lnTo>
                  <a:lnTo>
                    <a:pt x="0" y="645"/>
                  </a:lnTo>
                  <a:lnTo>
                    <a:pt x="0" y="654"/>
                  </a:lnTo>
                  <a:lnTo>
                    <a:pt x="2" y="663"/>
                  </a:lnTo>
                  <a:lnTo>
                    <a:pt x="4" y="672"/>
                  </a:lnTo>
                  <a:lnTo>
                    <a:pt x="8" y="680"/>
                  </a:lnTo>
                  <a:lnTo>
                    <a:pt x="12" y="689"/>
                  </a:lnTo>
                  <a:lnTo>
                    <a:pt x="17" y="697"/>
                  </a:lnTo>
                  <a:lnTo>
                    <a:pt x="22" y="704"/>
                  </a:lnTo>
                  <a:lnTo>
                    <a:pt x="29" y="712"/>
                  </a:lnTo>
                  <a:lnTo>
                    <a:pt x="33" y="715"/>
                  </a:lnTo>
                  <a:lnTo>
                    <a:pt x="40" y="722"/>
                  </a:lnTo>
                  <a:lnTo>
                    <a:pt x="47" y="727"/>
                  </a:lnTo>
                  <a:lnTo>
                    <a:pt x="55" y="732"/>
                  </a:lnTo>
                  <a:lnTo>
                    <a:pt x="63" y="736"/>
                  </a:lnTo>
                  <a:lnTo>
                    <a:pt x="71" y="740"/>
                  </a:lnTo>
                  <a:lnTo>
                    <a:pt x="80" y="742"/>
                  </a:lnTo>
                  <a:lnTo>
                    <a:pt x="89" y="744"/>
                  </a:lnTo>
                  <a:lnTo>
                    <a:pt x="98" y="745"/>
                  </a:lnTo>
                  <a:lnTo>
                    <a:pt x="102" y="745"/>
                  </a:lnTo>
                  <a:lnTo>
                    <a:pt x="111" y="744"/>
                  </a:lnTo>
                  <a:lnTo>
                    <a:pt x="120" y="743"/>
                  </a:lnTo>
                  <a:lnTo>
                    <a:pt x="128" y="741"/>
                  </a:lnTo>
                  <a:lnTo>
                    <a:pt x="136" y="738"/>
                  </a:lnTo>
                  <a:lnTo>
                    <a:pt x="140" y="736"/>
                  </a:lnTo>
                  <a:lnTo>
                    <a:pt x="144" y="734"/>
                  </a:lnTo>
                  <a:lnTo>
                    <a:pt x="151" y="730"/>
                  </a:lnTo>
                  <a:lnTo>
                    <a:pt x="155" y="727"/>
                  </a:lnTo>
                  <a:lnTo>
                    <a:pt x="158" y="725"/>
                  </a:lnTo>
                  <a:lnTo>
                    <a:pt x="165" y="719"/>
                  </a:lnTo>
                  <a:lnTo>
                    <a:pt x="535" y="350"/>
                  </a:lnTo>
                  <a:lnTo>
                    <a:pt x="547" y="353"/>
                  </a:lnTo>
                  <a:lnTo>
                    <a:pt x="561" y="356"/>
                  </a:lnTo>
                  <a:lnTo>
                    <a:pt x="576" y="358"/>
                  </a:lnTo>
                  <a:lnTo>
                    <a:pt x="593" y="358"/>
                  </a:lnTo>
                  <a:lnTo>
                    <a:pt x="602" y="358"/>
                  </a:lnTo>
                  <a:lnTo>
                    <a:pt x="611" y="358"/>
                  </a:lnTo>
                  <a:lnTo>
                    <a:pt x="621" y="356"/>
                  </a:lnTo>
                  <a:lnTo>
                    <a:pt x="630" y="355"/>
                  </a:lnTo>
                  <a:lnTo>
                    <a:pt x="639" y="352"/>
                  </a:lnTo>
                  <a:lnTo>
                    <a:pt x="649" y="349"/>
                  </a:lnTo>
                  <a:lnTo>
                    <a:pt x="658" y="345"/>
                  </a:lnTo>
                  <a:lnTo>
                    <a:pt x="669" y="340"/>
                  </a:lnTo>
                  <a:lnTo>
                    <a:pt x="678" y="335"/>
                  </a:lnTo>
                  <a:lnTo>
                    <a:pt x="686" y="329"/>
                  </a:lnTo>
                  <a:lnTo>
                    <a:pt x="694" y="323"/>
                  </a:lnTo>
                  <a:lnTo>
                    <a:pt x="701" y="316"/>
                  </a:lnTo>
                  <a:lnTo>
                    <a:pt x="708" y="308"/>
                  </a:lnTo>
                  <a:lnTo>
                    <a:pt x="715" y="300"/>
                  </a:lnTo>
                  <a:lnTo>
                    <a:pt x="721" y="291"/>
                  </a:lnTo>
                  <a:lnTo>
                    <a:pt x="727" y="282"/>
                  </a:lnTo>
                  <a:lnTo>
                    <a:pt x="732" y="272"/>
                  </a:lnTo>
                  <a:lnTo>
                    <a:pt x="737" y="261"/>
                  </a:lnTo>
                  <a:lnTo>
                    <a:pt x="742" y="250"/>
                  </a:lnTo>
                  <a:lnTo>
                    <a:pt x="746" y="238"/>
                  </a:lnTo>
                  <a:lnTo>
                    <a:pt x="750" y="226"/>
                  </a:lnTo>
                  <a:lnTo>
                    <a:pt x="753" y="213"/>
                  </a:lnTo>
                  <a:lnTo>
                    <a:pt x="756" y="200"/>
                  </a:lnTo>
                  <a:lnTo>
                    <a:pt x="758" y="186"/>
                  </a:lnTo>
                  <a:lnTo>
                    <a:pt x="758" y="181"/>
                  </a:lnTo>
                  <a:lnTo>
                    <a:pt x="758" y="177"/>
                  </a:lnTo>
                  <a:lnTo>
                    <a:pt x="757" y="172"/>
                  </a:lnTo>
                  <a:lnTo>
                    <a:pt x="755" y="167"/>
                  </a:lnTo>
                  <a:close/>
                  <a:moveTo>
                    <a:pt x="640" y="289"/>
                  </a:moveTo>
                  <a:lnTo>
                    <a:pt x="631" y="293"/>
                  </a:lnTo>
                  <a:lnTo>
                    <a:pt x="623" y="296"/>
                  </a:lnTo>
                  <a:lnTo>
                    <a:pt x="614" y="298"/>
                  </a:lnTo>
                  <a:lnTo>
                    <a:pt x="605" y="299"/>
                  </a:lnTo>
                  <a:lnTo>
                    <a:pt x="597" y="300"/>
                  </a:lnTo>
                  <a:lnTo>
                    <a:pt x="589" y="300"/>
                  </a:lnTo>
                  <a:lnTo>
                    <a:pt x="581" y="299"/>
                  </a:lnTo>
                  <a:lnTo>
                    <a:pt x="573" y="298"/>
                  </a:lnTo>
                  <a:lnTo>
                    <a:pt x="559" y="295"/>
                  </a:lnTo>
                  <a:lnTo>
                    <a:pt x="549" y="293"/>
                  </a:lnTo>
                  <a:lnTo>
                    <a:pt x="541" y="290"/>
                  </a:lnTo>
                  <a:lnTo>
                    <a:pt x="539" y="289"/>
                  </a:lnTo>
                  <a:lnTo>
                    <a:pt x="535" y="288"/>
                  </a:lnTo>
                  <a:lnTo>
                    <a:pt x="530" y="287"/>
                  </a:lnTo>
                  <a:lnTo>
                    <a:pt x="526" y="287"/>
                  </a:lnTo>
                  <a:lnTo>
                    <a:pt x="522" y="287"/>
                  </a:lnTo>
                  <a:lnTo>
                    <a:pt x="518" y="288"/>
                  </a:lnTo>
                  <a:lnTo>
                    <a:pt x="513" y="290"/>
                  </a:lnTo>
                  <a:lnTo>
                    <a:pt x="510" y="292"/>
                  </a:lnTo>
                  <a:lnTo>
                    <a:pt x="506" y="295"/>
                  </a:lnTo>
                  <a:lnTo>
                    <a:pt x="123" y="677"/>
                  </a:lnTo>
                  <a:lnTo>
                    <a:pt x="121" y="679"/>
                  </a:lnTo>
                  <a:lnTo>
                    <a:pt x="118" y="681"/>
                  </a:lnTo>
                  <a:lnTo>
                    <a:pt x="113" y="684"/>
                  </a:lnTo>
                  <a:lnTo>
                    <a:pt x="107" y="685"/>
                  </a:lnTo>
                  <a:lnTo>
                    <a:pt x="104" y="686"/>
                  </a:lnTo>
                  <a:lnTo>
                    <a:pt x="101" y="686"/>
                  </a:lnTo>
                  <a:lnTo>
                    <a:pt x="97" y="685"/>
                  </a:lnTo>
                  <a:lnTo>
                    <a:pt x="93" y="685"/>
                  </a:lnTo>
                  <a:lnTo>
                    <a:pt x="87" y="682"/>
                  </a:lnTo>
                  <a:lnTo>
                    <a:pt x="83" y="681"/>
                  </a:lnTo>
                  <a:lnTo>
                    <a:pt x="80" y="679"/>
                  </a:lnTo>
                  <a:lnTo>
                    <a:pt x="77" y="676"/>
                  </a:lnTo>
                  <a:lnTo>
                    <a:pt x="74" y="674"/>
                  </a:lnTo>
                  <a:lnTo>
                    <a:pt x="71" y="670"/>
                  </a:lnTo>
                  <a:lnTo>
                    <a:pt x="68" y="667"/>
                  </a:lnTo>
                  <a:lnTo>
                    <a:pt x="66" y="664"/>
                  </a:lnTo>
                  <a:lnTo>
                    <a:pt x="64" y="661"/>
                  </a:lnTo>
                  <a:lnTo>
                    <a:pt x="62" y="658"/>
                  </a:lnTo>
                  <a:lnTo>
                    <a:pt x="60" y="652"/>
                  </a:lnTo>
                  <a:lnTo>
                    <a:pt x="59" y="648"/>
                  </a:lnTo>
                  <a:lnTo>
                    <a:pt x="59" y="645"/>
                  </a:lnTo>
                  <a:lnTo>
                    <a:pt x="59" y="642"/>
                  </a:lnTo>
                  <a:lnTo>
                    <a:pt x="59" y="638"/>
                  </a:lnTo>
                  <a:lnTo>
                    <a:pt x="59" y="635"/>
                  </a:lnTo>
                  <a:lnTo>
                    <a:pt x="60" y="632"/>
                  </a:lnTo>
                  <a:lnTo>
                    <a:pt x="61" y="629"/>
                  </a:lnTo>
                  <a:lnTo>
                    <a:pt x="63" y="626"/>
                  </a:lnTo>
                  <a:lnTo>
                    <a:pt x="65" y="624"/>
                  </a:lnTo>
                  <a:lnTo>
                    <a:pt x="67" y="621"/>
                  </a:lnTo>
                  <a:lnTo>
                    <a:pt x="450" y="239"/>
                  </a:lnTo>
                  <a:lnTo>
                    <a:pt x="451" y="238"/>
                  </a:lnTo>
                  <a:lnTo>
                    <a:pt x="453" y="235"/>
                  </a:lnTo>
                  <a:lnTo>
                    <a:pt x="454" y="233"/>
                  </a:lnTo>
                  <a:lnTo>
                    <a:pt x="456" y="231"/>
                  </a:lnTo>
                  <a:lnTo>
                    <a:pt x="457" y="228"/>
                  </a:lnTo>
                  <a:lnTo>
                    <a:pt x="458" y="223"/>
                  </a:lnTo>
                  <a:lnTo>
                    <a:pt x="458" y="220"/>
                  </a:lnTo>
                  <a:lnTo>
                    <a:pt x="458" y="217"/>
                  </a:lnTo>
                  <a:lnTo>
                    <a:pt x="459" y="216"/>
                  </a:lnTo>
                  <a:lnTo>
                    <a:pt x="458" y="203"/>
                  </a:lnTo>
                  <a:lnTo>
                    <a:pt x="458" y="187"/>
                  </a:lnTo>
                  <a:lnTo>
                    <a:pt x="458" y="170"/>
                  </a:lnTo>
                  <a:lnTo>
                    <a:pt x="460" y="152"/>
                  </a:lnTo>
                  <a:lnTo>
                    <a:pt x="461" y="143"/>
                  </a:lnTo>
                  <a:lnTo>
                    <a:pt x="463" y="135"/>
                  </a:lnTo>
                  <a:lnTo>
                    <a:pt x="465" y="126"/>
                  </a:lnTo>
                  <a:lnTo>
                    <a:pt x="467" y="118"/>
                  </a:lnTo>
                  <a:lnTo>
                    <a:pt x="470" y="111"/>
                  </a:lnTo>
                  <a:lnTo>
                    <a:pt x="473" y="105"/>
                  </a:lnTo>
                  <a:lnTo>
                    <a:pt x="477" y="99"/>
                  </a:lnTo>
                  <a:lnTo>
                    <a:pt x="481" y="94"/>
                  </a:lnTo>
                  <a:lnTo>
                    <a:pt x="485" y="91"/>
                  </a:lnTo>
                  <a:lnTo>
                    <a:pt x="489" y="87"/>
                  </a:lnTo>
                  <a:lnTo>
                    <a:pt x="499" y="81"/>
                  </a:lnTo>
                  <a:lnTo>
                    <a:pt x="510" y="75"/>
                  </a:lnTo>
                  <a:lnTo>
                    <a:pt x="523" y="69"/>
                  </a:lnTo>
                  <a:lnTo>
                    <a:pt x="537" y="65"/>
                  </a:lnTo>
                  <a:lnTo>
                    <a:pt x="552" y="62"/>
                  </a:lnTo>
                  <a:lnTo>
                    <a:pt x="566" y="59"/>
                  </a:lnTo>
                  <a:lnTo>
                    <a:pt x="574" y="59"/>
                  </a:lnTo>
                  <a:lnTo>
                    <a:pt x="582" y="58"/>
                  </a:lnTo>
                  <a:lnTo>
                    <a:pt x="520" y="92"/>
                  </a:lnTo>
                  <a:lnTo>
                    <a:pt x="520" y="93"/>
                  </a:lnTo>
                  <a:lnTo>
                    <a:pt x="516" y="95"/>
                  </a:lnTo>
                  <a:lnTo>
                    <a:pt x="513" y="97"/>
                  </a:lnTo>
                  <a:lnTo>
                    <a:pt x="511" y="100"/>
                  </a:lnTo>
                  <a:lnTo>
                    <a:pt x="508" y="104"/>
                  </a:lnTo>
                  <a:lnTo>
                    <a:pt x="507" y="107"/>
                  </a:lnTo>
                  <a:lnTo>
                    <a:pt x="505" y="111"/>
                  </a:lnTo>
                  <a:lnTo>
                    <a:pt x="505" y="115"/>
                  </a:lnTo>
                  <a:lnTo>
                    <a:pt x="504" y="119"/>
                  </a:lnTo>
                  <a:lnTo>
                    <a:pt x="505" y="131"/>
                  </a:lnTo>
                  <a:lnTo>
                    <a:pt x="506" y="142"/>
                  </a:lnTo>
                  <a:lnTo>
                    <a:pt x="508" y="153"/>
                  </a:lnTo>
                  <a:lnTo>
                    <a:pt x="511" y="164"/>
                  </a:lnTo>
                  <a:lnTo>
                    <a:pt x="514" y="175"/>
                  </a:lnTo>
                  <a:lnTo>
                    <a:pt x="518" y="185"/>
                  </a:lnTo>
                  <a:lnTo>
                    <a:pt x="522" y="196"/>
                  </a:lnTo>
                  <a:lnTo>
                    <a:pt x="527" y="206"/>
                  </a:lnTo>
                  <a:lnTo>
                    <a:pt x="532" y="215"/>
                  </a:lnTo>
                  <a:lnTo>
                    <a:pt x="538" y="225"/>
                  </a:lnTo>
                  <a:lnTo>
                    <a:pt x="545" y="234"/>
                  </a:lnTo>
                  <a:lnTo>
                    <a:pt x="552" y="243"/>
                  </a:lnTo>
                  <a:lnTo>
                    <a:pt x="559" y="251"/>
                  </a:lnTo>
                  <a:lnTo>
                    <a:pt x="567" y="259"/>
                  </a:lnTo>
                  <a:lnTo>
                    <a:pt x="575" y="267"/>
                  </a:lnTo>
                  <a:lnTo>
                    <a:pt x="580" y="271"/>
                  </a:lnTo>
                  <a:lnTo>
                    <a:pt x="584" y="274"/>
                  </a:lnTo>
                  <a:lnTo>
                    <a:pt x="586" y="275"/>
                  </a:lnTo>
                  <a:lnTo>
                    <a:pt x="591" y="278"/>
                  </a:lnTo>
                  <a:lnTo>
                    <a:pt x="594" y="279"/>
                  </a:lnTo>
                  <a:lnTo>
                    <a:pt x="597" y="280"/>
                  </a:lnTo>
                  <a:lnTo>
                    <a:pt x="601" y="280"/>
                  </a:lnTo>
                  <a:lnTo>
                    <a:pt x="602" y="280"/>
                  </a:lnTo>
                  <a:lnTo>
                    <a:pt x="608" y="279"/>
                  </a:lnTo>
                  <a:lnTo>
                    <a:pt x="611" y="279"/>
                  </a:lnTo>
                  <a:lnTo>
                    <a:pt x="614" y="278"/>
                  </a:lnTo>
                  <a:lnTo>
                    <a:pt x="616" y="277"/>
                  </a:lnTo>
                  <a:lnTo>
                    <a:pt x="682" y="241"/>
                  </a:lnTo>
                  <a:lnTo>
                    <a:pt x="678" y="249"/>
                  </a:lnTo>
                  <a:lnTo>
                    <a:pt x="673" y="256"/>
                  </a:lnTo>
                  <a:lnTo>
                    <a:pt x="671" y="260"/>
                  </a:lnTo>
                  <a:lnTo>
                    <a:pt x="669" y="263"/>
                  </a:lnTo>
                  <a:lnTo>
                    <a:pt x="663" y="270"/>
                  </a:lnTo>
                  <a:lnTo>
                    <a:pt x="657" y="275"/>
                  </a:lnTo>
                  <a:lnTo>
                    <a:pt x="652" y="280"/>
                  </a:lnTo>
                  <a:lnTo>
                    <a:pt x="646" y="285"/>
                  </a:lnTo>
                  <a:lnTo>
                    <a:pt x="643" y="287"/>
                  </a:lnTo>
                  <a:lnTo>
                    <a:pt x="640" y="28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B4245"/>
                </a:solidFill>
                <a:effectLst/>
                <a:uLnTx/>
                <a:uFillTx/>
                <a:latin typeface="Arial"/>
                <a:ea typeface="+mn-ea"/>
                <a:cs typeface="+mn-cs"/>
              </a:endParaRPr>
            </a:p>
          </p:txBody>
        </p:sp>
        <p:sp>
          <p:nvSpPr>
            <p:cNvPr id="30" name="Freeform 28">
              <a:extLst>
                <a:ext uri="{FF2B5EF4-FFF2-40B4-BE49-F238E27FC236}">
                  <a16:creationId xmlns:a16="http://schemas.microsoft.com/office/drawing/2014/main" id="{DBCAA815-E8E4-154E-B188-9243B15FBC62}"/>
                </a:ext>
              </a:extLst>
            </p:cNvPr>
            <p:cNvSpPr>
              <a:spLocks noChangeAspect="1"/>
            </p:cNvSpPr>
            <p:nvPr/>
          </p:nvSpPr>
          <p:spPr bwMode="auto">
            <a:xfrm>
              <a:off x="5802169" y="3429000"/>
              <a:ext cx="587661" cy="983095"/>
            </a:xfrm>
            <a:custGeom>
              <a:avLst/>
              <a:gdLst>
                <a:gd name="T0" fmla="*/ 1 w 749"/>
                <a:gd name="T1" fmla="*/ 165 h 1253"/>
                <a:gd name="T2" fmla="*/ 14 w 749"/>
                <a:gd name="T3" fmla="*/ 127 h 1253"/>
                <a:gd name="T4" fmla="*/ 37 w 749"/>
                <a:gd name="T5" fmla="*/ 104 h 1253"/>
                <a:gd name="T6" fmla="*/ 86 w 749"/>
                <a:gd name="T7" fmla="*/ 86 h 1253"/>
                <a:gd name="T8" fmla="*/ 507 w 749"/>
                <a:gd name="T9" fmla="*/ 0 h 1253"/>
                <a:gd name="T10" fmla="*/ 542 w 749"/>
                <a:gd name="T11" fmla="*/ 2 h 1253"/>
                <a:gd name="T12" fmla="*/ 566 w 749"/>
                <a:gd name="T13" fmla="*/ 11 h 1253"/>
                <a:gd name="T14" fmla="*/ 590 w 749"/>
                <a:gd name="T15" fmla="*/ 36 h 1253"/>
                <a:gd name="T16" fmla="*/ 603 w 749"/>
                <a:gd name="T17" fmla="*/ 80 h 1253"/>
                <a:gd name="T18" fmla="*/ 605 w 749"/>
                <a:gd name="T19" fmla="*/ 304 h 1253"/>
                <a:gd name="T20" fmla="*/ 600 w 749"/>
                <a:gd name="T21" fmla="*/ 405 h 1253"/>
                <a:gd name="T22" fmla="*/ 588 w 749"/>
                <a:gd name="T23" fmla="*/ 431 h 1253"/>
                <a:gd name="T24" fmla="*/ 563 w 749"/>
                <a:gd name="T25" fmla="*/ 454 h 1253"/>
                <a:gd name="T26" fmla="*/ 523 w 749"/>
                <a:gd name="T27" fmla="*/ 469 h 1253"/>
                <a:gd name="T28" fmla="*/ 503 w 749"/>
                <a:gd name="T29" fmla="*/ 467 h 1253"/>
                <a:gd name="T30" fmla="*/ 493 w 749"/>
                <a:gd name="T31" fmla="*/ 444 h 1253"/>
                <a:gd name="T32" fmla="*/ 492 w 749"/>
                <a:gd name="T33" fmla="*/ 167 h 1253"/>
                <a:gd name="T34" fmla="*/ 487 w 749"/>
                <a:gd name="T35" fmla="*/ 125 h 1253"/>
                <a:gd name="T36" fmla="*/ 469 w 749"/>
                <a:gd name="T37" fmla="*/ 119 h 1253"/>
                <a:gd name="T38" fmla="*/ 146 w 749"/>
                <a:gd name="T39" fmla="*/ 187 h 1253"/>
                <a:gd name="T40" fmla="*/ 116 w 749"/>
                <a:gd name="T41" fmla="*/ 203 h 1253"/>
                <a:gd name="T42" fmla="*/ 108 w 749"/>
                <a:gd name="T43" fmla="*/ 236 h 1253"/>
                <a:gd name="T44" fmla="*/ 110 w 749"/>
                <a:gd name="T45" fmla="*/ 1117 h 1253"/>
                <a:gd name="T46" fmla="*/ 120 w 749"/>
                <a:gd name="T47" fmla="*/ 1134 h 1253"/>
                <a:gd name="T48" fmla="*/ 140 w 749"/>
                <a:gd name="T49" fmla="*/ 1140 h 1253"/>
                <a:gd name="T50" fmla="*/ 217 w 749"/>
                <a:gd name="T51" fmla="*/ 1138 h 1253"/>
                <a:gd name="T52" fmla="*/ 264 w 749"/>
                <a:gd name="T53" fmla="*/ 1137 h 1253"/>
                <a:gd name="T54" fmla="*/ 276 w 749"/>
                <a:gd name="T55" fmla="*/ 1128 h 1253"/>
                <a:gd name="T56" fmla="*/ 283 w 749"/>
                <a:gd name="T57" fmla="*/ 1107 h 1253"/>
                <a:gd name="T58" fmla="*/ 284 w 749"/>
                <a:gd name="T59" fmla="*/ 611 h 1253"/>
                <a:gd name="T60" fmla="*/ 296 w 749"/>
                <a:gd name="T61" fmla="*/ 558 h 1253"/>
                <a:gd name="T62" fmla="*/ 320 w 749"/>
                <a:gd name="T63" fmla="*/ 532 h 1253"/>
                <a:gd name="T64" fmla="*/ 356 w 749"/>
                <a:gd name="T65" fmla="*/ 524 h 1253"/>
                <a:gd name="T66" fmla="*/ 526 w 749"/>
                <a:gd name="T67" fmla="*/ 569 h 1253"/>
                <a:gd name="T68" fmla="*/ 712 w 749"/>
                <a:gd name="T69" fmla="*/ 626 h 1253"/>
                <a:gd name="T70" fmla="*/ 742 w 749"/>
                <a:gd name="T71" fmla="*/ 651 h 1253"/>
                <a:gd name="T72" fmla="*/ 749 w 749"/>
                <a:gd name="T73" fmla="*/ 699 h 1253"/>
                <a:gd name="T74" fmla="*/ 748 w 749"/>
                <a:gd name="T75" fmla="*/ 1041 h 1253"/>
                <a:gd name="T76" fmla="*/ 737 w 749"/>
                <a:gd name="T77" fmla="*/ 1083 h 1253"/>
                <a:gd name="T78" fmla="*/ 711 w 749"/>
                <a:gd name="T79" fmla="*/ 1113 h 1253"/>
                <a:gd name="T80" fmla="*/ 677 w 749"/>
                <a:gd name="T81" fmla="*/ 1129 h 1253"/>
                <a:gd name="T82" fmla="*/ 652 w 749"/>
                <a:gd name="T83" fmla="*/ 1132 h 1253"/>
                <a:gd name="T84" fmla="*/ 642 w 749"/>
                <a:gd name="T85" fmla="*/ 1123 h 1253"/>
                <a:gd name="T86" fmla="*/ 640 w 749"/>
                <a:gd name="T87" fmla="*/ 1104 h 1253"/>
                <a:gd name="T88" fmla="*/ 642 w 749"/>
                <a:gd name="T89" fmla="*/ 747 h 1253"/>
                <a:gd name="T90" fmla="*/ 632 w 749"/>
                <a:gd name="T91" fmla="*/ 719 h 1253"/>
                <a:gd name="T92" fmla="*/ 614 w 749"/>
                <a:gd name="T93" fmla="*/ 707 h 1253"/>
                <a:gd name="T94" fmla="*/ 454 w 749"/>
                <a:gd name="T95" fmla="*/ 659 h 1253"/>
                <a:gd name="T96" fmla="*/ 416 w 749"/>
                <a:gd name="T97" fmla="*/ 652 h 1253"/>
                <a:gd name="T98" fmla="*/ 404 w 749"/>
                <a:gd name="T99" fmla="*/ 664 h 1253"/>
                <a:gd name="T100" fmla="*/ 402 w 749"/>
                <a:gd name="T101" fmla="*/ 1081 h 1253"/>
                <a:gd name="T102" fmla="*/ 396 w 749"/>
                <a:gd name="T103" fmla="*/ 1174 h 1253"/>
                <a:gd name="T104" fmla="*/ 382 w 749"/>
                <a:gd name="T105" fmla="*/ 1214 h 1253"/>
                <a:gd name="T106" fmla="*/ 357 w 749"/>
                <a:gd name="T107" fmla="*/ 1240 h 1253"/>
                <a:gd name="T108" fmla="*/ 316 w 749"/>
                <a:gd name="T109" fmla="*/ 1250 h 1253"/>
                <a:gd name="T110" fmla="*/ 100 w 749"/>
                <a:gd name="T111" fmla="*/ 1252 h 1253"/>
                <a:gd name="T112" fmla="*/ 38 w 749"/>
                <a:gd name="T113" fmla="*/ 1244 h 1253"/>
                <a:gd name="T114" fmla="*/ 13 w 749"/>
                <a:gd name="T115" fmla="*/ 1221 h 1253"/>
                <a:gd name="T116" fmla="*/ 1 w 749"/>
                <a:gd name="T117" fmla="*/ 1183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9" h="1253">
                  <a:moveTo>
                    <a:pt x="0" y="675"/>
                  </a:moveTo>
                  <a:lnTo>
                    <a:pt x="0" y="192"/>
                  </a:lnTo>
                  <a:lnTo>
                    <a:pt x="0" y="181"/>
                  </a:lnTo>
                  <a:lnTo>
                    <a:pt x="1" y="170"/>
                  </a:lnTo>
                  <a:lnTo>
                    <a:pt x="1" y="165"/>
                  </a:lnTo>
                  <a:lnTo>
                    <a:pt x="2" y="160"/>
                  </a:lnTo>
                  <a:lnTo>
                    <a:pt x="4" y="151"/>
                  </a:lnTo>
                  <a:lnTo>
                    <a:pt x="7" y="143"/>
                  </a:lnTo>
                  <a:lnTo>
                    <a:pt x="10" y="135"/>
                  </a:lnTo>
                  <a:lnTo>
                    <a:pt x="14" y="127"/>
                  </a:lnTo>
                  <a:lnTo>
                    <a:pt x="19" y="121"/>
                  </a:lnTo>
                  <a:lnTo>
                    <a:pt x="21" y="118"/>
                  </a:lnTo>
                  <a:lnTo>
                    <a:pt x="24" y="115"/>
                  </a:lnTo>
                  <a:lnTo>
                    <a:pt x="30" y="109"/>
                  </a:lnTo>
                  <a:lnTo>
                    <a:pt x="37" y="104"/>
                  </a:lnTo>
                  <a:lnTo>
                    <a:pt x="45" y="100"/>
                  </a:lnTo>
                  <a:lnTo>
                    <a:pt x="54" y="96"/>
                  </a:lnTo>
                  <a:lnTo>
                    <a:pt x="63" y="92"/>
                  </a:lnTo>
                  <a:lnTo>
                    <a:pt x="75" y="89"/>
                  </a:lnTo>
                  <a:lnTo>
                    <a:pt x="86" y="86"/>
                  </a:lnTo>
                  <a:lnTo>
                    <a:pt x="285" y="44"/>
                  </a:lnTo>
                  <a:lnTo>
                    <a:pt x="385" y="23"/>
                  </a:lnTo>
                  <a:lnTo>
                    <a:pt x="486" y="3"/>
                  </a:lnTo>
                  <a:lnTo>
                    <a:pt x="500" y="1"/>
                  </a:lnTo>
                  <a:lnTo>
                    <a:pt x="507" y="0"/>
                  </a:lnTo>
                  <a:lnTo>
                    <a:pt x="513" y="0"/>
                  </a:lnTo>
                  <a:lnTo>
                    <a:pt x="525" y="0"/>
                  </a:lnTo>
                  <a:lnTo>
                    <a:pt x="531" y="0"/>
                  </a:lnTo>
                  <a:lnTo>
                    <a:pt x="537" y="1"/>
                  </a:lnTo>
                  <a:lnTo>
                    <a:pt x="542" y="2"/>
                  </a:lnTo>
                  <a:lnTo>
                    <a:pt x="548" y="4"/>
                  </a:lnTo>
                  <a:lnTo>
                    <a:pt x="552" y="5"/>
                  </a:lnTo>
                  <a:lnTo>
                    <a:pt x="557" y="7"/>
                  </a:lnTo>
                  <a:lnTo>
                    <a:pt x="562" y="9"/>
                  </a:lnTo>
                  <a:lnTo>
                    <a:pt x="566" y="11"/>
                  </a:lnTo>
                  <a:lnTo>
                    <a:pt x="574" y="17"/>
                  </a:lnTo>
                  <a:lnTo>
                    <a:pt x="578" y="20"/>
                  </a:lnTo>
                  <a:lnTo>
                    <a:pt x="581" y="24"/>
                  </a:lnTo>
                  <a:lnTo>
                    <a:pt x="587" y="32"/>
                  </a:lnTo>
                  <a:lnTo>
                    <a:pt x="590" y="36"/>
                  </a:lnTo>
                  <a:lnTo>
                    <a:pt x="592" y="40"/>
                  </a:lnTo>
                  <a:lnTo>
                    <a:pt x="597" y="50"/>
                  </a:lnTo>
                  <a:lnTo>
                    <a:pt x="600" y="61"/>
                  </a:lnTo>
                  <a:lnTo>
                    <a:pt x="603" y="73"/>
                  </a:lnTo>
                  <a:lnTo>
                    <a:pt x="603" y="80"/>
                  </a:lnTo>
                  <a:lnTo>
                    <a:pt x="604" y="86"/>
                  </a:lnTo>
                  <a:lnTo>
                    <a:pt x="605" y="101"/>
                  </a:lnTo>
                  <a:lnTo>
                    <a:pt x="605" y="168"/>
                  </a:lnTo>
                  <a:lnTo>
                    <a:pt x="605" y="236"/>
                  </a:lnTo>
                  <a:lnTo>
                    <a:pt x="605" y="304"/>
                  </a:lnTo>
                  <a:lnTo>
                    <a:pt x="604" y="372"/>
                  </a:lnTo>
                  <a:lnTo>
                    <a:pt x="604" y="381"/>
                  </a:lnTo>
                  <a:lnTo>
                    <a:pt x="603" y="390"/>
                  </a:lnTo>
                  <a:lnTo>
                    <a:pt x="602" y="398"/>
                  </a:lnTo>
                  <a:lnTo>
                    <a:pt x="600" y="405"/>
                  </a:lnTo>
                  <a:lnTo>
                    <a:pt x="598" y="412"/>
                  </a:lnTo>
                  <a:lnTo>
                    <a:pt x="595" y="419"/>
                  </a:lnTo>
                  <a:lnTo>
                    <a:pt x="592" y="425"/>
                  </a:lnTo>
                  <a:lnTo>
                    <a:pt x="590" y="428"/>
                  </a:lnTo>
                  <a:lnTo>
                    <a:pt x="588" y="431"/>
                  </a:lnTo>
                  <a:lnTo>
                    <a:pt x="584" y="436"/>
                  </a:lnTo>
                  <a:lnTo>
                    <a:pt x="580" y="441"/>
                  </a:lnTo>
                  <a:lnTo>
                    <a:pt x="574" y="446"/>
                  </a:lnTo>
                  <a:lnTo>
                    <a:pt x="569" y="450"/>
                  </a:lnTo>
                  <a:lnTo>
                    <a:pt x="563" y="454"/>
                  </a:lnTo>
                  <a:lnTo>
                    <a:pt x="556" y="458"/>
                  </a:lnTo>
                  <a:lnTo>
                    <a:pt x="549" y="461"/>
                  </a:lnTo>
                  <a:lnTo>
                    <a:pt x="542" y="464"/>
                  </a:lnTo>
                  <a:lnTo>
                    <a:pt x="529" y="468"/>
                  </a:lnTo>
                  <a:lnTo>
                    <a:pt x="523" y="469"/>
                  </a:lnTo>
                  <a:lnTo>
                    <a:pt x="518" y="470"/>
                  </a:lnTo>
                  <a:lnTo>
                    <a:pt x="513" y="470"/>
                  </a:lnTo>
                  <a:lnTo>
                    <a:pt x="509" y="469"/>
                  </a:lnTo>
                  <a:lnTo>
                    <a:pt x="506" y="468"/>
                  </a:lnTo>
                  <a:lnTo>
                    <a:pt x="503" y="467"/>
                  </a:lnTo>
                  <a:lnTo>
                    <a:pt x="500" y="465"/>
                  </a:lnTo>
                  <a:lnTo>
                    <a:pt x="498" y="462"/>
                  </a:lnTo>
                  <a:lnTo>
                    <a:pt x="496" y="458"/>
                  </a:lnTo>
                  <a:lnTo>
                    <a:pt x="495" y="454"/>
                  </a:lnTo>
                  <a:lnTo>
                    <a:pt x="493" y="444"/>
                  </a:lnTo>
                  <a:lnTo>
                    <a:pt x="492" y="437"/>
                  </a:lnTo>
                  <a:lnTo>
                    <a:pt x="492" y="430"/>
                  </a:lnTo>
                  <a:lnTo>
                    <a:pt x="492" y="365"/>
                  </a:lnTo>
                  <a:lnTo>
                    <a:pt x="492" y="299"/>
                  </a:lnTo>
                  <a:lnTo>
                    <a:pt x="492" y="167"/>
                  </a:lnTo>
                  <a:lnTo>
                    <a:pt x="491" y="150"/>
                  </a:lnTo>
                  <a:lnTo>
                    <a:pt x="491" y="137"/>
                  </a:lnTo>
                  <a:lnTo>
                    <a:pt x="490" y="132"/>
                  </a:lnTo>
                  <a:lnTo>
                    <a:pt x="489" y="128"/>
                  </a:lnTo>
                  <a:lnTo>
                    <a:pt x="487" y="125"/>
                  </a:lnTo>
                  <a:lnTo>
                    <a:pt x="485" y="122"/>
                  </a:lnTo>
                  <a:lnTo>
                    <a:pt x="482" y="121"/>
                  </a:lnTo>
                  <a:lnTo>
                    <a:pt x="479" y="120"/>
                  </a:lnTo>
                  <a:lnTo>
                    <a:pt x="474" y="119"/>
                  </a:lnTo>
                  <a:lnTo>
                    <a:pt x="469" y="119"/>
                  </a:lnTo>
                  <a:lnTo>
                    <a:pt x="457" y="121"/>
                  </a:lnTo>
                  <a:lnTo>
                    <a:pt x="440" y="125"/>
                  </a:lnTo>
                  <a:lnTo>
                    <a:pt x="293" y="156"/>
                  </a:lnTo>
                  <a:lnTo>
                    <a:pt x="219" y="172"/>
                  </a:lnTo>
                  <a:lnTo>
                    <a:pt x="146" y="187"/>
                  </a:lnTo>
                  <a:lnTo>
                    <a:pt x="136" y="190"/>
                  </a:lnTo>
                  <a:lnTo>
                    <a:pt x="128" y="193"/>
                  </a:lnTo>
                  <a:lnTo>
                    <a:pt x="121" y="197"/>
                  </a:lnTo>
                  <a:lnTo>
                    <a:pt x="118" y="200"/>
                  </a:lnTo>
                  <a:lnTo>
                    <a:pt x="116" y="203"/>
                  </a:lnTo>
                  <a:lnTo>
                    <a:pt x="112" y="209"/>
                  </a:lnTo>
                  <a:lnTo>
                    <a:pt x="109" y="217"/>
                  </a:lnTo>
                  <a:lnTo>
                    <a:pt x="109" y="221"/>
                  </a:lnTo>
                  <a:lnTo>
                    <a:pt x="108" y="226"/>
                  </a:lnTo>
                  <a:lnTo>
                    <a:pt x="108" y="236"/>
                  </a:lnTo>
                  <a:lnTo>
                    <a:pt x="108" y="667"/>
                  </a:lnTo>
                  <a:lnTo>
                    <a:pt x="108" y="1096"/>
                  </a:lnTo>
                  <a:lnTo>
                    <a:pt x="108" y="1108"/>
                  </a:lnTo>
                  <a:lnTo>
                    <a:pt x="109" y="1113"/>
                  </a:lnTo>
                  <a:lnTo>
                    <a:pt x="110" y="1117"/>
                  </a:lnTo>
                  <a:lnTo>
                    <a:pt x="111" y="1121"/>
                  </a:lnTo>
                  <a:lnTo>
                    <a:pt x="113" y="1125"/>
                  </a:lnTo>
                  <a:lnTo>
                    <a:pt x="115" y="1128"/>
                  </a:lnTo>
                  <a:lnTo>
                    <a:pt x="117" y="1131"/>
                  </a:lnTo>
                  <a:lnTo>
                    <a:pt x="120" y="1134"/>
                  </a:lnTo>
                  <a:lnTo>
                    <a:pt x="123" y="1136"/>
                  </a:lnTo>
                  <a:lnTo>
                    <a:pt x="127" y="1137"/>
                  </a:lnTo>
                  <a:lnTo>
                    <a:pt x="131" y="1138"/>
                  </a:lnTo>
                  <a:lnTo>
                    <a:pt x="135" y="1139"/>
                  </a:lnTo>
                  <a:lnTo>
                    <a:pt x="140" y="1140"/>
                  </a:lnTo>
                  <a:lnTo>
                    <a:pt x="145" y="1140"/>
                  </a:lnTo>
                  <a:lnTo>
                    <a:pt x="151" y="1139"/>
                  </a:lnTo>
                  <a:lnTo>
                    <a:pt x="173" y="1138"/>
                  </a:lnTo>
                  <a:lnTo>
                    <a:pt x="195" y="1138"/>
                  </a:lnTo>
                  <a:lnTo>
                    <a:pt x="217" y="1138"/>
                  </a:lnTo>
                  <a:lnTo>
                    <a:pt x="239" y="1139"/>
                  </a:lnTo>
                  <a:lnTo>
                    <a:pt x="251" y="1140"/>
                  </a:lnTo>
                  <a:lnTo>
                    <a:pt x="256" y="1139"/>
                  </a:lnTo>
                  <a:lnTo>
                    <a:pt x="260" y="1138"/>
                  </a:lnTo>
                  <a:lnTo>
                    <a:pt x="264" y="1137"/>
                  </a:lnTo>
                  <a:lnTo>
                    <a:pt x="268" y="1135"/>
                  </a:lnTo>
                  <a:lnTo>
                    <a:pt x="271" y="1133"/>
                  </a:lnTo>
                  <a:lnTo>
                    <a:pt x="274" y="1131"/>
                  </a:lnTo>
                  <a:lnTo>
                    <a:pt x="275" y="1129"/>
                  </a:lnTo>
                  <a:lnTo>
                    <a:pt x="276" y="1128"/>
                  </a:lnTo>
                  <a:lnTo>
                    <a:pt x="278" y="1124"/>
                  </a:lnTo>
                  <a:lnTo>
                    <a:pt x="280" y="1121"/>
                  </a:lnTo>
                  <a:lnTo>
                    <a:pt x="281" y="1116"/>
                  </a:lnTo>
                  <a:lnTo>
                    <a:pt x="282" y="1112"/>
                  </a:lnTo>
                  <a:lnTo>
                    <a:pt x="283" y="1107"/>
                  </a:lnTo>
                  <a:lnTo>
                    <a:pt x="283" y="1096"/>
                  </a:lnTo>
                  <a:lnTo>
                    <a:pt x="283" y="873"/>
                  </a:lnTo>
                  <a:lnTo>
                    <a:pt x="283" y="650"/>
                  </a:lnTo>
                  <a:lnTo>
                    <a:pt x="283" y="624"/>
                  </a:lnTo>
                  <a:lnTo>
                    <a:pt x="284" y="611"/>
                  </a:lnTo>
                  <a:lnTo>
                    <a:pt x="285" y="598"/>
                  </a:lnTo>
                  <a:lnTo>
                    <a:pt x="287" y="587"/>
                  </a:lnTo>
                  <a:lnTo>
                    <a:pt x="290" y="576"/>
                  </a:lnTo>
                  <a:lnTo>
                    <a:pt x="293" y="567"/>
                  </a:lnTo>
                  <a:lnTo>
                    <a:pt x="296" y="558"/>
                  </a:lnTo>
                  <a:lnTo>
                    <a:pt x="301" y="551"/>
                  </a:lnTo>
                  <a:lnTo>
                    <a:pt x="305" y="544"/>
                  </a:lnTo>
                  <a:lnTo>
                    <a:pt x="311" y="538"/>
                  </a:lnTo>
                  <a:lnTo>
                    <a:pt x="317" y="534"/>
                  </a:lnTo>
                  <a:lnTo>
                    <a:pt x="320" y="532"/>
                  </a:lnTo>
                  <a:lnTo>
                    <a:pt x="323" y="530"/>
                  </a:lnTo>
                  <a:lnTo>
                    <a:pt x="331" y="527"/>
                  </a:lnTo>
                  <a:lnTo>
                    <a:pt x="338" y="525"/>
                  </a:lnTo>
                  <a:lnTo>
                    <a:pt x="347" y="524"/>
                  </a:lnTo>
                  <a:lnTo>
                    <a:pt x="356" y="524"/>
                  </a:lnTo>
                  <a:lnTo>
                    <a:pt x="366" y="525"/>
                  </a:lnTo>
                  <a:lnTo>
                    <a:pt x="377" y="527"/>
                  </a:lnTo>
                  <a:lnTo>
                    <a:pt x="388" y="530"/>
                  </a:lnTo>
                  <a:lnTo>
                    <a:pt x="458" y="549"/>
                  </a:lnTo>
                  <a:lnTo>
                    <a:pt x="526" y="569"/>
                  </a:lnTo>
                  <a:lnTo>
                    <a:pt x="594" y="589"/>
                  </a:lnTo>
                  <a:lnTo>
                    <a:pt x="661" y="609"/>
                  </a:lnTo>
                  <a:lnTo>
                    <a:pt x="690" y="618"/>
                  </a:lnTo>
                  <a:lnTo>
                    <a:pt x="702" y="622"/>
                  </a:lnTo>
                  <a:lnTo>
                    <a:pt x="712" y="626"/>
                  </a:lnTo>
                  <a:lnTo>
                    <a:pt x="721" y="630"/>
                  </a:lnTo>
                  <a:lnTo>
                    <a:pt x="728" y="635"/>
                  </a:lnTo>
                  <a:lnTo>
                    <a:pt x="733" y="639"/>
                  </a:lnTo>
                  <a:lnTo>
                    <a:pt x="738" y="645"/>
                  </a:lnTo>
                  <a:lnTo>
                    <a:pt x="742" y="651"/>
                  </a:lnTo>
                  <a:lnTo>
                    <a:pt x="744" y="658"/>
                  </a:lnTo>
                  <a:lnTo>
                    <a:pt x="746" y="666"/>
                  </a:lnTo>
                  <a:lnTo>
                    <a:pt x="748" y="675"/>
                  </a:lnTo>
                  <a:lnTo>
                    <a:pt x="748" y="686"/>
                  </a:lnTo>
                  <a:lnTo>
                    <a:pt x="749" y="699"/>
                  </a:lnTo>
                  <a:lnTo>
                    <a:pt x="749" y="729"/>
                  </a:lnTo>
                  <a:lnTo>
                    <a:pt x="749" y="880"/>
                  </a:lnTo>
                  <a:lnTo>
                    <a:pt x="749" y="956"/>
                  </a:lnTo>
                  <a:lnTo>
                    <a:pt x="749" y="1031"/>
                  </a:lnTo>
                  <a:lnTo>
                    <a:pt x="748" y="1041"/>
                  </a:lnTo>
                  <a:lnTo>
                    <a:pt x="747" y="1050"/>
                  </a:lnTo>
                  <a:lnTo>
                    <a:pt x="746" y="1059"/>
                  </a:lnTo>
                  <a:lnTo>
                    <a:pt x="743" y="1068"/>
                  </a:lnTo>
                  <a:lnTo>
                    <a:pt x="741" y="1076"/>
                  </a:lnTo>
                  <a:lnTo>
                    <a:pt x="737" y="1083"/>
                  </a:lnTo>
                  <a:lnTo>
                    <a:pt x="733" y="1090"/>
                  </a:lnTo>
                  <a:lnTo>
                    <a:pt x="728" y="1097"/>
                  </a:lnTo>
                  <a:lnTo>
                    <a:pt x="723" y="1103"/>
                  </a:lnTo>
                  <a:lnTo>
                    <a:pt x="718" y="1108"/>
                  </a:lnTo>
                  <a:lnTo>
                    <a:pt x="711" y="1113"/>
                  </a:lnTo>
                  <a:lnTo>
                    <a:pt x="705" y="1118"/>
                  </a:lnTo>
                  <a:lnTo>
                    <a:pt x="698" y="1121"/>
                  </a:lnTo>
                  <a:lnTo>
                    <a:pt x="690" y="1125"/>
                  </a:lnTo>
                  <a:lnTo>
                    <a:pt x="682" y="1128"/>
                  </a:lnTo>
                  <a:lnTo>
                    <a:pt x="677" y="1129"/>
                  </a:lnTo>
                  <a:lnTo>
                    <a:pt x="673" y="1130"/>
                  </a:lnTo>
                  <a:lnTo>
                    <a:pt x="665" y="1132"/>
                  </a:lnTo>
                  <a:lnTo>
                    <a:pt x="658" y="1132"/>
                  </a:lnTo>
                  <a:lnTo>
                    <a:pt x="655" y="1132"/>
                  </a:lnTo>
                  <a:lnTo>
                    <a:pt x="652" y="1132"/>
                  </a:lnTo>
                  <a:lnTo>
                    <a:pt x="650" y="1131"/>
                  </a:lnTo>
                  <a:lnTo>
                    <a:pt x="647" y="1129"/>
                  </a:lnTo>
                  <a:lnTo>
                    <a:pt x="645" y="1128"/>
                  </a:lnTo>
                  <a:lnTo>
                    <a:pt x="644" y="1126"/>
                  </a:lnTo>
                  <a:lnTo>
                    <a:pt x="642" y="1123"/>
                  </a:lnTo>
                  <a:lnTo>
                    <a:pt x="641" y="1120"/>
                  </a:lnTo>
                  <a:lnTo>
                    <a:pt x="640" y="1117"/>
                  </a:lnTo>
                  <a:lnTo>
                    <a:pt x="640" y="1113"/>
                  </a:lnTo>
                  <a:lnTo>
                    <a:pt x="640" y="1109"/>
                  </a:lnTo>
                  <a:lnTo>
                    <a:pt x="640" y="1104"/>
                  </a:lnTo>
                  <a:lnTo>
                    <a:pt x="641" y="1017"/>
                  </a:lnTo>
                  <a:lnTo>
                    <a:pt x="641" y="931"/>
                  </a:lnTo>
                  <a:lnTo>
                    <a:pt x="642" y="844"/>
                  </a:lnTo>
                  <a:lnTo>
                    <a:pt x="643" y="758"/>
                  </a:lnTo>
                  <a:lnTo>
                    <a:pt x="642" y="747"/>
                  </a:lnTo>
                  <a:lnTo>
                    <a:pt x="641" y="738"/>
                  </a:lnTo>
                  <a:lnTo>
                    <a:pt x="638" y="729"/>
                  </a:lnTo>
                  <a:lnTo>
                    <a:pt x="637" y="726"/>
                  </a:lnTo>
                  <a:lnTo>
                    <a:pt x="635" y="722"/>
                  </a:lnTo>
                  <a:lnTo>
                    <a:pt x="632" y="719"/>
                  </a:lnTo>
                  <a:lnTo>
                    <a:pt x="629" y="716"/>
                  </a:lnTo>
                  <a:lnTo>
                    <a:pt x="626" y="714"/>
                  </a:lnTo>
                  <a:lnTo>
                    <a:pt x="623" y="711"/>
                  </a:lnTo>
                  <a:lnTo>
                    <a:pt x="618" y="709"/>
                  </a:lnTo>
                  <a:lnTo>
                    <a:pt x="614" y="707"/>
                  </a:lnTo>
                  <a:lnTo>
                    <a:pt x="604" y="704"/>
                  </a:lnTo>
                  <a:lnTo>
                    <a:pt x="566" y="694"/>
                  </a:lnTo>
                  <a:lnTo>
                    <a:pt x="529" y="682"/>
                  </a:lnTo>
                  <a:lnTo>
                    <a:pt x="492" y="670"/>
                  </a:lnTo>
                  <a:lnTo>
                    <a:pt x="454" y="659"/>
                  </a:lnTo>
                  <a:lnTo>
                    <a:pt x="437" y="655"/>
                  </a:lnTo>
                  <a:lnTo>
                    <a:pt x="431" y="653"/>
                  </a:lnTo>
                  <a:lnTo>
                    <a:pt x="425" y="652"/>
                  </a:lnTo>
                  <a:lnTo>
                    <a:pt x="420" y="652"/>
                  </a:lnTo>
                  <a:lnTo>
                    <a:pt x="416" y="652"/>
                  </a:lnTo>
                  <a:lnTo>
                    <a:pt x="412" y="653"/>
                  </a:lnTo>
                  <a:lnTo>
                    <a:pt x="410" y="654"/>
                  </a:lnTo>
                  <a:lnTo>
                    <a:pt x="407" y="657"/>
                  </a:lnTo>
                  <a:lnTo>
                    <a:pt x="405" y="660"/>
                  </a:lnTo>
                  <a:lnTo>
                    <a:pt x="404" y="664"/>
                  </a:lnTo>
                  <a:lnTo>
                    <a:pt x="403" y="669"/>
                  </a:lnTo>
                  <a:lnTo>
                    <a:pt x="402" y="682"/>
                  </a:lnTo>
                  <a:lnTo>
                    <a:pt x="402" y="699"/>
                  </a:lnTo>
                  <a:lnTo>
                    <a:pt x="402" y="1053"/>
                  </a:lnTo>
                  <a:lnTo>
                    <a:pt x="402" y="1081"/>
                  </a:lnTo>
                  <a:lnTo>
                    <a:pt x="401" y="1109"/>
                  </a:lnTo>
                  <a:lnTo>
                    <a:pt x="400" y="1137"/>
                  </a:lnTo>
                  <a:lnTo>
                    <a:pt x="399" y="1151"/>
                  </a:lnTo>
                  <a:lnTo>
                    <a:pt x="397" y="1164"/>
                  </a:lnTo>
                  <a:lnTo>
                    <a:pt x="396" y="1174"/>
                  </a:lnTo>
                  <a:lnTo>
                    <a:pt x="394" y="1183"/>
                  </a:lnTo>
                  <a:lnTo>
                    <a:pt x="392" y="1192"/>
                  </a:lnTo>
                  <a:lnTo>
                    <a:pt x="389" y="1200"/>
                  </a:lnTo>
                  <a:lnTo>
                    <a:pt x="386" y="1208"/>
                  </a:lnTo>
                  <a:lnTo>
                    <a:pt x="382" y="1214"/>
                  </a:lnTo>
                  <a:lnTo>
                    <a:pt x="378" y="1221"/>
                  </a:lnTo>
                  <a:lnTo>
                    <a:pt x="374" y="1227"/>
                  </a:lnTo>
                  <a:lnTo>
                    <a:pt x="369" y="1232"/>
                  </a:lnTo>
                  <a:lnTo>
                    <a:pt x="363" y="1236"/>
                  </a:lnTo>
                  <a:lnTo>
                    <a:pt x="357" y="1240"/>
                  </a:lnTo>
                  <a:lnTo>
                    <a:pt x="350" y="1243"/>
                  </a:lnTo>
                  <a:lnTo>
                    <a:pt x="342" y="1246"/>
                  </a:lnTo>
                  <a:lnTo>
                    <a:pt x="334" y="1248"/>
                  </a:lnTo>
                  <a:lnTo>
                    <a:pt x="326" y="1250"/>
                  </a:lnTo>
                  <a:lnTo>
                    <a:pt x="316" y="1250"/>
                  </a:lnTo>
                  <a:lnTo>
                    <a:pt x="285" y="1252"/>
                  </a:lnTo>
                  <a:lnTo>
                    <a:pt x="254" y="1252"/>
                  </a:lnTo>
                  <a:lnTo>
                    <a:pt x="193" y="1253"/>
                  </a:lnTo>
                  <a:lnTo>
                    <a:pt x="131" y="1253"/>
                  </a:lnTo>
                  <a:lnTo>
                    <a:pt x="100" y="1252"/>
                  </a:lnTo>
                  <a:lnTo>
                    <a:pt x="68" y="1251"/>
                  </a:lnTo>
                  <a:lnTo>
                    <a:pt x="59" y="1250"/>
                  </a:lnTo>
                  <a:lnTo>
                    <a:pt x="52" y="1249"/>
                  </a:lnTo>
                  <a:lnTo>
                    <a:pt x="45" y="1247"/>
                  </a:lnTo>
                  <a:lnTo>
                    <a:pt x="38" y="1244"/>
                  </a:lnTo>
                  <a:lnTo>
                    <a:pt x="32" y="1241"/>
                  </a:lnTo>
                  <a:lnTo>
                    <a:pt x="26" y="1237"/>
                  </a:lnTo>
                  <a:lnTo>
                    <a:pt x="21" y="1232"/>
                  </a:lnTo>
                  <a:lnTo>
                    <a:pt x="17" y="1227"/>
                  </a:lnTo>
                  <a:lnTo>
                    <a:pt x="13" y="1221"/>
                  </a:lnTo>
                  <a:lnTo>
                    <a:pt x="9" y="1214"/>
                  </a:lnTo>
                  <a:lnTo>
                    <a:pt x="6" y="1207"/>
                  </a:lnTo>
                  <a:lnTo>
                    <a:pt x="4" y="1200"/>
                  </a:lnTo>
                  <a:lnTo>
                    <a:pt x="2" y="1192"/>
                  </a:lnTo>
                  <a:lnTo>
                    <a:pt x="1" y="1183"/>
                  </a:lnTo>
                  <a:lnTo>
                    <a:pt x="0" y="1178"/>
                  </a:lnTo>
                  <a:lnTo>
                    <a:pt x="0" y="1174"/>
                  </a:lnTo>
                  <a:lnTo>
                    <a:pt x="0" y="1164"/>
                  </a:lnTo>
                  <a:lnTo>
                    <a:pt x="0" y="67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B4245"/>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5660ADC0-E44C-0744-9895-14026AEE52EA}"/>
                </a:ext>
              </a:extLst>
            </p:cNvPr>
            <p:cNvSpPr/>
            <p:nvPr/>
          </p:nvSpPr>
          <p:spPr>
            <a:xfrm>
              <a:off x="695250" y="5733320"/>
              <a:ext cx="3775947" cy="430887"/>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4245"/>
                  </a:solidFill>
                  <a:effectLst/>
                  <a:uLnTx/>
                  <a:uFillTx/>
                  <a:latin typeface="Arial"/>
                  <a:ea typeface="+mn-ea"/>
                  <a:cs typeface="Arial"/>
                </a:rPr>
                <a:t>I</a:t>
              </a:r>
              <a:r>
                <a:rPr kumimoji="0" lang="en-US" sz="1400" b="0" i="0" u="none" strike="noStrike" kern="1200" cap="none" spc="0" normalizeH="0" baseline="0" noProof="0" err="1">
                  <a:ln>
                    <a:noFill/>
                  </a:ln>
                  <a:solidFill>
                    <a:srgbClr val="3B4245"/>
                  </a:solidFill>
                  <a:effectLst/>
                  <a:uLnTx/>
                  <a:uFillTx/>
                  <a:latin typeface="Arial"/>
                  <a:ea typeface="+mn-ea"/>
                  <a:cs typeface="Arial"/>
                </a:rPr>
                <a:t>mproved</a:t>
              </a:r>
              <a:r>
                <a:rPr kumimoji="0" lang="en-US" sz="1400" b="0" i="0" u="none" strike="noStrike" kern="1200" cap="none" spc="0" normalizeH="0" baseline="0" noProof="0">
                  <a:ln>
                    <a:noFill/>
                  </a:ln>
                  <a:solidFill>
                    <a:srgbClr val="3B4245"/>
                  </a:solidFill>
                  <a:effectLst/>
                  <a:uLnTx/>
                  <a:uFillTx/>
                  <a:latin typeface="Arial"/>
                  <a:ea typeface="+mn-ea"/>
                  <a:cs typeface="Arial"/>
                </a:rPr>
                <a:t> energy efficiency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4245"/>
                  </a:solidFill>
                  <a:effectLst/>
                  <a:uLnTx/>
                  <a:uFillTx/>
                  <a:latin typeface="Arial"/>
                  <a:ea typeface="+mn-ea"/>
                  <a:cs typeface="Arial"/>
                </a:rPr>
                <a:t>through modernization</a:t>
              </a:r>
            </a:p>
          </p:txBody>
        </p:sp>
        <p:sp>
          <p:nvSpPr>
            <p:cNvPr id="32" name="Rectangle 31">
              <a:extLst>
                <a:ext uri="{FF2B5EF4-FFF2-40B4-BE49-F238E27FC236}">
                  <a16:creationId xmlns:a16="http://schemas.microsoft.com/office/drawing/2014/main" id="{87474440-5644-C14A-AE9C-2CE1DB14B157}"/>
                </a:ext>
              </a:extLst>
            </p:cNvPr>
            <p:cNvSpPr/>
            <p:nvPr/>
          </p:nvSpPr>
          <p:spPr>
            <a:xfrm>
              <a:off x="7752230" y="5733320"/>
              <a:ext cx="1875874" cy="430887"/>
            </a:xfrm>
            <a:prstGeom prst="rect">
              <a:avLst/>
            </a:prstGeom>
          </p:spPr>
          <p:txBody>
            <a:bodyPr wrap="square" lIns="0" tIns="0" rIns="0" bIns="0" anchor="t">
              <a:spAutoFit/>
            </a:bodyPr>
            <a:lstStyle/>
            <a:p>
              <a:pPr>
                <a:defRPr/>
              </a:pPr>
              <a:r>
                <a:rPr lang="en-US" sz="1400">
                  <a:latin typeface="Arial"/>
                  <a:cs typeface="Arial"/>
                </a:rPr>
                <a:t>Carbon-optimized maintenance</a:t>
              </a:r>
              <a:endParaRPr lang="en-US" sz="1400" b="0" i="0" u="none" strike="noStrike" kern="1200" cap="none" spc="0" normalizeH="0" baseline="0" noProof="0">
                <a:ln>
                  <a:noFill/>
                </a:ln>
                <a:effectLst/>
                <a:uLnTx/>
                <a:uFillTx/>
                <a:latin typeface="Arial"/>
                <a:cs typeface="Arial"/>
              </a:endParaRPr>
            </a:p>
          </p:txBody>
        </p:sp>
        <p:sp>
          <p:nvSpPr>
            <p:cNvPr id="33" name="Rectangle 32">
              <a:extLst>
                <a:ext uri="{FF2B5EF4-FFF2-40B4-BE49-F238E27FC236}">
                  <a16:creationId xmlns:a16="http://schemas.microsoft.com/office/drawing/2014/main" id="{5C61A170-1184-9F48-9E36-A630547478A3}"/>
                </a:ext>
              </a:extLst>
            </p:cNvPr>
            <p:cNvSpPr/>
            <p:nvPr/>
          </p:nvSpPr>
          <p:spPr>
            <a:xfrm>
              <a:off x="8616350" y="4508956"/>
              <a:ext cx="1626831"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4245"/>
                  </a:solidFill>
                  <a:effectLst/>
                  <a:uLnTx/>
                  <a:uFillTx/>
                  <a:latin typeface="Arial"/>
                  <a:ea typeface="+mn-ea"/>
                  <a:cs typeface="Arial"/>
                </a:rPr>
                <a:t>Best-in-cla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4245"/>
                  </a:solidFill>
                  <a:effectLst/>
                  <a:uLnTx/>
                  <a:uFillTx/>
                  <a:latin typeface="Arial"/>
                  <a:ea typeface="+mn-ea"/>
                  <a:cs typeface="Arial"/>
                </a:rPr>
                <a:t>energy efficiency</a:t>
              </a:r>
            </a:p>
          </p:txBody>
        </p:sp>
        <p:sp>
          <p:nvSpPr>
            <p:cNvPr id="34" name="Rectangle 33">
              <a:extLst>
                <a:ext uri="{FF2B5EF4-FFF2-40B4-BE49-F238E27FC236}">
                  <a16:creationId xmlns:a16="http://schemas.microsoft.com/office/drawing/2014/main" id="{23F4DDF5-6D96-714F-A6B0-3EEA5111834E}"/>
                </a:ext>
              </a:extLst>
            </p:cNvPr>
            <p:cNvSpPr/>
            <p:nvPr/>
          </p:nvSpPr>
          <p:spPr>
            <a:xfrm>
              <a:off x="8616350" y="2998113"/>
              <a:ext cx="2448340" cy="86177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4245"/>
                  </a:solidFill>
                  <a:effectLst/>
                  <a:uLnTx/>
                  <a:uFillTx/>
                  <a:latin typeface="Arial"/>
                  <a:ea typeface="+mn-ea"/>
                  <a:cs typeface="Arial"/>
                </a:rPr>
                <a:t>Safe and health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4245"/>
                  </a:solidFill>
                  <a:effectLst/>
                  <a:uLnTx/>
                  <a:uFillTx/>
                  <a:latin typeface="Arial"/>
                  <a:ea typeface="+mn-ea"/>
                  <a:cs typeface="Arial"/>
                </a:rPr>
                <a:t>materials and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3B4245"/>
                  </a:solidFill>
                  <a:latin typeface="Arial"/>
                  <a:cs typeface="Arial"/>
                </a:rPr>
                <a:t>- Carbon neutral elevator until handover</a:t>
              </a:r>
              <a:endParaRPr kumimoji="0" lang="en-US" sz="1400" b="0" u="none" strike="noStrike" kern="1200" cap="none" spc="0" normalizeH="0" baseline="0" noProof="0">
                <a:ln>
                  <a:noFill/>
                </a:ln>
                <a:solidFill>
                  <a:srgbClr val="3B4245"/>
                </a:solidFill>
                <a:effectLst/>
                <a:uLnTx/>
                <a:uFillTx/>
                <a:latin typeface="Arial"/>
                <a:ea typeface="+mn-ea"/>
                <a:cs typeface="Arial"/>
              </a:endParaRPr>
            </a:p>
          </p:txBody>
        </p:sp>
        <p:sp>
          <p:nvSpPr>
            <p:cNvPr id="35" name="Rectangle 34">
              <a:extLst>
                <a:ext uri="{FF2B5EF4-FFF2-40B4-BE49-F238E27FC236}">
                  <a16:creationId xmlns:a16="http://schemas.microsoft.com/office/drawing/2014/main" id="{9C4EAE1F-652F-944F-9953-92217ED60274}"/>
                </a:ext>
              </a:extLst>
            </p:cNvPr>
            <p:cNvSpPr/>
            <p:nvPr/>
          </p:nvSpPr>
          <p:spPr>
            <a:xfrm>
              <a:off x="7752230" y="1700760"/>
              <a:ext cx="1787235"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err="1">
                  <a:ln>
                    <a:noFill/>
                  </a:ln>
                  <a:solidFill>
                    <a:srgbClr val="3B4245"/>
                  </a:solidFill>
                  <a:effectLst/>
                  <a:uLnTx/>
                  <a:uFillTx/>
                  <a:latin typeface="Arial"/>
                  <a:ea typeface="+mn-ea"/>
                  <a:cs typeface="Arial"/>
                </a:rPr>
                <a:t>Sustainable</a:t>
              </a:r>
              <a:r>
                <a:rPr kumimoji="0" lang="fi-FI" sz="1400" b="0" i="0" u="none" strike="noStrike" kern="1200" cap="none" spc="0" normalizeH="0" baseline="0" noProof="0">
                  <a:ln>
                    <a:noFill/>
                  </a:ln>
                  <a:solidFill>
                    <a:srgbClr val="3B4245"/>
                  </a:solidFill>
                  <a:effectLst/>
                  <a:uLnTx/>
                  <a:uFillTx/>
                  <a:latin typeface="Arial"/>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err="1">
                  <a:ln>
                    <a:noFill/>
                  </a:ln>
                  <a:solidFill>
                    <a:srgbClr val="3B4245"/>
                  </a:solidFill>
                  <a:effectLst/>
                  <a:uLnTx/>
                  <a:uFillTx/>
                  <a:latin typeface="Arial"/>
                  <a:ea typeface="+mn-ea"/>
                  <a:cs typeface="Arial"/>
                </a:rPr>
                <a:t>building</a:t>
              </a:r>
              <a:r>
                <a:rPr kumimoji="0" lang="fi-FI" sz="1400" b="0" i="0" u="none" strike="noStrike" kern="1200" cap="none" spc="0" normalizeH="0" baseline="0" noProof="0">
                  <a:ln>
                    <a:noFill/>
                  </a:ln>
                  <a:solidFill>
                    <a:srgbClr val="3B4245"/>
                  </a:solidFill>
                  <a:effectLst/>
                  <a:uLnTx/>
                  <a:uFillTx/>
                  <a:latin typeface="Arial"/>
                  <a:ea typeface="+mn-ea"/>
                  <a:cs typeface="Arial"/>
                </a:rPr>
                <a:t> design</a:t>
              </a:r>
              <a:endParaRPr kumimoji="0" lang="fi" sz="1400" b="0" i="0" u="none" strike="noStrike" kern="1200" cap="none" spc="0" normalizeH="0" baseline="0" noProof="0">
                <a:ln>
                  <a:noFill/>
                </a:ln>
                <a:solidFill>
                  <a:srgbClr val="3B4245"/>
                </a:solidFill>
                <a:effectLst/>
                <a:uLnTx/>
                <a:uFillTx/>
                <a:latin typeface="Arial"/>
                <a:ea typeface="+mn-ea"/>
                <a:cs typeface="Arial"/>
              </a:endParaRPr>
            </a:p>
          </p:txBody>
        </p:sp>
        <p:sp>
          <p:nvSpPr>
            <p:cNvPr id="36" name="Rectangle 35">
              <a:extLst>
                <a:ext uri="{FF2B5EF4-FFF2-40B4-BE49-F238E27FC236}">
                  <a16:creationId xmlns:a16="http://schemas.microsoft.com/office/drawing/2014/main" id="{2B6ED293-5060-E046-AE67-BAD2054D82AC}"/>
                </a:ext>
              </a:extLst>
            </p:cNvPr>
            <p:cNvSpPr/>
            <p:nvPr/>
          </p:nvSpPr>
          <p:spPr>
            <a:xfrm>
              <a:off x="1703390" y="4365130"/>
              <a:ext cx="1875874" cy="430887"/>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4245"/>
                  </a:solidFill>
                  <a:effectLst/>
                  <a:uLnTx/>
                  <a:uFillTx/>
                  <a:latin typeface="Arial"/>
                  <a:ea typeface="+mn-ea"/>
                  <a:cs typeface="Arial"/>
                </a:rPr>
                <a:t>Recyclabl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4245"/>
                  </a:solidFill>
                  <a:effectLst/>
                  <a:uLnTx/>
                  <a:uFillTx/>
                  <a:latin typeface="Arial"/>
                  <a:ea typeface="+mn-ea"/>
                  <a:cs typeface="Arial"/>
                </a:rPr>
                <a:t>resources</a:t>
              </a:r>
              <a:endParaRPr kumimoji="0" lang="fi" sz="1400" b="0" i="0" u="none" strike="noStrike" kern="1200" cap="none" spc="0" normalizeH="0" baseline="0" noProof="0">
                <a:ln>
                  <a:noFill/>
                </a:ln>
                <a:solidFill>
                  <a:srgbClr val="3B4245"/>
                </a:solidFill>
                <a:effectLst/>
                <a:uLnTx/>
                <a:uFillTx/>
                <a:latin typeface="Arial"/>
                <a:ea typeface="+mn-ea"/>
                <a:cs typeface="Arial"/>
              </a:endParaRPr>
            </a:p>
          </p:txBody>
        </p:sp>
        <p:sp>
          <p:nvSpPr>
            <p:cNvPr id="37" name="Freeform 33">
              <a:extLst>
                <a:ext uri="{FF2B5EF4-FFF2-40B4-BE49-F238E27FC236}">
                  <a16:creationId xmlns:a16="http://schemas.microsoft.com/office/drawing/2014/main" id="{90E2ED8A-19B4-8F4B-ADAA-D619BE813871}"/>
                </a:ext>
              </a:extLst>
            </p:cNvPr>
            <p:cNvSpPr>
              <a:spLocks noEditPoints="1"/>
            </p:cNvSpPr>
            <p:nvPr/>
          </p:nvSpPr>
          <p:spPr bwMode="auto">
            <a:xfrm>
              <a:off x="5150606" y="5445540"/>
              <a:ext cx="441324" cy="431800"/>
            </a:xfrm>
            <a:custGeom>
              <a:avLst/>
              <a:gdLst>
                <a:gd name="T0" fmla="*/ 1208 w 1389"/>
                <a:gd name="T1" fmla="*/ 132 h 1359"/>
                <a:gd name="T2" fmla="*/ 1016 w 1389"/>
                <a:gd name="T3" fmla="*/ 149 h 1359"/>
                <a:gd name="T4" fmla="*/ 977 w 1389"/>
                <a:gd name="T5" fmla="*/ 303 h 1359"/>
                <a:gd name="T6" fmla="*/ 1091 w 1389"/>
                <a:gd name="T7" fmla="*/ 407 h 1359"/>
                <a:gd name="T8" fmla="*/ 1240 w 1389"/>
                <a:gd name="T9" fmla="*/ 354 h 1359"/>
                <a:gd name="T10" fmla="*/ 1389 w 1389"/>
                <a:gd name="T11" fmla="*/ 340 h 1359"/>
                <a:gd name="T12" fmla="*/ 1325 w 1389"/>
                <a:gd name="T13" fmla="*/ 377 h 1359"/>
                <a:gd name="T14" fmla="*/ 1255 w 1389"/>
                <a:gd name="T15" fmla="*/ 470 h 1359"/>
                <a:gd name="T16" fmla="*/ 1204 w 1389"/>
                <a:gd name="T17" fmla="*/ 509 h 1359"/>
                <a:gd name="T18" fmla="*/ 1081 w 1389"/>
                <a:gd name="T19" fmla="*/ 484 h 1359"/>
                <a:gd name="T20" fmla="*/ 1010 w 1389"/>
                <a:gd name="T21" fmla="*/ 504 h 1359"/>
                <a:gd name="T22" fmla="*/ 978 w 1389"/>
                <a:gd name="T23" fmla="*/ 393 h 1359"/>
                <a:gd name="T24" fmla="*/ 882 w 1389"/>
                <a:gd name="T25" fmla="*/ 377 h 1359"/>
                <a:gd name="T26" fmla="*/ 929 w 1389"/>
                <a:gd name="T27" fmla="*/ 279 h 1359"/>
                <a:gd name="T28" fmla="*/ 874 w 1389"/>
                <a:gd name="T29" fmla="*/ 188 h 1359"/>
                <a:gd name="T30" fmla="*/ 927 w 1389"/>
                <a:gd name="T31" fmla="*/ 142 h 1359"/>
                <a:gd name="T32" fmla="*/ 1005 w 1389"/>
                <a:gd name="T33" fmla="*/ 49 h 1359"/>
                <a:gd name="T34" fmla="*/ 1054 w 1389"/>
                <a:gd name="T35" fmla="*/ 8 h 1359"/>
                <a:gd name="T36" fmla="*/ 1169 w 1389"/>
                <a:gd name="T37" fmla="*/ 46 h 1359"/>
                <a:gd name="T38" fmla="*/ 1249 w 1389"/>
                <a:gd name="T39" fmla="*/ 13 h 1359"/>
                <a:gd name="T40" fmla="*/ 1258 w 1389"/>
                <a:gd name="T41" fmla="*/ 99 h 1359"/>
                <a:gd name="T42" fmla="*/ 1371 w 1389"/>
                <a:gd name="T43" fmla="*/ 133 h 1359"/>
                <a:gd name="T44" fmla="*/ 1341 w 1389"/>
                <a:gd name="T45" fmla="*/ 219 h 1359"/>
                <a:gd name="T46" fmla="*/ 1061 w 1389"/>
                <a:gd name="T47" fmla="*/ 771 h 1359"/>
                <a:gd name="T48" fmla="*/ 1094 w 1389"/>
                <a:gd name="T49" fmla="*/ 862 h 1359"/>
                <a:gd name="T50" fmla="*/ 995 w 1389"/>
                <a:gd name="T51" fmla="*/ 902 h 1359"/>
                <a:gd name="T52" fmla="*/ 897 w 1389"/>
                <a:gd name="T53" fmla="*/ 1047 h 1359"/>
                <a:gd name="T54" fmla="*/ 946 w 1389"/>
                <a:gd name="T55" fmla="*/ 1163 h 1359"/>
                <a:gd name="T56" fmla="*/ 872 w 1389"/>
                <a:gd name="T57" fmla="*/ 1239 h 1359"/>
                <a:gd name="T58" fmla="*/ 772 w 1389"/>
                <a:gd name="T59" fmla="*/ 1181 h 1359"/>
                <a:gd name="T60" fmla="*/ 615 w 1389"/>
                <a:gd name="T61" fmla="*/ 1238 h 1359"/>
                <a:gd name="T62" fmla="*/ 567 w 1389"/>
                <a:gd name="T63" fmla="*/ 1352 h 1359"/>
                <a:gd name="T64" fmla="*/ 464 w 1389"/>
                <a:gd name="T65" fmla="*/ 1323 h 1359"/>
                <a:gd name="T66" fmla="*/ 414 w 1389"/>
                <a:gd name="T67" fmla="*/ 1196 h 1359"/>
                <a:gd name="T68" fmla="*/ 241 w 1389"/>
                <a:gd name="T69" fmla="*/ 1180 h 1359"/>
                <a:gd name="T70" fmla="*/ 160 w 1389"/>
                <a:gd name="T71" fmla="*/ 1197 h 1359"/>
                <a:gd name="T72" fmla="*/ 131 w 1389"/>
                <a:gd name="T73" fmla="*/ 1106 h 1359"/>
                <a:gd name="T74" fmla="*/ 171 w 1389"/>
                <a:gd name="T75" fmla="*/ 946 h 1359"/>
                <a:gd name="T76" fmla="*/ 40 w 1389"/>
                <a:gd name="T77" fmla="*/ 849 h 1359"/>
                <a:gd name="T78" fmla="*/ 2 w 1389"/>
                <a:gd name="T79" fmla="*/ 761 h 1359"/>
                <a:gd name="T80" fmla="*/ 94 w 1389"/>
                <a:gd name="T81" fmla="*/ 717 h 1359"/>
                <a:gd name="T82" fmla="*/ 199 w 1389"/>
                <a:gd name="T83" fmla="*/ 570 h 1359"/>
                <a:gd name="T84" fmla="*/ 151 w 1389"/>
                <a:gd name="T85" fmla="*/ 453 h 1359"/>
                <a:gd name="T86" fmla="*/ 229 w 1389"/>
                <a:gd name="T87" fmla="*/ 379 h 1359"/>
                <a:gd name="T88" fmla="*/ 334 w 1389"/>
                <a:gd name="T89" fmla="*/ 438 h 1359"/>
                <a:gd name="T90" fmla="*/ 492 w 1389"/>
                <a:gd name="T91" fmla="*/ 364 h 1359"/>
                <a:gd name="T92" fmla="*/ 535 w 1389"/>
                <a:gd name="T93" fmla="*/ 265 h 1359"/>
                <a:gd name="T94" fmla="*/ 634 w 1389"/>
                <a:gd name="T95" fmla="*/ 303 h 1359"/>
                <a:gd name="T96" fmla="*/ 698 w 1389"/>
                <a:gd name="T97" fmla="*/ 435 h 1359"/>
                <a:gd name="T98" fmla="*/ 872 w 1389"/>
                <a:gd name="T99" fmla="*/ 428 h 1359"/>
                <a:gd name="T100" fmla="*/ 967 w 1389"/>
                <a:gd name="T101" fmla="*/ 453 h 1359"/>
                <a:gd name="T102" fmla="*/ 952 w 1389"/>
                <a:gd name="T103" fmla="*/ 529 h 1359"/>
                <a:gd name="T104" fmla="*/ 946 w 1389"/>
                <a:gd name="T105" fmla="*/ 710 h 1359"/>
                <a:gd name="T106" fmla="*/ 809 w 1389"/>
                <a:gd name="T107" fmla="*/ 684 h 1359"/>
                <a:gd name="T108" fmla="*/ 634 w 1389"/>
                <a:gd name="T109" fmla="*/ 533 h 1359"/>
                <a:gd name="T110" fmla="*/ 399 w 1389"/>
                <a:gd name="T111" fmla="*/ 562 h 1359"/>
                <a:gd name="T112" fmla="*/ 266 w 1389"/>
                <a:gd name="T113" fmla="*/ 751 h 1359"/>
                <a:gd name="T114" fmla="*/ 318 w 1389"/>
                <a:gd name="T115" fmla="*/ 983 h 1359"/>
                <a:gd name="T116" fmla="*/ 518 w 1389"/>
                <a:gd name="T117" fmla="*/ 1096 h 1359"/>
                <a:gd name="T118" fmla="*/ 744 w 1389"/>
                <a:gd name="T119" fmla="*/ 1022 h 1359"/>
                <a:gd name="T120" fmla="*/ 837 w 1389"/>
                <a:gd name="T121" fmla="*/ 812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9" h="1359">
                  <a:moveTo>
                    <a:pt x="1275" y="257"/>
                  </a:moveTo>
                  <a:lnTo>
                    <a:pt x="1274" y="242"/>
                  </a:lnTo>
                  <a:lnTo>
                    <a:pt x="1273" y="234"/>
                  </a:lnTo>
                  <a:lnTo>
                    <a:pt x="1272" y="227"/>
                  </a:lnTo>
                  <a:lnTo>
                    <a:pt x="1270" y="219"/>
                  </a:lnTo>
                  <a:lnTo>
                    <a:pt x="1268" y="213"/>
                  </a:lnTo>
                  <a:lnTo>
                    <a:pt x="1265" y="205"/>
                  </a:lnTo>
                  <a:lnTo>
                    <a:pt x="1263" y="198"/>
                  </a:lnTo>
                  <a:lnTo>
                    <a:pt x="1260" y="192"/>
                  </a:lnTo>
                  <a:lnTo>
                    <a:pt x="1257" y="185"/>
                  </a:lnTo>
                  <a:lnTo>
                    <a:pt x="1249" y="172"/>
                  </a:lnTo>
                  <a:lnTo>
                    <a:pt x="1240" y="160"/>
                  </a:lnTo>
                  <a:lnTo>
                    <a:pt x="1236" y="155"/>
                  </a:lnTo>
                  <a:lnTo>
                    <a:pt x="1230" y="150"/>
                  </a:lnTo>
                  <a:lnTo>
                    <a:pt x="1225" y="145"/>
                  </a:lnTo>
                  <a:lnTo>
                    <a:pt x="1219" y="141"/>
                  </a:lnTo>
                  <a:lnTo>
                    <a:pt x="1208" y="132"/>
                  </a:lnTo>
                  <a:lnTo>
                    <a:pt x="1196" y="124"/>
                  </a:lnTo>
                  <a:lnTo>
                    <a:pt x="1182" y="118"/>
                  </a:lnTo>
                  <a:lnTo>
                    <a:pt x="1168" y="112"/>
                  </a:lnTo>
                  <a:lnTo>
                    <a:pt x="1154" y="109"/>
                  </a:lnTo>
                  <a:lnTo>
                    <a:pt x="1139" y="106"/>
                  </a:lnTo>
                  <a:lnTo>
                    <a:pt x="1124" y="106"/>
                  </a:lnTo>
                  <a:lnTo>
                    <a:pt x="1107" y="106"/>
                  </a:lnTo>
                  <a:lnTo>
                    <a:pt x="1092" y="108"/>
                  </a:lnTo>
                  <a:lnTo>
                    <a:pt x="1086" y="110"/>
                  </a:lnTo>
                  <a:lnTo>
                    <a:pt x="1078" y="112"/>
                  </a:lnTo>
                  <a:lnTo>
                    <a:pt x="1070" y="115"/>
                  </a:lnTo>
                  <a:lnTo>
                    <a:pt x="1064" y="117"/>
                  </a:lnTo>
                  <a:lnTo>
                    <a:pt x="1051" y="123"/>
                  </a:lnTo>
                  <a:lnTo>
                    <a:pt x="1038" y="131"/>
                  </a:lnTo>
                  <a:lnTo>
                    <a:pt x="1026" y="140"/>
                  </a:lnTo>
                  <a:lnTo>
                    <a:pt x="1020" y="145"/>
                  </a:lnTo>
                  <a:lnTo>
                    <a:pt x="1016" y="149"/>
                  </a:lnTo>
                  <a:lnTo>
                    <a:pt x="1010" y="155"/>
                  </a:lnTo>
                  <a:lnTo>
                    <a:pt x="1005" y="160"/>
                  </a:lnTo>
                  <a:lnTo>
                    <a:pt x="996" y="172"/>
                  </a:lnTo>
                  <a:lnTo>
                    <a:pt x="993" y="179"/>
                  </a:lnTo>
                  <a:lnTo>
                    <a:pt x="989" y="184"/>
                  </a:lnTo>
                  <a:lnTo>
                    <a:pt x="985" y="191"/>
                  </a:lnTo>
                  <a:lnTo>
                    <a:pt x="982" y="198"/>
                  </a:lnTo>
                  <a:lnTo>
                    <a:pt x="978" y="212"/>
                  </a:lnTo>
                  <a:lnTo>
                    <a:pt x="976" y="219"/>
                  </a:lnTo>
                  <a:lnTo>
                    <a:pt x="973" y="227"/>
                  </a:lnTo>
                  <a:lnTo>
                    <a:pt x="972" y="234"/>
                  </a:lnTo>
                  <a:lnTo>
                    <a:pt x="971" y="242"/>
                  </a:lnTo>
                  <a:lnTo>
                    <a:pt x="970" y="257"/>
                  </a:lnTo>
                  <a:lnTo>
                    <a:pt x="971" y="273"/>
                  </a:lnTo>
                  <a:lnTo>
                    <a:pt x="973" y="288"/>
                  </a:lnTo>
                  <a:lnTo>
                    <a:pt x="976" y="295"/>
                  </a:lnTo>
                  <a:lnTo>
                    <a:pt x="977" y="303"/>
                  </a:lnTo>
                  <a:lnTo>
                    <a:pt x="980" y="310"/>
                  </a:lnTo>
                  <a:lnTo>
                    <a:pt x="982" y="316"/>
                  </a:lnTo>
                  <a:lnTo>
                    <a:pt x="989" y="330"/>
                  </a:lnTo>
                  <a:lnTo>
                    <a:pt x="996" y="342"/>
                  </a:lnTo>
                  <a:lnTo>
                    <a:pt x="1005" y="354"/>
                  </a:lnTo>
                  <a:lnTo>
                    <a:pt x="1009" y="360"/>
                  </a:lnTo>
                  <a:lnTo>
                    <a:pt x="1015" y="365"/>
                  </a:lnTo>
                  <a:lnTo>
                    <a:pt x="1020" y="371"/>
                  </a:lnTo>
                  <a:lnTo>
                    <a:pt x="1026" y="375"/>
                  </a:lnTo>
                  <a:lnTo>
                    <a:pt x="1038" y="384"/>
                  </a:lnTo>
                  <a:lnTo>
                    <a:pt x="1043" y="388"/>
                  </a:lnTo>
                  <a:lnTo>
                    <a:pt x="1050" y="391"/>
                  </a:lnTo>
                  <a:lnTo>
                    <a:pt x="1056" y="395"/>
                  </a:lnTo>
                  <a:lnTo>
                    <a:pt x="1063" y="398"/>
                  </a:lnTo>
                  <a:lnTo>
                    <a:pt x="1077" y="403"/>
                  </a:lnTo>
                  <a:lnTo>
                    <a:pt x="1084" y="405"/>
                  </a:lnTo>
                  <a:lnTo>
                    <a:pt x="1091" y="407"/>
                  </a:lnTo>
                  <a:lnTo>
                    <a:pt x="1099" y="409"/>
                  </a:lnTo>
                  <a:lnTo>
                    <a:pt x="1106" y="410"/>
                  </a:lnTo>
                  <a:lnTo>
                    <a:pt x="1123" y="410"/>
                  </a:lnTo>
                  <a:lnTo>
                    <a:pt x="1138" y="410"/>
                  </a:lnTo>
                  <a:lnTo>
                    <a:pt x="1153" y="408"/>
                  </a:lnTo>
                  <a:lnTo>
                    <a:pt x="1161" y="405"/>
                  </a:lnTo>
                  <a:lnTo>
                    <a:pt x="1167" y="403"/>
                  </a:lnTo>
                  <a:lnTo>
                    <a:pt x="1175" y="401"/>
                  </a:lnTo>
                  <a:lnTo>
                    <a:pt x="1181" y="398"/>
                  </a:lnTo>
                  <a:lnTo>
                    <a:pt x="1188" y="396"/>
                  </a:lnTo>
                  <a:lnTo>
                    <a:pt x="1194" y="391"/>
                  </a:lnTo>
                  <a:lnTo>
                    <a:pt x="1208" y="384"/>
                  </a:lnTo>
                  <a:lnTo>
                    <a:pt x="1219" y="375"/>
                  </a:lnTo>
                  <a:lnTo>
                    <a:pt x="1225" y="371"/>
                  </a:lnTo>
                  <a:lnTo>
                    <a:pt x="1230" y="365"/>
                  </a:lnTo>
                  <a:lnTo>
                    <a:pt x="1235" y="360"/>
                  </a:lnTo>
                  <a:lnTo>
                    <a:pt x="1240" y="354"/>
                  </a:lnTo>
                  <a:lnTo>
                    <a:pt x="1249" y="342"/>
                  </a:lnTo>
                  <a:lnTo>
                    <a:pt x="1252" y="337"/>
                  </a:lnTo>
                  <a:lnTo>
                    <a:pt x="1257" y="330"/>
                  </a:lnTo>
                  <a:lnTo>
                    <a:pt x="1260" y="324"/>
                  </a:lnTo>
                  <a:lnTo>
                    <a:pt x="1263" y="317"/>
                  </a:lnTo>
                  <a:lnTo>
                    <a:pt x="1267" y="303"/>
                  </a:lnTo>
                  <a:lnTo>
                    <a:pt x="1270" y="295"/>
                  </a:lnTo>
                  <a:lnTo>
                    <a:pt x="1272" y="288"/>
                  </a:lnTo>
                  <a:lnTo>
                    <a:pt x="1273" y="280"/>
                  </a:lnTo>
                  <a:lnTo>
                    <a:pt x="1274" y="273"/>
                  </a:lnTo>
                  <a:lnTo>
                    <a:pt x="1275" y="257"/>
                  </a:lnTo>
                  <a:close/>
                  <a:moveTo>
                    <a:pt x="1377" y="324"/>
                  </a:moveTo>
                  <a:lnTo>
                    <a:pt x="1381" y="326"/>
                  </a:lnTo>
                  <a:lnTo>
                    <a:pt x="1384" y="329"/>
                  </a:lnTo>
                  <a:lnTo>
                    <a:pt x="1386" y="332"/>
                  </a:lnTo>
                  <a:lnTo>
                    <a:pt x="1388" y="336"/>
                  </a:lnTo>
                  <a:lnTo>
                    <a:pt x="1389" y="340"/>
                  </a:lnTo>
                  <a:lnTo>
                    <a:pt x="1389" y="343"/>
                  </a:lnTo>
                  <a:lnTo>
                    <a:pt x="1389" y="348"/>
                  </a:lnTo>
                  <a:lnTo>
                    <a:pt x="1388" y="352"/>
                  </a:lnTo>
                  <a:lnTo>
                    <a:pt x="1381" y="370"/>
                  </a:lnTo>
                  <a:lnTo>
                    <a:pt x="1378" y="374"/>
                  </a:lnTo>
                  <a:lnTo>
                    <a:pt x="1377" y="375"/>
                  </a:lnTo>
                  <a:lnTo>
                    <a:pt x="1376" y="377"/>
                  </a:lnTo>
                  <a:lnTo>
                    <a:pt x="1373" y="379"/>
                  </a:lnTo>
                  <a:lnTo>
                    <a:pt x="1370" y="382"/>
                  </a:lnTo>
                  <a:lnTo>
                    <a:pt x="1365" y="383"/>
                  </a:lnTo>
                  <a:lnTo>
                    <a:pt x="1361" y="384"/>
                  </a:lnTo>
                  <a:lnTo>
                    <a:pt x="1357" y="384"/>
                  </a:lnTo>
                  <a:lnTo>
                    <a:pt x="1352" y="382"/>
                  </a:lnTo>
                  <a:lnTo>
                    <a:pt x="1344" y="379"/>
                  </a:lnTo>
                  <a:lnTo>
                    <a:pt x="1339" y="378"/>
                  </a:lnTo>
                  <a:lnTo>
                    <a:pt x="1335" y="377"/>
                  </a:lnTo>
                  <a:lnTo>
                    <a:pt x="1325" y="377"/>
                  </a:lnTo>
                  <a:lnTo>
                    <a:pt x="1316" y="377"/>
                  </a:lnTo>
                  <a:lnTo>
                    <a:pt x="1307" y="379"/>
                  </a:lnTo>
                  <a:lnTo>
                    <a:pt x="1302" y="380"/>
                  </a:lnTo>
                  <a:lnTo>
                    <a:pt x="1298" y="383"/>
                  </a:lnTo>
                  <a:lnTo>
                    <a:pt x="1294" y="384"/>
                  </a:lnTo>
                  <a:lnTo>
                    <a:pt x="1290" y="386"/>
                  </a:lnTo>
                  <a:lnTo>
                    <a:pt x="1282" y="391"/>
                  </a:lnTo>
                  <a:lnTo>
                    <a:pt x="1265" y="409"/>
                  </a:lnTo>
                  <a:lnTo>
                    <a:pt x="1263" y="412"/>
                  </a:lnTo>
                  <a:lnTo>
                    <a:pt x="1261" y="416"/>
                  </a:lnTo>
                  <a:lnTo>
                    <a:pt x="1257" y="425"/>
                  </a:lnTo>
                  <a:lnTo>
                    <a:pt x="1254" y="434"/>
                  </a:lnTo>
                  <a:lnTo>
                    <a:pt x="1253" y="443"/>
                  </a:lnTo>
                  <a:lnTo>
                    <a:pt x="1252" y="447"/>
                  </a:lnTo>
                  <a:lnTo>
                    <a:pt x="1252" y="452"/>
                  </a:lnTo>
                  <a:lnTo>
                    <a:pt x="1253" y="461"/>
                  </a:lnTo>
                  <a:lnTo>
                    <a:pt x="1255" y="470"/>
                  </a:lnTo>
                  <a:lnTo>
                    <a:pt x="1259" y="480"/>
                  </a:lnTo>
                  <a:lnTo>
                    <a:pt x="1260" y="484"/>
                  </a:lnTo>
                  <a:lnTo>
                    <a:pt x="1261" y="488"/>
                  </a:lnTo>
                  <a:lnTo>
                    <a:pt x="1261" y="493"/>
                  </a:lnTo>
                  <a:lnTo>
                    <a:pt x="1260" y="497"/>
                  </a:lnTo>
                  <a:lnTo>
                    <a:pt x="1258" y="501"/>
                  </a:lnTo>
                  <a:lnTo>
                    <a:pt x="1254" y="505"/>
                  </a:lnTo>
                  <a:lnTo>
                    <a:pt x="1252" y="507"/>
                  </a:lnTo>
                  <a:lnTo>
                    <a:pt x="1248" y="509"/>
                  </a:lnTo>
                  <a:lnTo>
                    <a:pt x="1230" y="517"/>
                  </a:lnTo>
                  <a:lnTo>
                    <a:pt x="1226" y="518"/>
                  </a:lnTo>
                  <a:lnTo>
                    <a:pt x="1222" y="519"/>
                  </a:lnTo>
                  <a:lnTo>
                    <a:pt x="1217" y="518"/>
                  </a:lnTo>
                  <a:lnTo>
                    <a:pt x="1214" y="517"/>
                  </a:lnTo>
                  <a:lnTo>
                    <a:pt x="1210" y="516"/>
                  </a:lnTo>
                  <a:lnTo>
                    <a:pt x="1206" y="512"/>
                  </a:lnTo>
                  <a:lnTo>
                    <a:pt x="1204" y="509"/>
                  </a:lnTo>
                  <a:lnTo>
                    <a:pt x="1202" y="506"/>
                  </a:lnTo>
                  <a:lnTo>
                    <a:pt x="1198" y="497"/>
                  </a:lnTo>
                  <a:lnTo>
                    <a:pt x="1194" y="494"/>
                  </a:lnTo>
                  <a:lnTo>
                    <a:pt x="1192" y="489"/>
                  </a:lnTo>
                  <a:lnTo>
                    <a:pt x="1186" y="483"/>
                  </a:lnTo>
                  <a:lnTo>
                    <a:pt x="1179" y="476"/>
                  </a:lnTo>
                  <a:lnTo>
                    <a:pt x="1172" y="472"/>
                  </a:lnTo>
                  <a:lnTo>
                    <a:pt x="1163" y="468"/>
                  </a:lnTo>
                  <a:lnTo>
                    <a:pt x="1154" y="464"/>
                  </a:lnTo>
                  <a:lnTo>
                    <a:pt x="1144" y="462"/>
                  </a:lnTo>
                  <a:lnTo>
                    <a:pt x="1122" y="462"/>
                  </a:lnTo>
                  <a:lnTo>
                    <a:pt x="1113" y="464"/>
                  </a:lnTo>
                  <a:lnTo>
                    <a:pt x="1104" y="468"/>
                  </a:lnTo>
                  <a:lnTo>
                    <a:pt x="1095" y="472"/>
                  </a:lnTo>
                  <a:lnTo>
                    <a:pt x="1092" y="475"/>
                  </a:lnTo>
                  <a:lnTo>
                    <a:pt x="1088" y="477"/>
                  </a:lnTo>
                  <a:lnTo>
                    <a:pt x="1081" y="484"/>
                  </a:lnTo>
                  <a:lnTo>
                    <a:pt x="1076" y="490"/>
                  </a:lnTo>
                  <a:lnTo>
                    <a:pt x="1070" y="499"/>
                  </a:lnTo>
                  <a:lnTo>
                    <a:pt x="1068" y="502"/>
                  </a:lnTo>
                  <a:lnTo>
                    <a:pt x="1066" y="507"/>
                  </a:lnTo>
                  <a:lnTo>
                    <a:pt x="1064" y="511"/>
                  </a:lnTo>
                  <a:lnTo>
                    <a:pt x="1062" y="514"/>
                  </a:lnTo>
                  <a:lnTo>
                    <a:pt x="1058" y="517"/>
                  </a:lnTo>
                  <a:lnTo>
                    <a:pt x="1054" y="519"/>
                  </a:lnTo>
                  <a:lnTo>
                    <a:pt x="1051" y="519"/>
                  </a:lnTo>
                  <a:lnTo>
                    <a:pt x="1046" y="520"/>
                  </a:lnTo>
                  <a:lnTo>
                    <a:pt x="1042" y="519"/>
                  </a:lnTo>
                  <a:lnTo>
                    <a:pt x="1038" y="518"/>
                  </a:lnTo>
                  <a:lnTo>
                    <a:pt x="1020" y="511"/>
                  </a:lnTo>
                  <a:lnTo>
                    <a:pt x="1017" y="509"/>
                  </a:lnTo>
                  <a:lnTo>
                    <a:pt x="1015" y="508"/>
                  </a:lnTo>
                  <a:lnTo>
                    <a:pt x="1013" y="506"/>
                  </a:lnTo>
                  <a:lnTo>
                    <a:pt x="1010" y="504"/>
                  </a:lnTo>
                  <a:lnTo>
                    <a:pt x="1008" y="499"/>
                  </a:lnTo>
                  <a:lnTo>
                    <a:pt x="1007" y="496"/>
                  </a:lnTo>
                  <a:lnTo>
                    <a:pt x="1006" y="492"/>
                  </a:lnTo>
                  <a:lnTo>
                    <a:pt x="1007" y="487"/>
                  </a:lnTo>
                  <a:lnTo>
                    <a:pt x="1008" y="483"/>
                  </a:lnTo>
                  <a:lnTo>
                    <a:pt x="1009" y="478"/>
                  </a:lnTo>
                  <a:lnTo>
                    <a:pt x="1010" y="474"/>
                  </a:lnTo>
                  <a:lnTo>
                    <a:pt x="1013" y="464"/>
                  </a:lnTo>
                  <a:lnTo>
                    <a:pt x="1013" y="456"/>
                  </a:lnTo>
                  <a:lnTo>
                    <a:pt x="1013" y="447"/>
                  </a:lnTo>
                  <a:lnTo>
                    <a:pt x="1010" y="437"/>
                  </a:lnTo>
                  <a:lnTo>
                    <a:pt x="1009" y="433"/>
                  </a:lnTo>
                  <a:lnTo>
                    <a:pt x="1007" y="428"/>
                  </a:lnTo>
                  <a:lnTo>
                    <a:pt x="1004" y="421"/>
                  </a:lnTo>
                  <a:lnTo>
                    <a:pt x="998" y="413"/>
                  </a:lnTo>
                  <a:lnTo>
                    <a:pt x="982" y="397"/>
                  </a:lnTo>
                  <a:lnTo>
                    <a:pt x="978" y="393"/>
                  </a:lnTo>
                  <a:lnTo>
                    <a:pt x="973" y="391"/>
                  </a:lnTo>
                  <a:lnTo>
                    <a:pt x="965" y="388"/>
                  </a:lnTo>
                  <a:lnTo>
                    <a:pt x="956" y="385"/>
                  </a:lnTo>
                  <a:lnTo>
                    <a:pt x="947" y="384"/>
                  </a:lnTo>
                  <a:lnTo>
                    <a:pt x="943" y="384"/>
                  </a:lnTo>
                  <a:lnTo>
                    <a:pt x="939" y="384"/>
                  </a:lnTo>
                  <a:lnTo>
                    <a:pt x="929" y="384"/>
                  </a:lnTo>
                  <a:lnTo>
                    <a:pt x="920" y="386"/>
                  </a:lnTo>
                  <a:lnTo>
                    <a:pt x="911" y="389"/>
                  </a:lnTo>
                  <a:lnTo>
                    <a:pt x="907" y="390"/>
                  </a:lnTo>
                  <a:lnTo>
                    <a:pt x="903" y="391"/>
                  </a:lnTo>
                  <a:lnTo>
                    <a:pt x="898" y="390"/>
                  </a:lnTo>
                  <a:lnTo>
                    <a:pt x="894" y="389"/>
                  </a:lnTo>
                  <a:lnTo>
                    <a:pt x="891" y="387"/>
                  </a:lnTo>
                  <a:lnTo>
                    <a:pt x="887" y="385"/>
                  </a:lnTo>
                  <a:lnTo>
                    <a:pt x="884" y="382"/>
                  </a:lnTo>
                  <a:lnTo>
                    <a:pt x="882" y="377"/>
                  </a:lnTo>
                  <a:lnTo>
                    <a:pt x="874" y="360"/>
                  </a:lnTo>
                  <a:lnTo>
                    <a:pt x="873" y="355"/>
                  </a:lnTo>
                  <a:lnTo>
                    <a:pt x="873" y="351"/>
                  </a:lnTo>
                  <a:lnTo>
                    <a:pt x="873" y="347"/>
                  </a:lnTo>
                  <a:lnTo>
                    <a:pt x="874" y="342"/>
                  </a:lnTo>
                  <a:lnTo>
                    <a:pt x="877" y="339"/>
                  </a:lnTo>
                  <a:lnTo>
                    <a:pt x="879" y="336"/>
                  </a:lnTo>
                  <a:lnTo>
                    <a:pt x="882" y="332"/>
                  </a:lnTo>
                  <a:lnTo>
                    <a:pt x="886" y="330"/>
                  </a:lnTo>
                  <a:lnTo>
                    <a:pt x="895" y="327"/>
                  </a:lnTo>
                  <a:lnTo>
                    <a:pt x="903" y="322"/>
                  </a:lnTo>
                  <a:lnTo>
                    <a:pt x="909" y="315"/>
                  </a:lnTo>
                  <a:lnTo>
                    <a:pt x="915" y="308"/>
                  </a:lnTo>
                  <a:lnTo>
                    <a:pt x="920" y="301"/>
                  </a:lnTo>
                  <a:lnTo>
                    <a:pt x="924" y="292"/>
                  </a:lnTo>
                  <a:lnTo>
                    <a:pt x="928" y="283"/>
                  </a:lnTo>
                  <a:lnTo>
                    <a:pt x="929" y="279"/>
                  </a:lnTo>
                  <a:lnTo>
                    <a:pt x="930" y="274"/>
                  </a:lnTo>
                  <a:lnTo>
                    <a:pt x="930" y="263"/>
                  </a:lnTo>
                  <a:lnTo>
                    <a:pt x="930" y="251"/>
                  </a:lnTo>
                  <a:lnTo>
                    <a:pt x="928" y="242"/>
                  </a:lnTo>
                  <a:lnTo>
                    <a:pt x="926" y="238"/>
                  </a:lnTo>
                  <a:lnTo>
                    <a:pt x="924" y="233"/>
                  </a:lnTo>
                  <a:lnTo>
                    <a:pt x="920" y="225"/>
                  </a:lnTo>
                  <a:lnTo>
                    <a:pt x="917" y="221"/>
                  </a:lnTo>
                  <a:lnTo>
                    <a:pt x="915" y="217"/>
                  </a:lnTo>
                  <a:lnTo>
                    <a:pt x="908" y="210"/>
                  </a:lnTo>
                  <a:lnTo>
                    <a:pt x="900" y="205"/>
                  </a:lnTo>
                  <a:lnTo>
                    <a:pt x="893" y="200"/>
                  </a:lnTo>
                  <a:lnTo>
                    <a:pt x="888" y="197"/>
                  </a:lnTo>
                  <a:lnTo>
                    <a:pt x="884" y="195"/>
                  </a:lnTo>
                  <a:lnTo>
                    <a:pt x="881" y="193"/>
                  </a:lnTo>
                  <a:lnTo>
                    <a:pt x="878" y="191"/>
                  </a:lnTo>
                  <a:lnTo>
                    <a:pt x="874" y="188"/>
                  </a:lnTo>
                  <a:lnTo>
                    <a:pt x="873" y="184"/>
                  </a:lnTo>
                  <a:lnTo>
                    <a:pt x="871" y="180"/>
                  </a:lnTo>
                  <a:lnTo>
                    <a:pt x="871" y="176"/>
                  </a:lnTo>
                  <a:lnTo>
                    <a:pt x="871" y="171"/>
                  </a:lnTo>
                  <a:lnTo>
                    <a:pt x="872" y="167"/>
                  </a:lnTo>
                  <a:lnTo>
                    <a:pt x="880" y="149"/>
                  </a:lnTo>
                  <a:lnTo>
                    <a:pt x="882" y="145"/>
                  </a:lnTo>
                  <a:lnTo>
                    <a:pt x="884" y="142"/>
                  </a:lnTo>
                  <a:lnTo>
                    <a:pt x="887" y="140"/>
                  </a:lnTo>
                  <a:lnTo>
                    <a:pt x="892" y="137"/>
                  </a:lnTo>
                  <a:lnTo>
                    <a:pt x="895" y="136"/>
                  </a:lnTo>
                  <a:lnTo>
                    <a:pt x="899" y="135"/>
                  </a:lnTo>
                  <a:lnTo>
                    <a:pt x="904" y="136"/>
                  </a:lnTo>
                  <a:lnTo>
                    <a:pt x="908" y="137"/>
                  </a:lnTo>
                  <a:lnTo>
                    <a:pt x="917" y="140"/>
                  </a:lnTo>
                  <a:lnTo>
                    <a:pt x="921" y="141"/>
                  </a:lnTo>
                  <a:lnTo>
                    <a:pt x="927" y="142"/>
                  </a:lnTo>
                  <a:lnTo>
                    <a:pt x="935" y="142"/>
                  </a:lnTo>
                  <a:lnTo>
                    <a:pt x="945" y="142"/>
                  </a:lnTo>
                  <a:lnTo>
                    <a:pt x="954" y="140"/>
                  </a:lnTo>
                  <a:lnTo>
                    <a:pt x="963" y="136"/>
                  </a:lnTo>
                  <a:lnTo>
                    <a:pt x="967" y="135"/>
                  </a:lnTo>
                  <a:lnTo>
                    <a:pt x="971" y="133"/>
                  </a:lnTo>
                  <a:lnTo>
                    <a:pt x="979" y="128"/>
                  </a:lnTo>
                  <a:lnTo>
                    <a:pt x="995" y="111"/>
                  </a:lnTo>
                  <a:lnTo>
                    <a:pt x="997" y="107"/>
                  </a:lnTo>
                  <a:lnTo>
                    <a:pt x="1000" y="103"/>
                  </a:lnTo>
                  <a:lnTo>
                    <a:pt x="1004" y="95"/>
                  </a:lnTo>
                  <a:lnTo>
                    <a:pt x="1006" y="85"/>
                  </a:lnTo>
                  <a:lnTo>
                    <a:pt x="1008" y="76"/>
                  </a:lnTo>
                  <a:lnTo>
                    <a:pt x="1008" y="72"/>
                  </a:lnTo>
                  <a:lnTo>
                    <a:pt x="1008" y="68"/>
                  </a:lnTo>
                  <a:lnTo>
                    <a:pt x="1007" y="58"/>
                  </a:lnTo>
                  <a:lnTo>
                    <a:pt x="1005" y="49"/>
                  </a:lnTo>
                  <a:lnTo>
                    <a:pt x="1003" y="40"/>
                  </a:lnTo>
                  <a:lnTo>
                    <a:pt x="1001" y="36"/>
                  </a:lnTo>
                  <a:lnTo>
                    <a:pt x="1001" y="34"/>
                  </a:lnTo>
                  <a:lnTo>
                    <a:pt x="1001" y="32"/>
                  </a:lnTo>
                  <a:lnTo>
                    <a:pt x="1001" y="27"/>
                  </a:lnTo>
                  <a:lnTo>
                    <a:pt x="1003" y="23"/>
                  </a:lnTo>
                  <a:lnTo>
                    <a:pt x="1004" y="20"/>
                  </a:lnTo>
                  <a:lnTo>
                    <a:pt x="1007" y="16"/>
                  </a:lnTo>
                  <a:lnTo>
                    <a:pt x="1010" y="13"/>
                  </a:lnTo>
                  <a:lnTo>
                    <a:pt x="1014" y="11"/>
                  </a:lnTo>
                  <a:lnTo>
                    <a:pt x="1030" y="4"/>
                  </a:lnTo>
                  <a:lnTo>
                    <a:pt x="1034" y="2"/>
                  </a:lnTo>
                  <a:lnTo>
                    <a:pt x="1039" y="2"/>
                  </a:lnTo>
                  <a:lnTo>
                    <a:pt x="1042" y="2"/>
                  </a:lnTo>
                  <a:lnTo>
                    <a:pt x="1046" y="3"/>
                  </a:lnTo>
                  <a:lnTo>
                    <a:pt x="1051" y="6"/>
                  </a:lnTo>
                  <a:lnTo>
                    <a:pt x="1054" y="8"/>
                  </a:lnTo>
                  <a:lnTo>
                    <a:pt x="1056" y="11"/>
                  </a:lnTo>
                  <a:lnTo>
                    <a:pt x="1058" y="15"/>
                  </a:lnTo>
                  <a:lnTo>
                    <a:pt x="1063" y="24"/>
                  </a:lnTo>
                  <a:lnTo>
                    <a:pt x="1065" y="27"/>
                  </a:lnTo>
                  <a:lnTo>
                    <a:pt x="1068" y="32"/>
                  </a:lnTo>
                  <a:lnTo>
                    <a:pt x="1075" y="38"/>
                  </a:lnTo>
                  <a:lnTo>
                    <a:pt x="1081" y="45"/>
                  </a:lnTo>
                  <a:lnTo>
                    <a:pt x="1089" y="49"/>
                  </a:lnTo>
                  <a:lnTo>
                    <a:pt x="1098" y="53"/>
                  </a:lnTo>
                  <a:lnTo>
                    <a:pt x="1106" y="57"/>
                  </a:lnTo>
                  <a:lnTo>
                    <a:pt x="1115" y="59"/>
                  </a:lnTo>
                  <a:lnTo>
                    <a:pt x="1140" y="59"/>
                  </a:lnTo>
                  <a:lnTo>
                    <a:pt x="1149" y="57"/>
                  </a:lnTo>
                  <a:lnTo>
                    <a:pt x="1153" y="55"/>
                  </a:lnTo>
                  <a:lnTo>
                    <a:pt x="1157" y="52"/>
                  </a:lnTo>
                  <a:lnTo>
                    <a:pt x="1166" y="48"/>
                  </a:lnTo>
                  <a:lnTo>
                    <a:pt x="1169" y="46"/>
                  </a:lnTo>
                  <a:lnTo>
                    <a:pt x="1174" y="44"/>
                  </a:lnTo>
                  <a:lnTo>
                    <a:pt x="1180" y="37"/>
                  </a:lnTo>
                  <a:lnTo>
                    <a:pt x="1186" y="30"/>
                  </a:lnTo>
                  <a:lnTo>
                    <a:pt x="1191" y="22"/>
                  </a:lnTo>
                  <a:lnTo>
                    <a:pt x="1193" y="18"/>
                  </a:lnTo>
                  <a:lnTo>
                    <a:pt x="1196" y="13"/>
                  </a:lnTo>
                  <a:lnTo>
                    <a:pt x="1198" y="10"/>
                  </a:lnTo>
                  <a:lnTo>
                    <a:pt x="1200" y="7"/>
                  </a:lnTo>
                  <a:lnTo>
                    <a:pt x="1203" y="3"/>
                  </a:lnTo>
                  <a:lnTo>
                    <a:pt x="1206" y="1"/>
                  </a:lnTo>
                  <a:lnTo>
                    <a:pt x="1211" y="0"/>
                  </a:lnTo>
                  <a:lnTo>
                    <a:pt x="1215" y="0"/>
                  </a:lnTo>
                  <a:lnTo>
                    <a:pt x="1219" y="0"/>
                  </a:lnTo>
                  <a:lnTo>
                    <a:pt x="1224" y="1"/>
                  </a:lnTo>
                  <a:lnTo>
                    <a:pt x="1241" y="9"/>
                  </a:lnTo>
                  <a:lnTo>
                    <a:pt x="1246" y="11"/>
                  </a:lnTo>
                  <a:lnTo>
                    <a:pt x="1249" y="13"/>
                  </a:lnTo>
                  <a:lnTo>
                    <a:pt x="1251" y="16"/>
                  </a:lnTo>
                  <a:lnTo>
                    <a:pt x="1253" y="21"/>
                  </a:lnTo>
                  <a:lnTo>
                    <a:pt x="1254" y="24"/>
                  </a:lnTo>
                  <a:lnTo>
                    <a:pt x="1255" y="28"/>
                  </a:lnTo>
                  <a:lnTo>
                    <a:pt x="1254" y="33"/>
                  </a:lnTo>
                  <a:lnTo>
                    <a:pt x="1253" y="37"/>
                  </a:lnTo>
                  <a:lnTo>
                    <a:pt x="1252" y="42"/>
                  </a:lnTo>
                  <a:lnTo>
                    <a:pt x="1251" y="46"/>
                  </a:lnTo>
                  <a:lnTo>
                    <a:pt x="1250" y="50"/>
                  </a:lnTo>
                  <a:lnTo>
                    <a:pt x="1249" y="55"/>
                  </a:lnTo>
                  <a:lnTo>
                    <a:pt x="1249" y="64"/>
                  </a:lnTo>
                  <a:lnTo>
                    <a:pt x="1249" y="73"/>
                  </a:lnTo>
                  <a:lnTo>
                    <a:pt x="1251" y="83"/>
                  </a:lnTo>
                  <a:lnTo>
                    <a:pt x="1252" y="87"/>
                  </a:lnTo>
                  <a:lnTo>
                    <a:pt x="1254" y="92"/>
                  </a:lnTo>
                  <a:lnTo>
                    <a:pt x="1255" y="96"/>
                  </a:lnTo>
                  <a:lnTo>
                    <a:pt x="1258" y="99"/>
                  </a:lnTo>
                  <a:lnTo>
                    <a:pt x="1263" y="108"/>
                  </a:lnTo>
                  <a:lnTo>
                    <a:pt x="1279" y="123"/>
                  </a:lnTo>
                  <a:lnTo>
                    <a:pt x="1284" y="127"/>
                  </a:lnTo>
                  <a:lnTo>
                    <a:pt x="1288" y="129"/>
                  </a:lnTo>
                  <a:lnTo>
                    <a:pt x="1296" y="132"/>
                  </a:lnTo>
                  <a:lnTo>
                    <a:pt x="1306" y="135"/>
                  </a:lnTo>
                  <a:lnTo>
                    <a:pt x="1314" y="136"/>
                  </a:lnTo>
                  <a:lnTo>
                    <a:pt x="1319" y="136"/>
                  </a:lnTo>
                  <a:lnTo>
                    <a:pt x="1323" y="137"/>
                  </a:lnTo>
                  <a:lnTo>
                    <a:pt x="1333" y="136"/>
                  </a:lnTo>
                  <a:lnTo>
                    <a:pt x="1341" y="134"/>
                  </a:lnTo>
                  <a:lnTo>
                    <a:pt x="1350" y="131"/>
                  </a:lnTo>
                  <a:lnTo>
                    <a:pt x="1355" y="130"/>
                  </a:lnTo>
                  <a:lnTo>
                    <a:pt x="1359" y="130"/>
                  </a:lnTo>
                  <a:lnTo>
                    <a:pt x="1363" y="130"/>
                  </a:lnTo>
                  <a:lnTo>
                    <a:pt x="1368" y="131"/>
                  </a:lnTo>
                  <a:lnTo>
                    <a:pt x="1371" y="133"/>
                  </a:lnTo>
                  <a:lnTo>
                    <a:pt x="1374" y="135"/>
                  </a:lnTo>
                  <a:lnTo>
                    <a:pt x="1376" y="138"/>
                  </a:lnTo>
                  <a:lnTo>
                    <a:pt x="1378" y="143"/>
                  </a:lnTo>
                  <a:lnTo>
                    <a:pt x="1386" y="160"/>
                  </a:lnTo>
                  <a:lnTo>
                    <a:pt x="1387" y="165"/>
                  </a:lnTo>
                  <a:lnTo>
                    <a:pt x="1388" y="168"/>
                  </a:lnTo>
                  <a:lnTo>
                    <a:pt x="1387" y="172"/>
                  </a:lnTo>
                  <a:lnTo>
                    <a:pt x="1386" y="177"/>
                  </a:lnTo>
                  <a:lnTo>
                    <a:pt x="1385" y="180"/>
                  </a:lnTo>
                  <a:lnTo>
                    <a:pt x="1382" y="183"/>
                  </a:lnTo>
                  <a:lnTo>
                    <a:pt x="1378" y="186"/>
                  </a:lnTo>
                  <a:lnTo>
                    <a:pt x="1375" y="189"/>
                  </a:lnTo>
                  <a:lnTo>
                    <a:pt x="1366" y="193"/>
                  </a:lnTo>
                  <a:lnTo>
                    <a:pt x="1359" y="198"/>
                  </a:lnTo>
                  <a:lnTo>
                    <a:pt x="1352" y="205"/>
                  </a:lnTo>
                  <a:lnTo>
                    <a:pt x="1347" y="212"/>
                  </a:lnTo>
                  <a:lnTo>
                    <a:pt x="1341" y="219"/>
                  </a:lnTo>
                  <a:lnTo>
                    <a:pt x="1337" y="227"/>
                  </a:lnTo>
                  <a:lnTo>
                    <a:pt x="1334" y="235"/>
                  </a:lnTo>
                  <a:lnTo>
                    <a:pt x="1333" y="241"/>
                  </a:lnTo>
                  <a:lnTo>
                    <a:pt x="1333" y="245"/>
                  </a:lnTo>
                  <a:lnTo>
                    <a:pt x="1333" y="268"/>
                  </a:lnTo>
                  <a:lnTo>
                    <a:pt x="1335" y="278"/>
                  </a:lnTo>
                  <a:lnTo>
                    <a:pt x="1338" y="287"/>
                  </a:lnTo>
                  <a:lnTo>
                    <a:pt x="1343" y="294"/>
                  </a:lnTo>
                  <a:lnTo>
                    <a:pt x="1345" y="299"/>
                  </a:lnTo>
                  <a:lnTo>
                    <a:pt x="1348" y="302"/>
                  </a:lnTo>
                  <a:lnTo>
                    <a:pt x="1353" y="308"/>
                  </a:lnTo>
                  <a:lnTo>
                    <a:pt x="1361" y="315"/>
                  </a:lnTo>
                  <a:lnTo>
                    <a:pt x="1369" y="319"/>
                  </a:lnTo>
                  <a:lnTo>
                    <a:pt x="1373" y="322"/>
                  </a:lnTo>
                  <a:lnTo>
                    <a:pt x="1377" y="324"/>
                  </a:lnTo>
                  <a:close/>
                  <a:moveTo>
                    <a:pt x="1056" y="769"/>
                  </a:moveTo>
                  <a:lnTo>
                    <a:pt x="1061" y="771"/>
                  </a:lnTo>
                  <a:lnTo>
                    <a:pt x="1065" y="771"/>
                  </a:lnTo>
                  <a:lnTo>
                    <a:pt x="1069" y="773"/>
                  </a:lnTo>
                  <a:lnTo>
                    <a:pt x="1074" y="774"/>
                  </a:lnTo>
                  <a:lnTo>
                    <a:pt x="1080" y="778"/>
                  </a:lnTo>
                  <a:lnTo>
                    <a:pt x="1083" y="780"/>
                  </a:lnTo>
                  <a:lnTo>
                    <a:pt x="1087" y="784"/>
                  </a:lnTo>
                  <a:lnTo>
                    <a:pt x="1089" y="787"/>
                  </a:lnTo>
                  <a:lnTo>
                    <a:pt x="1091" y="790"/>
                  </a:lnTo>
                  <a:lnTo>
                    <a:pt x="1093" y="795"/>
                  </a:lnTo>
                  <a:lnTo>
                    <a:pt x="1094" y="798"/>
                  </a:lnTo>
                  <a:lnTo>
                    <a:pt x="1096" y="802"/>
                  </a:lnTo>
                  <a:lnTo>
                    <a:pt x="1096" y="807"/>
                  </a:lnTo>
                  <a:lnTo>
                    <a:pt x="1098" y="810"/>
                  </a:lnTo>
                  <a:lnTo>
                    <a:pt x="1098" y="814"/>
                  </a:lnTo>
                  <a:lnTo>
                    <a:pt x="1095" y="853"/>
                  </a:lnTo>
                  <a:lnTo>
                    <a:pt x="1095" y="858"/>
                  </a:lnTo>
                  <a:lnTo>
                    <a:pt x="1094" y="862"/>
                  </a:lnTo>
                  <a:lnTo>
                    <a:pt x="1093" y="865"/>
                  </a:lnTo>
                  <a:lnTo>
                    <a:pt x="1091" y="870"/>
                  </a:lnTo>
                  <a:lnTo>
                    <a:pt x="1089" y="873"/>
                  </a:lnTo>
                  <a:lnTo>
                    <a:pt x="1087" y="876"/>
                  </a:lnTo>
                  <a:lnTo>
                    <a:pt x="1081" y="883"/>
                  </a:lnTo>
                  <a:lnTo>
                    <a:pt x="1075" y="888"/>
                  </a:lnTo>
                  <a:lnTo>
                    <a:pt x="1067" y="892"/>
                  </a:lnTo>
                  <a:lnTo>
                    <a:pt x="1063" y="893"/>
                  </a:lnTo>
                  <a:lnTo>
                    <a:pt x="1059" y="894"/>
                  </a:lnTo>
                  <a:lnTo>
                    <a:pt x="1055" y="895"/>
                  </a:lnTo>
                  <a:lnTo>
                    <a:pt x="1051" y="895"/>
                  </a:lnTo>
                  <a:lnTo>
                    <a:pt x="1041" y="895"/>
                  </a:lnTo>
                  <a:lnTo>
                    <a:pt x="1031" y="895"/>
                  </a:lnTo>
                  <a:lnTo>
                    <a:pt x="1022" y="896"/>
                  </a:lnTo>
                  <a:lnTo>
                    <a:pt x="1013" y="898"/>
                  </a:lnTo>
                  <a:lnTo>
                    <a:pt x="1004" y="900"/>
                  </a:lnTo>
                  <a:lnTo>
                    <a:pt x="995" y="902"/>
                  </a:lnTo>
                  <a:lnTo>
                    <a:pt x="986" y="907"/>
                  </a:lnTo>
                  <a:lnTo>
                    <a:pt x="978" y="910"/>
                  </a:lnTo>
                  <a:lnTo>
                    <a:pt x="970" y="914"/>
                  </a:lnTo>
                  <a:lnTo>
                    <a:pt x="963" y="920"/>
                  </a:lnTo>
                  <a:lnTo>
                    <a:pt x="955" y="925"/>
                  </a:lnTo>
                  <a:lnTo>
                    <a:pt x="947" y="931"/>
                  </a:lnTo>
                  <a:lnTo>
                    <a:pt x="941" y="937"/>
                  </a:lnTo>
                  <a:lnTo>
                    <a:pt x="934" y="944"/>
                  </a:lnTo>
                  <a:lnTo>
                    <a:pt x="929" y="951"/>
                  </a:lnTo>
                  <a:lnTo>
                    <a:pt x="923" y="959"/>
                  </a:lnTo>
                  <a:lnTo>
                    <a:pt x="919" y="968"/>
                  </a:lnTo>
                  <a:lnTo>
                    <a:pt x="914" y="980"/>
                  </a:lnTo>
                  <a:lnTo>
                    <a:pt x="904" y="1000"/>
                  </a:lnTo>
                  <a:lnTo>
                    <a:pt x="900" y="1010"/>
                  </a:lnTo>
                  <a:lnTo>
                    <a:pt x="899" y="1019"/>
                  </a:lnTo>
                  <a:lnTo>
                    <a:pt x="897" y="1038"/>
                  </a:lnTo>
                  <a:lnTo>
                    <a:pt x="897" y="1047"/>
                  </a:lnTo>
                  <a:lnTo>
                    <a:pt x="898" y="1056"/>
                  </a:lnTo>
                  <a:lnTo>
                    <a:pt x="899" y="1066"/>
                  </a:lnTo>
                  <a:lnTo>
                    <a:pt x="902" y="1075"/>
                  </a:lnTo>
                  <a:lnTo>
                    <a:pt x="904" y="1083"/>
                  </a:lnTo>
                  <a:lnTo>
                    <a:pt x="907" y="1092"/>
                  </a:lnTo>
                  <a:lnTo>
                    <a:pt x="910" y="1101"/>
                  </a:lnTo>
                  <a:lnTo>
                    <a:pt x="914" y="1109"/>
                  </a:lnTo>
                  <a:lnTo>
                    <a:pt x="919" y="1117"/>
                  </a:lnTo>
                  <a:lnTo>
                    <a:pt x="923" y="1125"/>
                  </a:lnTo>
                  <a:lnTo>
                    <a:pt x="929" y="1132"/>
                  </a:lnTo>
                  <a:lnTo>
                    <a:pt x="935" y="1140"/>
                  </a:lnTo>
                  <a:lnTo>
                    <a:pt x="939" y="1143"/>
                  </a:lnTo>
                  <a:lnTo>
                    <a:pt x="941" y="1147"/>
                  </a:lnTo>
                  <a:lnTo>
                    <a:pt x="943" y="1151"/>
                  </a:lnTo>
                  <a:lnTo>
                    <a:pt x="944" y="1155"/>
                  </a:lnTo>
                  <a:lnTo>
                    <a:pt x="945" y="1158"/>
                  </a:lnTo>
                  <a:lnTo>
                    <a:pt x="946" y="1163"/>
                  </a:lnTo>
                  <a:lnTo>
                    <a:pt x="946" y="1167"/>
                  </a:lnTo>
                  <a:lnTo>
                    <a:pt x="946" y="1172"/>
                  </a:lnTo>
                  <a:lnTo>
                    <a:pt x="945" y="1179"/>
                  </a:lnTo>
                  <a:lnTo>
                    <a:pt x="944" y="1184"/>
                  </a:lnTo>
                  <a:lnTo>
                    <a:pt x="942" y="1188"/>
                  </a:lnTo>
                  <a:lnTo>
                    <a:pt x="941" y="1191"/>
                  </a:lnTo>
                  <a:lnTo>
                    <a:pt x="939" y="1194"/>
                  </a:lnTo>
                  <a:lnTo>
                    <a:pt x="935" y="1199"/>
                  </a:lnTo>
                  <a:lnTo>
                    <a:pt x="932" y="1201"/>
                  </a:lnTo>
                  <a:lnTo>
                    <a:pt x="904" y="1227"/>
                  </a:lnTo>
                  <a:lnTo>
                    <a:pt x="900" y="1230"/>
                  </a:lnTo>
                  <a:lnTo>
                    <a:pt x="897" y="1233"/>
                  </a:lnTo>
                  <a:lnTo>
                    <a:pt x="890" y="1236"/>
                  </a:lnTo>
                  <a:lnTo>
                    <a:pt x="885" y="1237"/>
                  </a:lnTo>
                  <a:lnTo>
                    <a:pt x="881" y="1238"/>
                  </a:lnTo>
                  <a:lnTo>
                    <a:pt x="877" y="1239"/>
                  </a:lnTo>
                  <a:lnTo>
                    <a:pt x="872" y="1239"/>
                  </a:lnTo>
                  <a:lnTo>
                    <a:pt x="869" y="1238"/>
                  </a:lnTo>
                  <a:lnTo>
                    <a:pt x="865" y="1238"/>
                  </a:lnTo>
                  <a:lnTo>
                    <a:pt x="860" y="1237"/>
                  </a:lnTo>
                  <a:lnTo>
                    <a:pt x="856" y="1235"/>
                  </a:lnTo>
                  <a:lnTo>
                    <a:pt x="853" y="1233"/>
                  </a:lnTo>
                  <a:lnTo>
                    <a:pt x="849" y="1230"/>
                  </a:lnTo>
                  <a:lnTo>
                    <a:pt x="846" y="1228"/>
                  </a:lnTo>
                  <a:lnTo>
                    <a:pt x="843" y="1225"/>
                  </a:lnTo>
                  <a:lnTo>
                    <a:pt x="836" y="1218"/>
                  </a:lnTo>
                  <a:lnTo>
                    <a:pt x="829" y="1212"/>
                  </a:lnTo>
                  <a:lnTo>
                    <a:pt x="821" y="1205"/>
                  </a:lnTo>
                  <a:lnTo>
                    <a:pt x="814" y="1201"/>
                  </a:lnTo>
                  <a:lnTo>
                    <a:pt x="806" y="1196"/>
                  </a:lnTo>
                  <a:lnTo>
                    <a:pt x="798" y="1191"/>
                  </a:lnTo>
                  <a:lnTo>
                    <a:pt x="789" y="1188"/>
                  </a:lnTo>
                  <a:lnTo>
                    <a:pt x="781" y="1185"/>
                  </a:lnTo>
                  <a:lnTo>
                    <a:pt x="772" y="1181"/>
                  </a:lnTo>
                  <a:lnTo>
                    <a:pt x="763" y="1179"/>
                  </a:lnTo>
                  <a:lnTo>
                    <a:pt x="755" y="1178"/>
                  </a:lnTo>
                  <a:lnTo>
                    <a:pt x="745" y="1177"/>
                  </a:lnTo>
                  <a:lnTo>
                    <a:pt x="736" y="1177"/>
                  </a:lnTo>
                  <a:lnTo>
                    <a:pt x="726" y="1177"/>
                  </a:lnTo>
                  <a:lnTo>
                    <a:pt x="718" y="1177"/>
                  </a:lnTo>
                  <a:lnTo>
                    <a:pt x="708" y="1179"/>
                  </a:lnTo>
                  <a:lnTo>
                    <a:pt x="686" y="1188"/>
                  </a:lnTo>
                  <a:lnTo>
                    <a:pt x="673" y="1192"/>
                  </a:lnTo>
                  <a:lnTo>
                    <a:pt x="664" y="1194"/>
                  </a:lnTo>
                  <a:lnTo>
                    <a:pt x="655" y="1200"/>
                  </a:lnTo>
                  <a:lnTo>
                    <a:pt x="648" y="1205"/>
                  </a:lnTo>
                  <a:lnTo>
                    <a:pt x="640" y="1211"/>
                  </a:lnTo>
                  <a:lnTo>
                    <a:pt x="634" y="1217"/>
                  </a:lnTo>
                  <a:lnTo>
                    <a:pt x="627" y="1224"/>
                  </a:lnTo>
                  <a:lnTo>
                    <a:pt x="622" y="1230"/>
                  </a:lnTo>
                  <a:lnTo>
                    <a:pt x="615" y="1238"/>
                  </a:lnTo>
                  <a:lnTo>
                    <a:pt x="611" y="1246"/>
                  </a:lnTo>
                  <a:lnTo>
                    <a:pt x="606" y="1253"/>
                  </a:lnTo>
                  <a:lnTo>
                    <a:pt x="602" y="1262"/>
                  </a:lnTo>
                  <a:lnTo>
                    <a:pt x="598" y="1271"/>
                  </a:lnTo>
                  <a:lnTo>
                    <a:pt x="596" y="1279"/>
                  </a:lnTo>
                  <a:lnTo>
                    <a:pt x="592" y="1288"/>
                  </a:lnTo>
                  <a:lnTo>
                    <a:pt x="590" y="1297"/>
                  </a:lnTo>
                  <a:lnTo>
                    <a:pt x="589" y="1307"/>
                  </a:lnTo>
                  <a:lnTo>
                    <a:pt x="588" y="1315"/>
                  </a:lnTo>
                  <a:lnTo>
                    <a:pt x="588" y="1321"/>
                  </a:lnTo>
                  <a:lnTo>
                    <a:pt x="587" y="1325"/>
                  </a:lnTo>
                  <a:lnTo>
                    <a:pt x="586" y="1330"/>
                  </a:lnTo>
                  <a:lnTo>
                    <a:pt x="584" y="1334"/>
                  </a:lnTo>
                  <a:lnTo>
                    <a:pt x="579" y="1342"/>
                  </a:lnTo>
                  <a:lnTo>
                    <a:pt x="577" y="1345"/>
                  </a:lnTo>
                  <a:lnTo>
                    <a:pt x="574" y="1348"/>
                  </a:lnTo>
                  <a:lnTo>
                    <a:pt x="567" y="1352"/>
                  </a:lnTo>
                  <a:lnTo>
                    <a:pt x="560" y="1357"/>
                  </a:lnTo>
                  <a:lnTo>
                    <a:pt x="555" y="1358"/>
                  </a:lnTo>
                  <a:lnTo>
                    <a:pt x="551" y="1359"/>
                  </a:lnTo>
                  <a:lnTo>
                    <a:pt x="547" y="1359"/>
                  </a:lnTo>
                  <a:lnTo>
                    <a:pt x="542" y="1359"/>
                  </a:lnTo>
                  <a:lnTo>
                    <a:pt x="505" y="1357"/>
                  </a:lnTo>
                  <a:lnTo>
                    <a:pt x="501" y="1357"/>
                  </a:lnTo>
                  <a:lnTo>
                    <a:pt x="497" y="1356"/>
                  </a:lnTo>
                  <a:lnTo>
                    <a:pt x="492" y="1355"/>
                  </a:lnTo>
                  <a:lnTo>
                    <a:pt x="488" y="1352"/>
                  </a:lnTo>
                  <a:lnTo>
                    <a:pt x="485" y="1351"/>
                  </a:lnTo>
                  <a:lnTo>
                    <a:pt x="481" y="1349"/>
                  </a:lnTo>
                  <a:lnTo>
                    <a:pt x="475" y="1343"/>
                  </a:lnTo>
                  <a:lnTo>
                    <a:pt x="469" y="1336"/>
                  </a:lnTo>
                  <a:lnTo>
                    <a:pt x="466" y="1328"/>
                  </a:lnTo>
                  <a:lnTo>
                    <a:pt x="465" y="1325"/>
                  </a:lnTo>
                  <a:lnTo>
                    <a:pt x="464" y="1323"/>
                  </a:lnTo>
                  <a:lnTo>
                    <a:pt x="464" y="1321"/>
                  </a:lnTo>
                  <a:lnTo>
                    <a:pt x="463" y="1317"/>
                  </a:lnTo>
                  <a:lnTo>
                    <a:pt x="463" y="1312"/>
                  </a:lnTo>
                  <a:lnTo>
                    <a:pt x="463" y="1302"/>
                  </a:lnTo>
                  <a:lnTo>
                    <a:pt x="463" y="1293"/>
                  </a:lnTo>
                  <a:lnTo>
                    <a:pt x="462" y="1284"/>
                  </a:lnTo>
                  <a:lnTo>
                    <a:pt x="459" y="1274"/>
                  </a:lnTo>
                  <a:lnTo>
                    <a:pt x="457" y="1265"/>
                  </a:lnTo>
                  <a:lnTo>
                    <a:pt x="454" y="1257"/>
                  </a:lnTo>
                  <a:lnTo>
                    <a:pt x="451" y="1248"/>
                  </a:lnTo>
                  <a:lnTo>
                    <a:pt x="448" y="1240"/>
                  </a:lnTo>
                  <a:lnTo>
                    <a:pt x="443" y="1232"/>
                  </a:lnTo>
                  <a:lnTo>
                    <a:pt x="438" y="1224"/>
                  </a:lnTo>
                  <a:lnTo>
                    <a:pt x="432" y="1216"/>
                  </a:lnTo>
                  <a:lnTo>
                    <a:pt x="427" y="1209"/>
                  </a:lnTo>
                  <a:lnTo>
                    <a:pt x="420" y="1202"/>
                  </a:lnTo>
                  <a:lnTo>
                    <a:pt x="414" y="1196"/>
                  </a:lnTo>
                  <a:lnTo>
                    <a:pt x="406" y="1190"/>
                  </a:lnTo>
                  <a:lnTo>
                    <a:pt x="399" y="1185"/>
                  </a:lnTo>
                  <a:lnTo>
                    <a:pt x="390" y="1180"/>
                  </a:lnTo>
                  <a:lnTo>
                    <a:pt x="378" y="1175"/>
                  </a:lnTo>
                  <a:lnTo>
                    <a:pt x="357" y="1165"/>
                  </a:lnTo>
                  <a:lnTo>
                    <a:pt x="347" y="1163"/>
                  </a:lnTo>
                  <a:lnTo>
                    <a:pt x="339" y="1161"/>
                  </a:lnTo>
                  <a:lnTo>
                    <a:pt x="320" y="1158"/>
                  </a:lnTo>
                  <a:lnTo>
                    <a:pt x="310" y="1160"/>
                  </a:lnTo>
                  <a:lnTo>
                    <a:pt x="302" y="1160"/>
                  </a:lnTo>
                  <a:lnTo>
                    <a:pt x="292" y="1161"/>
                  </a:lnTo>
                  <a:lnTo>
                    <a:pt x="283" y="1163"/>
                  </a:lnTo>
                  <a:lnTo>
                    <a:pt x="274" y="1165"/>
                  </a:lnTo>
                  <a:lnTo>
                    <a:pt x="266" y="1168"/>
                  </a:lnTo>
                  <a:lnTo>
                    <a:pt x="257" y="1172"/>
                  </a:lnTo>
                  <a:lnTo>
                    <a:pt x="248" y="1176"/>
                  </a:lnTo>
                  <a:lnTo>
                    <a:pt x="241" y="1180"/>
                  </a:lnTo>
                  <a:lnTo>
                    <a:pt x="233" y="1185"/>
                  </a:lnTo>
                  <a:lnTo>
                    <a:pt x="225" y="1190"/>
                  </a:lnTo>
                  <a:lnTo>
                    <a:pt x="218" y="1197"/>
                  </a:lnTo>
                  <a:lnTo>
                    <a:pt x="215" y="1200"/>
                  </a:lnTo>
                  <a:lnTo>
                    <a:pt x="211" y="1202"/>
                  </a:lnTo>
                  <a:lnTo>
                    <a:pt x="207" y="1204"/>
                  </a:lnTo>
                  <a:lnTo>
                    <a:pt x="204" y="1205"/>
                  </a:lnTo>
                  <a:lnTo>
                    <a:pt x="199" y="1206"/>
                  </a:lnTo>
                  <a:lnTo>
                    <a:pt x="195" y="1208"/>
                  </a:lnTo>
                  <a:lnTo>
                    <a:pt x="191" y="1208"/>
                  </a:lnTo>
                  <a:lnTo>
                    <a:pt x="186" y="1208"/>
                  </a:lnTo>
                  <a:lnTo>
                    <a:pt x="179" y="1206"/>
                  </a:lnTo>
                  <a:lnTo>
                    <a:pt x="174" y="1205"/>
                  </a:lnTo>
                  <a:lnTo>
                    <a:pt x="171" y="1204"/>
                  </a:lnTo>
                  <a:lnTo>
                    <a:pt x="167" y="1202"/>
                  </a:lnTo>
                  <a:lnTo>
                    <a:pt x="163" y="1200"/>
                  </a:lnTo>
                  <a:lnTo>
                    <a:pt x="160" y="1197"/>
                  </a:lnTo>
                  <a:lnTo>
                    <a:pt x="157" y="1193"/>
                  </a:lnTo>
                  <a:lnTo>
                    <a:pt x="132" y="1165"/>
                  </a:lnTo>
                  <a:lnTo>
                    <a:pt x="130" y="1162"/>
                  </a:lnTo>
                  <a:lnTo>
                    <a:pt x="126" y="1157"/>
                  </a:lnTo>
                  <a:lnTo>
                    <a:pt x="124" y="1154"/>
                  </a:lnTo>
                  <a:lnTo>
                    <a:pt x="123" y="1150"/>
                  </a:lnTo>
                  <a:lnTo>
                    <a:pt x="122" y="1147"/>
                  </a:lnTo>
                  <a:lnTo>
                    <a:pt x="121" y="1142"/>
                  </a:lnTo>
                  <a:lnTo>
                    <a:pt x="120" y="1138"/>
                  </a:lnTo>
                  <a:lnTo>
                    <a:pt x="120" y="1133"/>
                  </a:lnTo>
                  <a:lnTo>
                    <a:pt x="121" y="1130"/>
                  </a:lnTo>
                  <a:lnTo>
                    <a:pt x="121" y="1126"/>
                  </a:lnTo>
                  <a:lnTo>
                    <a:pt x="122" y="1121"/>
                  </a:lnTo>
                  <a:lnTo>
                    <a:pt x="124" y="1117"/>
                  </a:lnTo>
                  <a:lnTo>
                    <a:pt x="125" y="1114"/>
                  </a:lnTo>
                  <a:lnTo>
                    <a:pt x="127" y="1111"/>
                  </a:lnTo>
                  <a:lnTo>
                    <a:pt x="131" y="1106"/>
                  </a:lnTo>
                  <a:lnTo>
                    <a:pt x="134" y="1103"/>
                  </a:lnTo>
                  <a:lnTo>
                    <a:pt x="140" y="1096"/>
                  </a:lnTo>
                  <a:lnTo>
                    <a:pt x="147" y="1090"/>
                  </a:lnTo>
                  <a:lnTo>
                    <a:pt x="152" y="1082"/>
                  </a:lnTo>
                  <a:lnTo>
                    <a:pt x="158" y="1075"/>
                  </a:lnTo>
                  <a:lnTo>
                    <a:pt x="162" y="1067"/>
                  </a:lnTo>
                  <a:lnTo>
                    <a:pt x="167" y="1058"/>
                  </a:lnTo>
                  <a:lnTo>
                    <a:pt x="170" y="1051"/>
                  </a:lnTo>
                  <a:lnTo>
                    <a:pt x="173" y="1042"/>
                  </a:lnTo>
                  <a:lnTo>
                    <a:pt x="176" y="1033"/>
                  </a:lnTo>
                  <a:lnTo>
                    <a:pt x="177" y="1023"/>
                  </a:lnTo>
                  <a:lnTo>
                    <a:pt x="181" y="1005"/>
                  </a:lnTo>
                  <a:lnTo>
                    <a:pt x="181" y="996"/>
                  </a:lnTo>
                  <a:lnTo>
                    <a:pt x="181" y="986"/>
                  </a:lnTo>
                  <a:lnTo>
                    <a:pt x="180" y="978"/>
                  </a:lnTo>
                  <a:lnTo>
                    <a:pt x="179" y="968"/>
                  </a:lnTo>
                  <a:lnTo>
                    <a:pt x="171" y="946"/>
                  </a:lnTo>
                  <a:lnTo>
                    <a:pt x="162" y="924"/>
                  </a:lnTo>
                  <a:lnTo>
                    <a:pt x="158" y="915"/>
                  </a:lnTo>
                  <a:lnTo>
                    <a:pt x="152" y="908"/>
                  </a:lnTo>
                  <a:lnTo>
                    <a:pt x="146" y="901"/>
                  </a:lnTo>
                  <a:lnTo>
                    <a:pt x="140" y="894"/>
                  </a:lnTo>
                  <a:lnTo>
                    <a:pt x="133" y="887"/>
                  </a:lnTo>
                  <a:lnTo>
                    <a:pt x="126" y="882"/>
                  </a:lnTo>
                  <a:lnTo>
                    <a:pt x="119" y="876"/>
                  </a:lnTo>
                  <a:lnTo>
                    <a:pt x="111" y="871"/>
                  </a:lnTo>
                  <a:lnTo>
                    <a:pt x="103" y="866"/>
                  </a:lnTo>
                  <a:lnTo>
                    <a:pt x="95" y="862"/>
                  </a:lnTo>
                  <a:lnTo>
                    <a:pt x="86" y="859"/>
                  </a:lnTo>
                  <a:lnTo>
                    <a:pt x="77" y="856"/>
                  </a:lnTo>
                  <a:lnTo>
                    <a:pt x="69" y="853"/>
                  </a:lnTo>
                  <a:lnTo>
                    <a:pt x="60" y="851"/>
                  </a:lnTo>
                  <a:lnTo>
                    <a:pt x="50" y="850"/>
                  </a:lnTo>
                  <a:lnTo>
                    <a:pt x="40" y="849"/>
                  </a:lnTo>
                  <a:lnTo>
                    <a:pt x="36" y="849"/>
                  </a:lnTo>
                  <a:lnTo>
                    <a:pt x="32" y="848"/>
                  </a:lnTo>
                  <a:lnTo>
                    <a:pt x="28" y="846"/>
                  </a:lnTo>
                  <a:lnTo>
                    <a:pt x="24" y="845"/>
                  </a:lnTo>
                  <a:lnTo>
                    <a:pt x="21" y="842"/>
                  </a:lnTo>
                  <a:lnTo>
                    <a:pt x="16" y="840"/>
                  </a:lnTo>
                  <a:lnTo>
                    <a:pt x="14" y="837"/>
                  </a:lnTo>
                  <a:lnTo>
                    <a:pt x="11" y="834"/>
                  </a:lnTo>
                  <a:lnTo>
                    <a:pt x="9" y="830"/>
                  </a:lnTo>
                  <a:lnTo>
                    <a:pt x="5" y="827"/>
                  </a:lnTo>
                  <a:lnTo>
                    <a:pt x="2" y="820"/>
                  </a:lnTo>
                  <a:lnTo>
                    <a:pt x="1" y="815"/>
                  </a:lnTo>
                  <a:lnTo>
                    <a:pt x="0" y="811"/>
                  </a:lnTo>
                  <a:lnTo>
                    <a:pt x="0" y="807"/>
                  </a:lnTo>
                  <a:lnTo>
                    <a:pt x="0" y="802"/>
                  </a:lnTo>
                  <a:lnTo>
                    <a:pt x="2" y="765"/>
                  </a:lnTo>
                  <a:lnTo>
                    <a:pt x="2" y="761"/>
                  </a:lnTo>
                  <a:lnTo>
                    <a:pt x="3" y="756"/>
                  </a:lnTo>
                  <a:lnTo>
                    <a:pt x="4" y="752"/>
                  </a:lnTo>
                  <a:lnTo>
                    <a:pt x="7" y="749"/>
                  </a:lnTo>
                  <a:lnTo>
                    <a:pt x="9" y="744"/>
                  </a:lnTo>
                  <a:lnTo>
                    <a:pt x="11" y="741"/>
                  </a:lnTo>
                  <a:lnTo>
                    <a:pt x="16" y="736"/>
                  </a:lnTo>
                  <a:lnTo>
                    <a:pt x="23" y="730"/>
                  </a:lnTo>
                  <a:lnTo>
                    <a:pt x="30" y="726"/>
                  </a:lnTo>
                  <a:lnTo>
                    <a:pt x="35" y="725"/>
                  </a:lnTo>
                  <a:lnTo>
                    <a:pt x="39" y="724"/>
                  </a:lnTo>
                  <a:lnTo>
                    <a:pt x="44" y="724"/>
                  </a:lnTo>
                  <a:lnTo>
                    <a:pt x="48" y="724"/>
                  </a:lnTo>
                  <a:lnTo>
                    <a:pt x="57" y="724"/>
                  </a:lnTo>
                  <a:lnTo>
                    <a:pt x="66" y="723"/>
                  </a:lnTo>
                  <a:lnTo>
                    <a:pt x="75" y="722"/>
                  </a:lnTo>
                  <a:lnTo>
                    <a:pt x="85" y="720"/>
                  </a:lnTo>
                  <a:lnTo>
                    <a:pt x="94" y="717"/>
                  </a:lnTo>
                  <a:lnTo>
                    <a:pt x="102" y="715"/>
                  </a:lnTo>
                  <a:lnTo>
                    <a:pt x="111" y="712"/>
                  </a:lnTo>
                  <a:lnTo>
                    <a:pt x="120" y="707"/>
                  </a:lnTo>
                  <a:lnTo>
                    <a:pt x="127" y="703"/>
                  </a:lnTo>
                  <a:lnTo>
                    <a:pt x="135" y="698"/>
                  </a:lnTo>
                  <a:lnTo>
                    <a:pt x="143" y="692"/>
                  </a:lnTo>
                  <a:lnTo>
                    <a:pt x="149" y="687"/>
                  </a:lnTo>
                  <a:lnTo>
                    <a:pt x="157" y="680"/>
                  </a:lnTo>
                  <a:lnTo>
                    <a:pt x="162" y="674"/>
                  </a:lnTo>
                  <a:lnTo>
                    <a:pt x="169" y="666"/>
                  </a:lnTo>
                  <a:lnTo>
                    <a:pt x="174" y="658"/>
                  </a:lnTo>
                  <a:lnTo>
                    <a:pt x="184" y="637"/>
                  </a:lnTo>
                  <a:lnTo>
                    <a:pt x="194" y="616"/>
                  </a:lnTo>
                  <a:lnTo>
                    <a:pt x="196" y="607"/>
                  </a:lnTo>
                  <a:lnTo>
                    <a:pt x="198" y="597"/>
                  </a:lnTo>
                  <a:lnTo>
                    <a:pt x="199" y="579"/>
                  </a:lnTo>
                  <a:lnTo>
                    <a:pt x="199" y="570"/>
                  </a:lnTo>
                  <a:lnTo>
                    <a:pt x="198" y="560"/>
                  </a:lnTo>
                  <a:lnTo>
                    <a:pt x="197" y="552"/>
                  </a:lnTo>
                  <a:lnTo>
                    <a:pt x="196" y="543"/>
                  </a:lnTo>
                  <a:lnTo>
                    <a:pt x="194" y="533"/>
                  </a:lnTo>
                  <a:lnTo>
                    <a:pt x="191" y="524"/>
                  </a:lnTo>
                  <a:lnTo>
                    <a:pt x="187" y="516"/>
                  </a:lnTo>
                  <a:lnTo>
                    <a:pt x="183" y="508"/>
                  </a:lnTo>
                  <a:lnTo>
                    <a:pt x="179" y="499"/>
                  </a:lnTo>
                  <a:lnTo>
                    <a:pt x="173" y="492"/>
                  </a:lnTo>
                  <a:lnTo>
                    <a:pt x="168" y="484"/>
                  </a:lnTo>
                  <a:lnTo>
                    <a:pt x="161" y="477"/>
                  </a:lnTo>
                  <a:lnTo>
                    <a:pt x="159" y="473"/>
                  </a:lnTo>
                  <a:lnTo>
                    <a:pt x="157" y="470"/>
                  </a:lnTo>
                  <a:lnTo>
                    <a:pt x="155" y="467"/>
                  </a:lnTo>
                  <a:lnTo>
                    <a:pt x="152" y="462"/>
                  </a:lnTo>
                  <a:lnTo>
                    <a:pt x="151" y="458"/>
                  </a:lnTo>
                  <a:lnTo>
                    <a:pt x="151" y="453"/>
                  </a:lnTo>
                  <a:lnTo>
                    <a:pt x="150" y="450"/>
                  </a:lnTo>
                  <a:lnTo>
                    <a:pt x="150" y="446"/>
                  </a:lnTo>
                  <a:lnTo>
                    <a:pt x="151" y="437"/>
                  </a:lnTo>
                  <a:lnTo>
                    <a:pt x="154" y="433"/>
                  </a:lnTo>
                  <a:lnTo>
                    <a:pt x="155" y="429"/>
                  </a:lnTo>
                  <a:lnTo>
                    <a:pt x="157" y="425"/>
                  </a:lnTo>
                  <a:lnTo>
                    <a:pt x="159" y="422"/>
                  </a:lnTo>
                  <a:lnTo>
                    <a:pt x="162" y="419"/>
                  </a:lnTo>
                  <a:lnTo>
                    <a:pt x="164" y="415"/>
                  </a:lnTo>
                  <a:lnTo>
                    <a:pt x="193" y="391"/>
                  </a:lnTo>
                  <a:lnTo>
                    <a:pt x="196" y="388"/>
                  </a:lnTo>
                  <a:lnTo>
                    <a:pt x="200" y="386"/>
                  </a:lnTo>
                  <a:lnTo>
                    <a:pt x="208" y="382"/>
                  </a:lnTo>
                  <a:lnTo>
                    <a:pt x="216" y="380"/>
                  </a:lnTo>
                  <a:lnTo>
                    <a:pt x="220" y="379"/>
                  </a:lnTo>
                  <a:lnTo>
                    <a:pt x="224" y="379"/>
                  </a:lnTo>
                  <a:lnTo>
                    <a:pt x="229" y="379"/>
                  </a:lnTo>
                  <a:lnTo>
                    <a:pt x="233" y="380"/>
                  </a:lnTo>
                  <a:lnTo>
                    <a:pt x="236" y="382"/>
                  </a:lnTo>
                  <a:lnTo>
                    <a:pt x="241" y="384"/>
                  </a:lnTo>
                  <a:lnTo>
                    <a:pt x="244" y="385"/>
                  </a:lnTo>
                  <a:lnTo>
                    <a:pt x="248" y="388"/>
                  </a:lnTo>
                  <a:lnTo>
                    <a:pt x="252" y="390"/>
                  </a:lnTo>
                  <a:lnTo>
                    <a:pt x="255" y="393"/>
                  </a:lnTo>
                  <a:lnTo>
                    <a:pt x="261" y="400"/>
                  </a:lnTo>
                  <a:lnTo>
                    <a:pt x="268" y="407"/>
                  </a:lnTo>
                  <a:lnTo>
                    <a:pt x="275" y="412"/>
                  </a:lnTo>
                  <a:lnTo>
                    <a:pt x="283" y="417"/>
                  </a:lnTo>
                  <a:lnTo>
                    <a:pt x="291" y="422"/>
                  </a:lnTo>
                  <a:lnTo>
                    <a:pt x="299" y="426"/>
                  </a:lnTo>
                  <a:lnTo>
                    <a:pt x="308" y="431"/>
                  </a:lnTo>
                  <a:lnTo>
                    <a:pt x="317" y="434"/>
                  </a:lnTo>
                  <a:lnTo>
                    <a:pt x="326" y="436"/>
                  </a:lnTo>
                  <a:lnTo>
                    <a:pt x="334" y="438"/>
                  </a:lnTo>
                  <a:lnTo>
                    <a:pt x="343" y="439"/>
                  </a:lnTo>
                  <a:lnTo>
                    <a:pt x="353" y="440"/>
                  </a:lnTo>
                  <a:lnTo>
                    <a:pt x="363" y="441"/>
                  </a:lnTo>
                  <a:lnTo>
                    <a:pt x="371" y="440"/>
                  </a:lnTo>
                  <a:lnTo>
                    <a:pt x="381" y="440"/>
                  </a:lnTo>
                  <a:lnTo>
                    <a:pt x="390" y="438"/>
                  </a:lnTo>
                  <a:lnTo>
                    <a:pt x="413" y="431"/>
                  </a:lnTo>
                  <a:lnTo>
                    <a:pt x="434" y="423"/>
                  </a:lnTo>
                  <a:lnTo>
                    <a:pt x="442" y="417"/>
                  </a:lnTo>
                  <a:lnTo>
                    <a:pt x="450" y="412"/>
                  </a:lnTo>
                  <a:lnTo>
                    <a:pt x="457" y="407"/>
                  </a:lnTo>
                  <a:lnTo>
                    <a:pt x="464" y="400"/>
                  </a:lnTo>
                  <a:lnTo>
                    <a:pt x="470" y="393"/>
                  </a:lnTo>
                  <a:lnTo>
                    <a:pt x="477" y="387"/>
                  </a:lnTo>
                  <a:lnTo>
                    <a:pt x="482" y="379"/>
                  </a:lnTo>
                  <a:lnTo>
                    <a:pt x="488" y="372"/>
                  </a:lnTo>
                  <a:lnTo>
                    <a:pt x="492" y="364"/>
                  </a:lnTo>
                  <a:lnTo>
                    <a:pt x="497" y="355"/>
                  </a:lnTo>
                  <a:lnTo>
                    <a:pt x="500" y="347"/>
                  </a:lnTo>
                  <a:lnTo>
                    <a:pt x="503" y="338"/>
                  </a:lnTo>
                  <a:lnTo>
                    <a:pt x="505" y="329"/>
                  </a:lnTo>
                  <a:lnTo>
                    <a:pt x="507" y="320"/>
                  </a:lnTo>
                  <a:lnTo>
                    <a:pt x="508" y="311"/>
                  </a:lnTo>
                  <a:lnTo>
                    <a:pt x="510" y="302"/>
                  </a:lnTo>
                  <a:lnTo>
                    <a:pt x="510" y="297"/>
                  </a:lnTo>
                  <a:lnTo>
                    <a:pt x="511" y="293"/>
                  </a:lnTo>
                  <a:lnTo>
                    <a:pt x="512" y="289"/>
                  </a:lnTo>
                  <a:lnTo>
                    <a:pt x="514" y="285"/>
                  </a:lnTo>
                  <a:lnTo>
                    <a:pt x="518" y="278"/>
                  </a:lnTo>
                  <a:lnTo>
                    <a:pt x="520" y="275"/>
                  </a:lnTo>
                  <a:lnTo>
                    <a:pt x="524" y="271"/>
                  </a:lnTo>
                  <a:lnTo>
                    <a:pt x="527" y="269"/>
                  </a:lnTo>
                  <a:lnTo>
                    <a:pt x="530" y="266"/>
                  </a:lnTo>
                  <a:lnTo>
                    <a:pt x="535" y="265"/>
                  </a:lnTo>
                  <a:lnTo>
                    <a:pt x="538" y="263"/>
                  </a:lnTo>
                  <a:lnTo>
                    <a:pt x="542" y="262"/>
                  </a:lnTo>
                  <a:lnTo>
                    <a:pt x="547" y="261"/>
                  </a:lnTo>
                  <a:lnTo>
                    <a:pt x="551" y="261"/>
                  </a:lnTo>
                  <a:lnTo>
                    <a:pt x="555" y="261"/>
                  </a:lnTo>
                  <a:lnTo>
                    <a:pt x="593" y="263"/>
                  </a:lnTo>
                  <a:lnTo>
                    <a:pt x="602" y="264"/>
                  </a:lnTo>
                  <a:lnTo>
                    <a:pt x="610" y="267"/>
                  </a:lnTo>
                  <a:lnTo>
                    <a:pt x="616" y="271"/>
                  </a:lnTo>
                  <a:lnTo>
                    <a:pt x="623" y="277"/>
                  </a:lnTo>
                  <a:lnTo>
                    <a:pt x="625" y="280"/>
                  </a:lnTo>
                  <a:lnTo>
                    <a:pt x="627" y="283"/>
                  </a:lnTo>
                  <a:lnTo>
                    <a:pt x="629" y="287"/>
                  </a:lnTo>
                  <a:lnTo>
                    <a:pt x="630" y="290"/>
                  </a:lnTo>
                  <a:lnTo>
                    <a:pt x="633" y="294"/>
                  </a:lnTo>
                  <a:lnTo>
                    <a:pt x="633" y="299"/>
                  </a:lnTo>
                  <a:lnTo>
                    <a:pt x="634" y="303"/>
                  </a:lnTo>
                  <a:lnTo>
                    <a:pt x="634" y="307"/>
                  </a:lnTo>
                  <a:lnTo>
                    <a:pt x="634" y="316"/>
                  </a:lnTo>
                  <a:lnTo>
                    <a:pt x="634" y="326"/>
                  </a:lnTo>
                  <a:lnTo>
                    <a:pt x="635" y="336"/>
                  </a:lnTo>
                  <a:lnTo>
                    <a:pt x="637" y="344"/>
                  </a:lnTo>
                  <a:lnTo>
                    <a:pt x="639" y="353"/>
                  </a:lnTo>
                  <a:lnTo>
                    <a:pt x="642" y="362"/>
                  </a:lnTo>
                  <a:lnTo>
                    <a:pt x="646" y="371"/>
                  </a:lnTo>
                  <a:lnTo>
                    <a:pt x="649" y="379"/>
                  </a:lnTo>
                  <a:lnTo>
                    <a:pt x="653" y="387"/>
                  </a:lnTo>
                  <a:lnTo>
                    <a:pt x="659" y="395"/>
                  </a:lnTo>
                  <a:lnTo>
                    <a:pt x="664" y="402"/>
                  </a:lnTo>
                  <a:lnTo>
                    <a:pt x="670" y="410"/>
                  </a:lnTo>
                  <a:lnTo>
                    <a:pt x="676" y="416"/>
                  </a:lnTo>
                  <a:lnTo>
                    <a:pt x="683" y="423"/>
                  </a:lnTo>
                  <a:lnTo>
                    <a:pt x="690" y="429"/>
                  </a:lnTo>
                  <a:lnTo>
                    <a:pt x="698" y="435"/>
                  </a:lnTo>
                  <a:lnTo>
                    <a:pt x="707" y="438"/>
                  </a:lnTo>
                  <a:lnTo>
                    <a:pt x="720" y="445"/>
                  </a:lnTo>
                  <a:lnTo>
                    <a:pt x="740" y="455"/>
                  </a:lnTo>
                  <a:lnTo>
                    <a:pt x="749" y="457"/>
                  </a:lnTo>
                  <a:lnTo>
                    <a:pt x="759" y="458"/>
                  </a:lnTo>
                  <a:lnTo>
                    <a:pt x="777" y="460"/>
                  </a:lnTo>
                  <a:lnTo>
                    <a:pt x="786" y="460"/>
                  </a:lnTo>
                  <a:lnTo>
                    <a:pt x="796" y="459"/>
                  </a:lnTo>
                  <a:lnTo>
                    <a:pt x="805" y="458"/>
                  </a:lnTo>
                  <a:lnTo>
                    <a:pt x="813" y="457"/>
                  </a:lnTo>
                  <a:lnTo>
                    <a:pt x="822" y="453"/>
                  </a:lnTo>
                  <a:lnTo>
                    <a:pt x="831" y="451"/>
                  </a:lnTo>
                  <a:lnTo>
                    <a:pt x="839" y="448"/>
                  </a:lnTo>
                  <a:lnTo>
                    <a:pt x="848" y="444"/>
                  </a:lnTo>
                  <a:lnTo>
                    <a:pt x="856" y="439"/>
                  </a:lnTo>
                  <a:lnTo>
                    <a:pt x="865" y="434"/>
                  </a:lnTo>
                  <a:lnTo>
                    <a:pt x="872" y="428"/>
                  </a:lnTo>
                  <a:lnTo>
                    <a:pt x="879" y="422"/>
                  </a:lnTo>
                  <a:lnTo>
                    <a:pt x="882" y="420"/>
                  </a:lnTo>
                  <a:lnTo>
                    <a:pt x="886" y="417"/>
                  </a:lnTo>
                  <a:lnTo>
                    <a:pt x="894" y="413"/>
                  </a:lnTo>
                  <a:lnTo>
                    <a:pt x="897" y="412"/>
                  </a:lnTo>
                  <a:lnTo>
                    <a:pt x="902" y="411"/>
                  </a:lnTo>
                  <a:lnTo>
                    <a:pt x="906" y="411"/>
                  </a:lnTo>
                  <a:lnTo>
                    <a:pt x="910" y="411"/>
                  </a:lnTo>
                  <a:lnTo>
                    <a:pt x="915" y="411"/>
                  </a:lnTo>
                  <a:lnTo>
                    <a:pt x="919" y="412"/>
                  </a:lnTo>
                  <a:lnTo>
                    <a:pt x="922" y="413"/>
                  </a:lnTo>
                  <a:lnTo>
                    <a:pt x="927" y="415"/>
                  </a:lnTo>
                  <a:lnTo>
                    <a:pt x="930" y="416"/>
                  </a:lnTo>
                  <a:lnTo>
                    <a:pt x="934" y="420"/>
                  </a:lnTo>
                  <a:lnTo>
                    <a:pt x="937" y="422"/>
                  </a:lnTo>
                  <a:lnTo>
                    <a:pt x="941" y="425"/>
                  </a:lnTo>
                  <a:lnTo>
                    <a:pt x="967" y="453"/>
                  </a:lnTo>
                  <a:lnTo>
                    <a:pt x="970" y="457"/>
                  </a:lnTo>
                  <a:lnTo>
                    <a:pt x="972" y="460"/>
                  </a:lnTo>
                  <a:lnTo>
                    <a:pt x="977" y="468"/>
                  </a:lnTo>
                  <a:lnTo>
                    <a:pt x="978" y="472"/>
                  </a:lnTo>
                  <a:lnTo>
                    <a:pt x="978" y="476"/>
                  </a:lnTo>
                  <a:lnTo>
                    <a:pt x="979" y="481"/>
                  </a:lnTo>
                  <a:lnTo>
                    <a:pt x="979" y="484"/>
                  </a:lnTo>
                  <a:lnTo>
                    <a:pt x="979" y="488"/>
                  </a:lnTo>
                  <a:lnTo>
                    <a:pt x="978" y="493"/>
                  </a:lnTo>
                  <a:lnTo>
                    <a:pt x="977" y="497"/>
                  </a:lnTo>
                  <a:lnTo>
                    <a:pt x="975" y="500"/>
                  </a:lnTo>
                  <a:lnTo>
                    <a:pt x="973" y="505"/>
                  </a:lnTo>
                  <a:lnTo>
                    <a:pt x="970" y="508"/>
                  </a:lnTo>
                  <a:lnTo>
                    <a:pt x="968" y="511"/>
                  </a:lnTo>
                  <a:lnTo>
                    <a:pt x="965" y="514"/>
                  </a:lnTo>
                  <a:lnTo>
                    <a:pt x="958" y="521"/>
                  </a:lnTo>
                  <a:lnTo>
                    <a:pt x="952" y="529"/>
                  </a:lnTo>
                  <a:lnTo>
                    <a:pt x="946" y="536"/>
                  </a:lnTo>
                  <a:lnTo>
                    <a:pt x="941" y="544"/>
                  </a:lnTo>
                  <a:lnTo>
                    <a:pt x="936" y="552"/>
                  </a:lnTo>
                  <a:lnTo>
                    <a:pt x="932" y="559"/>
                  </a:lnTo>
                  <a:lnTo>
                    <a:pt x="928" y="568"/>
                  </a:lnTo>
                  <a:lnTo>
                    <a:pt x="924" y="577"/>
                  </a:lnTo>
                  <a:lnTo>
                    <a:pt x="922" y="585"/>
                  </a:lnTo>
                  <a:lnTo>
                    <a:pt x="920" y="595"/>
                  </a:lnTo>
                  <a:lnTo>
                    <a:pt x="918" y="613"/>
                  </a:lnTo>
                  <a:lnTo>
                    <a:pt x="917" y="622"/>
                  </a:lnTo>
                  <a:lnTo>
                    <a:pt x="918" y="632"/>
                  </a:lnTo>
                  <a:lnTo>
                    <a:pt x="918" y="641"/>
                  </a:lnTo>
                  <a:lnTo>
                    <a:pt x="920" y="651"/>
                  </a:lnTo>
                  <a:lnTo>
                    <a:pt x="929" y="672"/>
                  </a:lnTo>
                  <a:lnTo>
                    <a:pt x="935" y="694"/>
                  </a:lnTo>
                  <a:lnTo>
                    <a:pt x="941" y="702"/>
                  </a:lnTo>
                  <a:lnTo>
                    <a:pt x="946" y="710"/>
                  </a:lnTo>
                  <a:lnTo>
                    <a:pt x="952" y="717"/>
                  </a:lnTo>
                  <a:lnTo>
                    <a:pt x="958" y="724"/>
                  </a:lnTo>
                  <a:lnTo>
                    <a:pt x="965" y="730"/>
                  </a:lnTo>
                  <a:lnTo>
                    <a:pt x="971" y="737"/>
                  </a:lnTo>
                  <a:lnTo>
                    <a:pt x="979" y="742"/>
                  </a:lnTo>
                  <a:lnTo>
                    <a:pt x="986" y="748"/>
                  </a:lnTo>
                  <a:lnTo>
                    <a:pt x="994" y="752"/>
                  </a:lnTo>
                  <a:lnTo>
                    <a:pt x="1003" y="756"/>
                  </a:lnTo>
                  <a:lnTo>
                    <a:pt x="1012" y="760"/>
                  </a:lnTo>
                  <a:lnTo>
                    <a:pt x="1020" y="763"/>
                  </a:lnTo>
                  <a:lnTo>
                    <a:pt x="1029" y="765"/>
                  </a:lnTo>
                  <a:lnTo>
                    <a:pt x="1038" y="767"/>
                  </a:lnTo>
                  <a:lnTo>
                    <a:pt x="1047" y="768"/>
                  </a:lnTo>
                  <a:lnTo>
                    <a:pt x="1056" y="769"/>
                  </a:lnTo>
                  <a:close/>
                  <a:moveTo>
                    <a:pt x="821" y="712"/>
                  </a:moveTo>
                  <a:lnTo>
                    <a:pt x="816" y="699"/>
                  </a:lnTo>
                  <a:lnTo>
                    <a:pt x="809" y="684"/>
                  </a:lnTo>
                  <a:lnTo>
                    <a:pt x="802" y="671"/>
                  </a:lnTo>
                  <a:lnTo>
                    <a:pt x="796" y="659"/>
                  </a:lnTo>
                  <a:lnTo>
                    <a:pt x="787" y="647"/>
                  </a:lnTo>
                  <a:lnTo>
                    <a:pt x="780" y="635"/>
                  </a:lnTo>
                  <a:lnTo>
                    <a:pt x="771" y="625"/>
                  </a:lnTo>
                  <a:lnTo>
                    <a:pt x="761" y="614"/>
                  </a:lnTo>
                  <a:lnTo>
                    <a:pt x="751" y="604"/>
                  </a:lnTo>
                  <a:lnTo>
                    <a:pt x="741" y="594"/>
                  </a:lnTo>
                  <a:lnTo>
                    <a:pt x="731" y="585"/>
                  </a:lnTo>
                  <a:lnTo>
                    <a:pt x="720" y="577"/>
                  </a:lnTo>
                  <a:lnTo>
                    <a:pt x="709" y="569"/>
                  </a:lnTo>
                  <a:lnTo>
                    <a:pt x="697" y="561"/>
                  </a:lnTo>
                  <a:lnTo>
                    <a:pt x="685" y="555"/>
                  </a:lnTo>
                  <a:lnTo>
                    <a:pt x="672" y="548"/>
                  </a:lnTo>
                  <a:lnTo>
                    <a:pt x="660" y="543"/>
                  </a:lnTo>
                  <a:lnTo>
                    <a:pt x="647" y="537"/>
                  </a:lnTo>
                  <a:lnTo>
                    <a:pt x="634" y="533"/>
                  </a:lnTo>
                  <a:lnTo>
                    <a:pt x="621" y="530"/>
                  </a:lnTo>
                  <a:lnTo>
                    <a:pt x="606" y="526"/>
                  </a:lnTo>
                  <a:lnTo>
                    <a:pt x="593" y="524"/>
                  </a:lnTo>
                  <a:lnTo>
                    <a:pt x="579" y="522"/>
                  </a:lnTo>
                  <a:lnTo>
                    <a:pt x="565" y="521"/>
                  </a:lnTo>
                  <a:lnTo>
                    <a:pt x="551" y="521"/>
                  </a:lnTo>
                  <a:lnTo>
                    <a:pt x="537" y="521"/>
                  </a:lnTo>
                  <a:lnTo>
                    <a:pt x="523" y="522"/>
                  </a:lnTo>
                  <a:lnTo>
                    <a:pt x="508" y="523"/>
                  </a:lnTo>
                  <a:lnTo>
                    <a:pt x="494" y="525"/>
                  </a:lnTo>
                  <a:lnTo>
                    <a:pt x="480" y="529"/>
                  </a:lnTo>
                  <a:lnTo>
                    <a:pt x="466" y="533"/>
                  </a:lnTo>
                  <a:lnTo>
                    <a:pt x="452" y="537"/>
                  </a:lnTo>
                  <a:lnTo>
                    <a:pt x="438" y="543"/>
                  </a:lnTo>
                  <a:lnTo>
                    <a:pt x="425" y="549"/>
                  </a:lnTo>
                  <a:lnTo>
                    <a:pt x="412" y="556"/>
                  </a:lnTo>
                  <a:lnTo>
                    <a:pt x="399" y="562"/>
                  </a:lnTo>
                  <a:lnTo>
                    <a:pt x="387" y="570"/>
                  </a:lnTo>
                  <a:lnTo>
                    <a:pt x="376" y="579"/>
                  </a:lnTo>
                  <a:lnTo>
                    <a:pt x="365" y="587"/>
                  </a:lnTo>
                  <a:lnTo>
                    <a:pt x="354" y="596"/>
                  </a:lnTo>
                  <a:lnTo>
                    <a:pt x="344" y="606"/>
                  </a:lnTo>
                  <a:lnTo>
                    <a:pt x="334" y="617"/>
                  </a:lnTo>
                  <a:lnTo>
                    <a:pt x="324" y="627"/>
                  </a:lnTo>
                  <a:lnTo>
                    <a:pt x="317" y="639"/>
                  </a:lnTo>
                  <a:lnTo>
                    <a:pt x="308" y="650"/>
                  </a:lnTo>
                  <a:lnTo>
                    <a:pt x="302" y="662"/>
                  </a:lnTo>
                  <a:lnTo>
                    <a:pt x="294" y="674"/>
                  </a:lnTo>
                  <a:lnTo>
                    <a:pt x="289" y="686"/>
                  </a:lnTo>
                  <a:lnTo>
                    <a:pt x="282" y="699"/>
                  </a:lnTo>
                  <a:lnTo>
                    <a:pt x="278" y="712"/>
                  </a:lnTo>
                  <a:lnTo>
                    <a:pt x="273" y="725"/>
                  </a:lnTo>
                  <a:lnTo>
                    <a:pt x="269" y="738"/>
                  </a:lnTo>
                  <a:lnTo>
                    <a:pt x="266" y="751"/>
                  </a:lnTo>
                  <a:lnTo>
                    <a:pt x="263" y="765"/>
                  </a:lnTo>
                  <a:lnTo>
                    <a:pt x="262" y="779"/>
                  </a:lnTo>
                  <a:lnTo>
                    <a:pt x="260" y="793"/>
                  </a:lnTo>
                  <a:lnTo>
                    <a:pt x="260" y="808"/>
                  </a:lnTo>
                  <a:lnTo>
                    <a:pt x="260" y="822"/>
                  </a:lnTo>
                  <a:lnTo>
                    <a:pt x="261" y="836"/>
                  </a:lnTo>
                  <a:lnTo>
                    <a:pt x="263" y="850"/>
                  </a:lnTo>
                  <a:lnTo>
                    <a:pt x="266" y="864"/>
                  </a:lnTo>
                  <a:lnTo>
                    <a:pt x="269" y="878"/>
                  </a:lnTo>
                  <a:lnTo>
                    <a:pt x="272" y="893"/>
                  </a:lnTo>
                  <a:lnTo>
                    <a:pt x="278" y="907"/>
                  </a:lnTo>
                  <a:lnTo>
                    <a:pt x="283" y="920"/>
                  </a:lnTo>
                  <a:lnTo>
                    <a:pt x="289" y="934"/>
                  </a:lnTo>
                  <a:lnTo>
                    <a:pt x="295" y="947"/>
                  </a:lnTo>
                  <a:lnTo>
                    <a:pt x="303" y="959"/>
                  </a:lnTo>
                  <a:lnTo>
                    <a:pt x="310" y="971"/>
                  </a:lnTo>
                  <a:lnTo>
                    <a:pt x="318" y="983"/>
                  </a:lnTo>
                  <a:lnTo>
                    <a:pt x="327" y="994"/>
                  </a:lnTo>
                  <a:lnTo>
                    <a:pt x="336" y="1005"/>
                  </a:lnTo>
                  <a:lnTo>
                    <a:pt x="346" y="1015"/>
                  </a:lnTo>
                  <a:lnTo>
                    <a:pt x="356" y="1024"/>
                  </a:lnTo>
                  <a:lnTo>
                    <a:pt x="367" y="1033"/>
                  </a:lnTo>
                  <a:lnTo>
                    <a:pt x="378" y="1042"/>
                  </a:lnTo>
                  <a:lnTo>
                    <a:pt x="390" y="1050"/>
                  </a:lnTo>
                  <a:lnTo>
                    <a:pt x="401" y="1057"/>
                  </a:lnTo>
                  <a:lnTo>
                    <a:pt x="413" y="1064"/>
                  </a:lnTo>
                  <a:lnTo>
                    <a:pt x="426" y="1070"/>
                  </a:lnTo>
                  <a:lnTo>
                    <a:pt x="438" y="1076"/>
                  </a:lnTo>
                  <a:lnTo>
                    <a:pt x="451" y="1081"/>
                  </a:lnTo>
                  <a:lnTo>
                    <a:pt x="464" y="1085"/>
                  </a:lnTo>
                  <a:lnTo>
                    <a:pt x="478" y="1089"/>
                  </a:lnTo>
                  <a:lnTo>
                    <a:pt x="491" y="1092"/>
                  </a:lnTo>
                  <a:lnTo>
                    <a:pt x="505" y="1095"/>
                  </a:lnTo>
                  <a:lnTo>
                    <a:pt x="518" y="1096"/>
                  </a:lnTo>
                  <a:lnTo>
                    <a:pt x="532" y="1097"/>
                  </a:lnTo>
                  <a:lnTo>
                    <a:pt x="547" y="1099"/>
                  </a:lnTo>
                  <a:lnTo>
                    <a:pt x="561" y="1097"/>
                  </a:lnTo>
                  <a:lnTo>
                    <a:pt x="575" y="1097"/>
                  </a:lnTo>
                  <a:lnTo>
                    <a:pt x="589" y="1095"/>
                  </a:lnTo>
                  <a:lnTo>
                    <a:pt x="603" y="1093"/>
                  </a:lnTo>
                  <a:lnTo>
                    <a:pt x="617" y="1090"/>
                  </a:lnTo>
                  <a:lnTo>
                    <a:pt x="632" y="1085"/>
                  </a:lnTo>
                  <a:lnTo>
                    <a:pt x="646" y="1081"/>
                  </a:lnTo>
                  <a:lnTo>
                    <a:pt x="660" y="1076"/>
                  </a:lnTo>
                  <a:lnTo>
                    <a:pt x="673" y="1070"/>
                  </a:lnTo>
                  <a:lnTo>
                    <a:pt x="686" y="1064"/>
                  </a:lnTo>
                  <a:lnTo>
                    <a:pt x="699" y="1056"/>
                  </a:lnTo>
                  <a:lnTo>
                    <a:pt x="711" y="1048"/>
                  </a:lnTo>
                  <a:lnTo>
                    <a:pt x="722" y="1040"/>
                  </a:lnTo>
                  <a:lnTo>
                    <a:pt x="734" y="1031"/>
                  </a:lnTo>
                  <a:lnTo>
                    <a:pt x="744" y="1022"/>
                  </a:lnTo>
                  <a:lnTo>
                    <a:pt x="755" y="1012"/>
                  </a:lnTo>
                  <a:lnTo>
                    <a:pt x="763" y="1002"/>
                  </a:lnTo>
                  <a:lnTo>
                    <a:pt x="773" y="992"/>
                  </a:lnTo>
                  <a:lnTo>
                    <a:pt x="782" y="981"/>
                  </a:lnTo>
                  <a:lnTo>
                    <a:pt x="789" y="969"/>
                  </a:lnTo>
                  <a:lnTo>
                    <a:pt x="797" y="957"/>
                  </a:lnTo>
                  <a:lnTo>
                    <a:pt x="804" y="945"/>
                  </a:lnTo>
                  <a:lnTo>
                    <a:pt x="810" y="933"/>
                  </a:lnTo>
                  <a:lnTo>
                    <a:pt x="816" y="920"/>
                  </a:lnTo>
                  <a:lnTo>
                    <a:pt x="820" y="907"/>
                  </a:lnTo>
                  <a:lnTo>
                    <a:pt x="824" y="894"/>
                  </a:lnTo>
                  <a:lnTo>
                    <a:pt x="829" y="881"/>
                  </a:lnTo>
                  <a:lnTo>
                    <a:pt x="832" y="868"/>
                  </a:lnTo>
                  <a:lnTo>
                    <a:pt x="834" y="853"/>
                  </a:lnTo>
                  <a:lnTo>
                    <a:pt x="836" y="839"/>
                  </a:lnTo>
                  <a:lnTo>
                    <a:pt x="837" y="825"/>
                  </a:lnTo>
                  <a:lnTo>
                    <a:pt x="837" y="812"/>
                  </a:lnTo>
                  <a:lnTo>
                    <a:pt x="837" y="798"/>
                  </a:lnTo>
                  <a:lnTo>
                    <a:pt x="836" y="783"/>
                  </a:lnTo>
                  <a:lnTo>
                    <a:pt x="835" y="768"/>
                  </a:lnTo>
                  <a:lnTo>
                    <a:pt x="832" y="754"/>
                  </a:lnTo>
                  <a:lnTo>
                    <a:pt x="829" y="740"/>
                  </a:lnTo>
                  <a:lnTo>
                    <a:pt x="825" y="726"/>
                  </a:lnTo>
                  <a:lnTo>
                    <a:pt x="821" y="7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B4245"/>
                </a:solidFill>
                <a:effectLst/>
                <a:uLnTx/>
                <a:uFillTx/>
                <a:latin typeface="Arial"/>
                <a:ea typeface="+mn-ea"/>
                <a:cs typeface="+mn-cs"/>
              </a:endParaRPr>
            </a:p>
          </p:txBody>
        </p:sp>
        <p:sp>
          <p:nvSpPr>
            <p:cNvPr id="41" name="Freeform 5">
              <a:extLst>
                <a:ext uri="{FF2B5EF4-FFF2-40B4-BE49-F238E27FC236}">
                  <a16:creationId xmlns:a16="http://schemas.microsoft.com/office/drawing/2014/main" id="{9F2DC204-4481-0045-A917-5A7D9BAAE3A9}"/>
                </a:ext>
              </a:extLst>
            </p:cNvPr>
            <p:cNvSpPr>
              <a:spLocks noChangeAspect="1" noEditPoints="1"/>
            </p:cNvSpPr>
            <p:nvPr/>
          </p:nvSpPr>
          <p:spPr bwMode="auto">
            <a:xfrm>
              <a:off x="4151313" y="4364400"/>
              <a:ext cx="369561" cy="360000"/>
            </a:xfrm>
            <a:custGeom>
              <a:avLst/>
              <a:gdLst>
                <a:gd name="T0" fmla="*/ 1616 w 4446"/>
                <a:gd name="T1" fmla="*/ 4094 h 4330"/>
                <a:gd name="T2" fmla="*/ 799 w 4446"/>
                <a:gd name="T3" fmla="*/ 4101 h 4330"/>
                <a:gd name="T4" fmla="*/ 554 w 4446"/>
                <a:gd name="T5" fmla="*/ 4102 h 4330"/>
                <a:gd name="T6" fmla="*/ 480 w 4446"/>
                <a:gd name="T7" fmla="*/ 4093 h 4330"/>
                <a:gd name="T8" fmla="*/ 410 w 4446"/>
                <a:gd name="T9" fmla="*/ 4077 h 4330"/>
                <a:gd name="T10" fmla="*/ 311 w 4446"/>
                <a:gd name="T11" fmla="*/ 4038 h 4330"/>
                <a:gd name="T12" fmla="*/ 251 w 4446"/>
                <a:gd name="T13" fmla="*/ 4005 h 4330"/>
                <a:gd name="T14" fmla="*/ 195 w 4446"/>
                <a:gd name="T15" fmla="*/ 3964 h 4330"/>
                <a:gd name="T16" fmla="*/ 145 w 4446"/>
                <a:gd name="T17" fmla="*/ 3918 h 4330"/>
                <a:gd name="T18" fmla="*/ 101 w 4446"/>
                <a:gd name="T19" fmla="*/ 3867 h 4330"/>
                <a:gd name="T20" fmla="*/ 64 w 4446"/>
                <a:gd name="T21" fmla="*/ 3811 h 4330"/>
                <a:gd name="T22" fmla="*/ 35 w 4446"/>
                <a:gd name="T23" fmla="*/ 3750 h 4330"/>
                <a:gd name="T24" fmla="*/ 7 w 4446"/>
                <a:gd name="T25" fmla="*/ 3654 h 4330"/>
                <a:gd name="T26" fmla="*/ 0 w 4446"/>
                <a:gd name="T27" fmla="*/ 3585 h 4330"/>
                <a:gd name="T28" fmla="*/ 13 w 4446"/>
                <a:gd name="T29" fmla="*/ 3460 h 4330"/>
                <a:gd name="T30" fmla="*/ 34 w 4446"/>
                <a:gd name="T31" fmla="*/ 3387 h 4330"/>
                <a:gd name="T32" fmla="*/ 290 w 4446"/>
                <a:gd name="T33" fmla="*/ 2865 h 4330"/>
                <a:gd name="T34" fmla="*/ 1417 w 4446"/>
                <a:gd name="T35" fmla="*/ 2832 h 4330"/>
                <a:gd name="T36" fmla="*/ 3536 w 4446"/>
                <a:gd name="T37" fmla="*/ 3332 h 4330"/>
                <a:gd name="T38" fmla="*/ 2876 w 4446"/>
                <a:gd name="T39" fmla="*/ 4330 h 4330"/>
                <a:gd name="T40" fmla="*/ 3948 w 4446"/>
                <a:gd name="T41" fmla="*/ 4095 h 4330"/>
                <a:gd name="T42" fmla="*/ 4027 w 4446"/>
                <a:gd name="T43" fmla="*/ 4086 h 4330"/>
                <a:gd name="T44" fmla="*/ 4100 w 4446"/>
                <a:gd name="T45" fmla="*/ 4068 h 4330"/>
                <a:gd name="T46" fmla="*/ 4166 w 4446"/>
                <a:gd name="T47" fmla="*/ 4040 h 4330"/>
                <a:gd name="T48" fmla="*/ 4225 w 4446"/>
                <a:gd name="T49" fmla="*/ 4005 h 4330"/>
                <a:gd name="T50" fmla="*/ 4278 w 4446"/>
                <a:gd name="T51" fmla="*/ 3962 h 4330"/>
                <a:gd name="T52" fmla="*/ 4335 w 4446"/>
                <a:gd name="T53" fmla="*/ 3900 h 4330"/>
                <a:gd name="T54" fmla="*/ 4379 w 4446"/>
                <a:gd name="T55" fmla="*/ 3829 h 4330"/>
                <a:gd name="T56" fmla="*/ 4413 w 4446"/>
                <a:gd name="T57" fmla="*/ 3753 h 4330"/>
                <a:gd name="T58" fmla="*/ 4432 w 4446"/>
                <a:gd name="T59" fmla="*/ 3688 h 4330"/>
                <a:gd name="T60" fmla="*/ 4442 w 4446"/>
                <a:gd name="T61" fmla="*/ 3620 h 4330"/>
                <a:gd name="T62" fmla="*/ 4446 w 4446"/>
                <a:gd name="T63" fmla="*/ 3551 h 4330"/>
                <a:gd name="T64" fmla="*/ 4439 w 4446"/>
                <a:gd name="T65" fmla="*/ 3462 h 4330"/>
                <a:gd name="T66" fmla="*/ 4418 w 4446"/>
                <a:gd name="T67" fmla="*/ 3375 h 4330"/>
                <a:gd name="T68" fmla="*/ 4392 w 4446"/>
                <a:gd name="T69" fmla="*/ 3307 h 4330"/>
                <a:gd name="T70" fmla="*/ 4280 w 4446"/>
                <a:gd name="T71" fmla="*/ 3090 h 4330"/>
                <a:gd name="T72" fmla="*/ 3819 w 4446"/>
                <a:gd name="T73" fmla="*/ 2206 h 4330"/>
                <a:gd name="T74" fmla="*/ 2183 w 4446"/>
                <a:gd name="T75" fmla="*/ 977 h 4330"/>
                <a:gd name="T76" fmla="*/ 3381 w 4446"/>
                <a:gd name="T77" fmla="*/ 1034 h 4330"/>
                <a:gd name="T78" fmla="*/ 2620 w 4446"/>
                <a:gd name="T79" fmla="*/ 218 h 4330"/>
                <a:gd name="T80" fmla="*/ 2570 w 4446"/>
                <a:gd name="T81" fmla="*/ 158 h 4330"/>
                <a:gd name="T82" fmla="*/ 2515 w 4446"/>
                <a:gd name="T83" fmla="*/ 108 h 4330"/>
                <a:gd name="T84" fmla="*/ 2457 w 4446"/>
                <a:gd name="T85" fmla="*/ 67 h 4330"/>
                <a:gd name="T86" fmla="*/ 2395 w 4446"/>
                <a:gd name="T87" fmla="*/ 37 h 4330"/>
                <a:gd name="T88" fmla="*/ 2331 w 4446"/>
                <a:gd name="T89" fmla="*/ 16 h 4330"/>
                <a:gd name="T90" fmla="*/ 2265 w 4446"/>
                <a:gd name="T91" fmla="*/ 3 h 4330"/>
                <a:gd name="T92" fmla="*/ 2198 w 4446"/>
                <a:gd name="T93" fmla="*/ 0 h 4330"/>
                <a:gd name="T94" fmla="*/ 2131 w 4446"/>
                <a:gd name="T95" fmla="*/ 6 h 4330"/>
                <a:gd name="T96" fmla="*/ 2049 w 4446"/>
                <a:gd name="T97" fmla="*/ 24 h 4330"/>
                <a:gd name="T98" fmla="*/ 1983 w 4446"/>
                <a:gd name="T99" fmla="*/ 48 h 4330"/>
                <a:gd name="T100" fmla="*/ 1906 w 4446"/>
                <a:gd name="T101" fmla="*/ 87 h 4330"/>
                <a:gd name="T102" fmla="*/ 1848 w 4446"/>
                <a:gd name="T103" fmla="*/ 127 h 4330"/>
                <a:gd name="T104" fmla="*/ 1794 w 4446"/>
                <a:gd name="T105" fmla="*/ 174 h 4330"/>
                <a:gd name="T106" fmla="*/ 1734 w 4446"/>
                <a:gd name="T107" fmla="*/ 243 h 4330"/>
                <a:gd name="T108" fmla="*/ 1593 w 4446"/>
                <a:gd name="T109" fmla="*/ 463 h 4330"/>
                <a:gd name="T110" fmla="*/ 1066 w 4446"/>
                <a:gd name="T111" fmla="*/ 1311 h 4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46" h="4330">
                  <a:moveTo>
                    <a:pt x="929" y="3331"/>
                  </a:moveTo>
                  <a:lnTo>
                    <a:pt x="1799" y="3331"/>
                  </a:lnTo>
                  <a:lnTo>
                    <a:pt x="1799" y="4093"/>
                  </a:lnTo>
                  <a:lnTo>
                    <a:pt x="1616" y="4094"/>
                  </a:lnTo>
                  <a:lnTo>
                    <a:pt x="1434" y="4095"/>
                  </a:lnTo>
                  <a:lnTo>
                    <a:pt x="1258" y="4097"/>
                  </a:lnTo>
                  <a:lnTo>
                    <a:pt x="1090" y="4098"/>
                  </a:lnTo>
                  <a:lnTo>
                    <a:pt x="799" y="4101"/>
                  </a:lnTo>
                  <a:lnTo>
                    <a:pt x="682" y="4102"/>
                  </a:lnTo>
                  <a:lnTo>
                    <a:pt x="591" y="4104"/>
                  </a:lnTo>
                  <a:lnTo>
                    <a:pt x="571" y="4102"/>
                  </a:lnTo>
                  <a:lnTo>
                    <a:pt x="554" y="4102"/>
                  </a:lnTo>
                  <a:lnTo>
                    <a:pt x="535" y="4101"/>
                  </a:lnTo>
                  <a:lnTo>
                    <a:pt x="517" y="4099"/>
                  </a:lnTo>
                  <a:lnTo>
                    <a:pt x="498" y="4097"/>
                  </a:lnTo>
                  <a:lnTo>
                    <a:pt x="480" y="4093"/>
                  </a:lnTo>
                  <a:lnTo>
                    <a:pt x="463" y="4091"/>
                  </a:lnTo>
                  <a:lnTo>
                    <a:pt x="444" y="4086"/>
                  </a:lnTo>
                  <a:lnTo>
                    <a:pt x="427" y="4081"/>
                  </a:lnTo>
                  <a:lnTo>
                    <a:pt x="410" y="4077"/>
                  </a:lnTo>
                  <a:lnTo>
                    <a:pt x="393" y="4072"/>
                  </a:lnTo>
                  <a:lnTo>
                    <a:pt x="377" y="4066"/>
                  </a:lnTo>
                  <a:lnTo>
                    <a:pt x="343" y="4054"/>
                  </a:lnTo>
                  <a:lnTo>
                    <a:pt x="311" y="4038"/>
                  </a:lnTo>
                  <a:lnTo>
                    <a:pt x="295" y="4030"/>
                  </a:lnTo>
                  <a:lnTo>
                    <a:pt x="280" y="4022"/>
                  </a:lnTo>
                  <a:lnTo>
                    <a:pt x="265" y="4014"/>
                  </a:lnTo>
                  <a:lnTo>
                    <a:pt x="251" y="4005"/>
                  </a:lnTo>
                  <a:lnTo>
                    <a:pt x="236" y="3994"/>
                  </a:lnTo>
                  <a:lnTo>
                    <a:pt x="222" y="3985"/>
                  </a:lnTo>
                  <a:lnTo>
                    <a:pt x="209" y="3975"/>
                  </a:lnTo>
                  <a:lnTo>
                    <a:pt x="195" y="3964"/>
                  </a:lnTo>
                  <a:lnTo>
                    <a:pt x="182" y="3953"/>
                  </a:lnTo>
                  <a:lnTo>
                    <a:pt x="169" y="3942"/>
                  </a:lnTo>
                  <a:lnTo>
                    <a:pt x="156" y="3930"/>
                  </a:lnTo>
                  <a:lnTo>
                    <a:pt x="145" y="3918"/>
                  </a:lnTo>
                  <a:lnTo>
                    <a:pt x="133" y="3906"/>
                  </a:lnTo>
                  <a:lnTo>
                    <a:pt x="122" y="3893"/>
                  </a:lnTo>
                  <a:lnTo>
                    <a:pt x="112" y="3879"/>
                  </a:lnTo>
                  <a:lnTo>
                    <a:pt x="101" y="3867"/>
                  </a:lnTo>
                  <a:lnTo>
                    <a:pt x="91" y="3853"/>
                  </a:lnTo>
                  <a:lnTo>
                    <a:pt x="82" y="3839"/>
                  </a:lnTo>
                  <a:lnTo>
                    <a:pt x="72" y="3825"/>
                  </a:lnTo>
                  <a:lnTo>
                    <a:pt x="64" y="3811"/>
                  </a:lnTo>
                  <a:lnTo>
                    <a:pt x="56" y="3796"/>
                  </a:lnTo>
                  <a:lnTo>
                    <a:pt x="49" y="3781"/>
                  </a:lnTo>
                  <a:lnTo>
                    <a:pt x="42" y="3766"/>
                  </a:lnTo>
                  <a:lnTo>
                    <a:pt x="35" y="3750"/>
                  </a:lnTo>
                  <a:lnTo>
                    <a:pt x="23" y="3719"/>
                  </a:lnTo>
                  <a:lnTo>
                    <a:pt x="19" y="3703"/>
                  </a:lnTo>
                  <a:lnTo>
                    <a:pt x="14" y="3687"/>
                  </a:lnTo>
                  <a:lnTo>
                    <a:pt x="7" y="3654"/>
                  </a:lnTo>
                  <a:lnTo>
                    <a:pt x="5" y="3637"/>
                  </a:lnTo>
                  <a:lnTo>
                    <a:pt x="2" y="3620"/>
                  </a:lnTo>
                  <a:lnTo>
                    <a:pt x="1" y="3603"/>
                  </a:lnTo>
                  <a:lnTo>
                    <a:pt x="0" y="3585"/>
                  </a:lnTo>
                  <a:lnTo>
                    <a:pt x="0" y="3551"/>
                  </a:lnTo>
                  <a:lnTo>
                    <a:pt x="3" y="3515"/>
                  </a:lnTo>
                  <a:lnTo>
                    <a:pt x="8" y="3479"/>
                  </a:lnTo>
                  <a:lnTo>
                    <a:pt x="13" y="3460"/>
                  </a:lnTo>
                  <a:lnTo>
                    <a:pt x="16" y="3441"/>
                  </a:lnTo>
                  <a:lnTo>
                    <a:pt x="22" y="3424"/>
                  </a:lnTo>
                  <a:lnTo>
                    <a:pt x="28" y="3405"/>
                  </a:lnTo>
                  <a:lnTo>
                    <a:pt x="34" y="3387"/>
                  </a:lnTo>
                  <a:lnTo>
                    <a:pt x="42" y="3368"/>
                  </a:lnTo>
                  <a:lnTo>
                    <a:pt x="49" y="3350"/>
                  </a:lnTo>
                  <a:lnTo>
                    <a:pt x="58" y="3331"/>
                  </a:lnTo>
                  <a:lnTo>
                    <a:pt x="290" y="2865"/>
                  </a:lnTo>
                  <a:lnTo>
                    <a:pt x="522" y="2400"/>
                  </a:lnTo>
                  <a:lnTo>
                    <a:pt x="326" y="2292"/>
                  </a:lnTo>
                  <a:lnTo>
                    <a:pt x="1181" y="1984"/>
                  </a:lnTo>
                  <a:lnTo>
                    <a:pt x="1417" y="2832"/>
                  </a:lnTo>
                  <a:lnTo>
                    <a:pt x="1225" y="2745"/>
                  </a:lnTo>
                  <a:lnTo>
                    <a:pt x="919" y="3331"/>
                  </a:lnTo>
                  <a:lnTo>
                    <a:pt x="929" y="3331"/>
                  </a:lnTo>
                  <a:close/>
                  <a:moveTo>
                    <a:pt x="3536" y="3332"/>
                  </a:moveTo>
                  <a:lnTo>
                    <a:pt x="2873" y="3328"/>
                  </a:lnTo>
                  <a:lnTo>
                    <a:pt x="2865" y="3119"/>
                  </a:lnTo>
                  <a:lnTo>
                    <a:pt x="2213" y="3712"/>
                  </a:lnTo>
                  <a:lnTo>
                    <a:pt x="2876" y="4330"/>
                  </a:lnTo>
                  <a:lnTo>
                    <a:pt x="2883" y="4108"/>
                  </a:lnTo>
                  <a:lnTo>
                    <a:pt x="3406" y="4102"/>
                  </a:lnTo>
                  <a:lnTo>
                    <a:pt x="3928" y="4097"/>
                  </a:lnTo>
                  <a:lnTo>
                    <a:pt x="3948" y="4095"/>
                  </a:lnTo>
                  <a:lnTo>
                    <a:pt x="3969" y="4094"/>
                  </a:lnTo>
                  <a:lnTo>
                    <a:pt x="3989" y="4092"/>
                  </a:lnTo>
                  <a:lnTo>
                    <a:pt x="4009" y="4090"/>
                  </a:lnTo>
                  <a:lnTo>
                    <a:pt x="4027" y="4086"/>
                  </a:lnTo>
                  <a:lnTo>
                    <a:pt x="4046" y="4083"/>
                  </a:lnTo>
                  <a:lnTo>
                    <a:pt x="4065" y="4078"/>
                  </a:lnTo>
                  <a:lnTo>
                    <a:pt x="4082" y="4073"/>
                  </a:lnTo>
                  <a:lnTo>
                    <a:pt x="4100" y="4068"/>
                  </a:lnTo>
                  <a:lnTo>
                    <a:pt x="4117" y="4062"/>
                  </a:lnTo>
                  <a:lnTo>
                    <a:pt x="4133" y="4055"/>
                  </a:lnTo>
                  <a:lnTo>
                    <a:pt x="4150" y="4048"/>
                  </a:lnTo>
                  <a:lnTo>
                    <a:pt x="4166" y="4040"/>
                  </a:lnTo>
                  <a:lnTo>
                    <a:pt x="4181" y="4031"/>
                  </a:lnTo>
                  <a:lnTo>
                    <a:pt x="4196" y="4023"/>
                  </a:lnTo>
                  <a:lnTo>
                    <a:pt x="4211" y="4014"/>
                  </a:lnTo>
                  <a:lnTo>
                    <a:pt x="4225" y="4005"/>
                  </a:lnTo>
                  <a:lnTo>
                    <a:pt x="4239" y="3994"/>
                  </a:lnTo>
                  <a:lnTo>
                    <a:pt x="4252" y="3984"/>
                  </a:lnTo>
                  <a:lnTo>
                    <a:pt x="4266" y="3973"/>
                  </a:lnTo>
                  <a:lnTo>
                    <a:pt x="4278" y="3962"/>
                  </a:lnTo>
                  <a:lnTo>
                    <a:pt x="4291" y="3950"/>
                  </a:lnTo>
                  <a:lnTo>
                    <a:pt x="4302" y="3939"/>
                  </a:lnTo>
                  <a:lnTo>
                    <a:pt x="4313" y="3926"/>
                  </a:lnTo>
                  <a:lnTo>
                    <a:pt x="4335" y="3900"/>
                  </a:lnTo>
                  <a:lnTo>
                    <a:pt x="4354" y="3872"/>
                  </a:lnTo>
                  <a:lnTo>
                    <a:pt x="4363" y="3858"/>
                  </a:lnTo>
                  <a:lnTo>
                    <a:pt x="4371" y="3845"/>
                  </a:lnTo>
                  <a:lnTo>
                    <a:pt x="4379" y="3829"/>
                  </a:lnTo>
                  <a:lnTo>
                    <a:pt x="4388" y="3814"/>
                  </a:lnTo>
                  <a:lnTo>
                    <a:pt x="4402" y="3784"/>
                  </a:lnTo>
                  <a:lnTo>
                    <a:pt x="4407" y="3769"/>
                  </a:lnTo>
                  <a:lnTo>
                    <a:pt x="4413" y="3753"/>
                  </a:lnTo>
                  <a:lnTo>
                    <a:pt x="4419" y="3736"/>
                  </a:lnTo>
                  <a:lnTo>
                    <a:pt x="4424" y="3720"/>
                  </a:lnTo>
                  <a:lnTo>
                    <a:pt x="4428" y="3704"/>
                  </a:lnTo>
                  <a:lnTo>
                    <a:pt x="4432" y="3688"/>
                  </a:lnTo>
                  <a:lnTo>
                    <a:pt x="4435" y="3670"/>
                  </a:lnTo>
                  <a:lnTo>
                    <a:pt x="4439" y="3654"/>
                  </a:lnTo>
                  <a:lnTo>
                    <a:pt x="4441" y="3637"/>
                  </a:lnTo>
                  <a:lnTo>
                    <a:pt x="4442" y="3620"/>
                  </a:lnTo>
                  <a:lnTo>
                    <a:pt x="4445" y="3603"/>
                  </a:lnTo>
                  <a:lnTo>
                    <a:pt x="4445" y="3585"/>
                  </a:lnTo>
                  <a:lnTo>
                    <a:pt x="4446" y="3568"/>
                  </a:lnTo>
                  <a:lnTo>
                    <a:pt x="4446" y="3551"/>
                  </a:lnTo>
                  <a:lnTo>
                    <a:pt x="4446" y="3533"/>
                  </a:lnTo>
                  <a:lnTo>
                    <a:pt x="4445" y="3516"/>
                  </a:lnTo>
                  <a:lnTo>
                    <a:pt x="4441" y="3480"/>
                  </a:lnTo>
                  <a:lnTo>
                    <a:pt x="4439" y="3462"/>
                  </a:lnTo>
                  <a:lnTo>
                    <a:pt x="4435" y="3445"/>
                  </a:lnTo>
                  <a:lnTo>
                    <a:pt x="4432" y="3428"/>
                  </a:lnTo>
                  <a:lnTo>
                    <a:pt x="4427" y="3410"/>
                  </a:lnTo>
                  <a:lnTo>
                    <a:pt x="4418" y="3375"/>
                  </a:lnTo>
                  <a:lnTo>
                    <a:pt x="4412" y="3358"/>
                  </a:lnTo>
                  <a:lnTo>
                    <a:pt x="4406" y="3340"/>
                  </a:lnTo>
                  <a:lnTo>
                    <a:pt x="4399" y="3324"/>
                  </a:lnTo>
                  <a:lnTo>
                    <a:pt x="4392" y="3307"/>
                  </a:lnTo>
                  <a:lnTo>
                    <a:pt x="4385" y="3289"/>
                  </a:lnTo>
                  <a:lnTo>
                    <a:pt x="4377" y="3273"/>
                  </a:lnTo>
                  <a:lnTo>
                    <a:pt x="4335" y="3192"/>
                  </a:lnTo>
                  <a:lnTo>
                    <a:pt x="4280" y="3090"/>
                  </a:lnTo>
                  <a:lnTo>
                    <a:pt x="4145" y="2832"/>
                  </a:lnTo>
                  <a:lnTo>
                    <a:pt x="3985" y="2527"/>
                  </a:lnTo>
                  <a:lnTo>
                    <a:pt x="3902" y="2367"/>
                  </a:lnTo>
                  <a:lnTo>
                    <a:pt x="3819" y="2206"/>
                  </a:lnTo>
                  <a:lnTo>
                    <a:pt x="3136" y="2552"/>
                  </a:lnTo>
                  <a:lnTo>
                    <a:pt x="3532" y="3324"/>
                  </a:lnTo>
                  <a:lnTo>
                    <a:pt x="3536" y="3332"/>
                  </a:lnTo>
                  <a:close/>
                  <a:moveTo>
                    <a:pt x="2183" y="977"/>
                  </a:moveTo>
                  <a:lnTo>
                    <a:pt x="2517" y="1548"/>
                  </a:lnTo>
                  <a:lnTo>
                    <a:pt x="2340" y="1662"/>
                  </a:lnTo>
                  <a:lnTo>
                    <a:pt x="3187" y="1916"/>
                  </a:lnTo>
                  <a:lnTo>
                    <a:pt x="3381" y="1034"/>
                  </a:lnTo>
                  <a:lnTo>
                    <a:pt x="3185" y="1141"/>
                  </a:lnTo>
                  <a:lnTo>
                    <a:pt x="2642" y="252"/>
                  </a:lnTo>
                  <a:lnTo>
                    <a:pt x="2632" y="235"/>
                  </a:lnTo>
                  <a:lnTo>
                    <a:pt x="2620" y="218"/>
                  </a:lnTo>
                  <a:lnTo>
                    <a:pt x="2607" y="202"/>
                  </a:lnTo>
                  <a:lnTo>
                    <a:pt x="2595" y="187"/>
                  </a:lnTo>
                  <a:lnTo>
                    <a:pt x="2583" y="172"/>
                  </a:lnTo>
                  <a:lnTo>
                    <a:pt x="2570" y="158"/>
                  </a:lnTo>
                  <a:lnTo>
                    <a:pt x="2557" y="144"/>
                  </a:lnTo>
                  <a:lnTo>
                    <a:pt x="2543" y="131"/>
                  </a:lnTo>
                  <a:lnTo>
                    <a:pt x="2529" y="120"/>
                  </a:lnTo>
                  <a:lnTo>
                    <a:pt x="2515" y="108"/>
                  </a:lnTo>
                  <a:lnTo>
                    <a:pt x="2501" y="96"/>
                  </a:lnTo>
                  <a:lnTo>
                    <a:pt x="2487" y="86"/>
                  </a:lnTo>
                  <a:lnTo>
                    <a:pt x="2472" y="77"/>
                  </a:lnTo>
                  <a:lnTo>
                    <a:pt x="2457" y="67"/>
                  </a:lnTo>
                  <a:lnTo>
                    <a:pt x="2442" y="59"/>
                  </a:lnTo>
                  <a:lnTo>
                    <a:pt x="2426" y="51"/>
                  </a:lnTo>
                  <a:lnTo>
                    <a:pt x="2411" y="44"/>
                  </a:lnTo>
                  <a:lnTo>
                    <a:pt x="2395" y="37"/>
                  </a:lnTo>
                  <a:lnTo>
                    <a:pt x="2380" y="31"/>
                  </a:lnTo>
                  <a:lnTo>
                    <a:pt x="2363" y="26"/>
                  </a:lnTo>
                  <a:lnTo>
                    <a:pt x="2347" y="20"/>
                  </a:lnTo>
                  <a:lnTo>
                    <a:pt x="2331" y="16"/>
                  </a:lnTo>
                  <a:lnTo>
                    <a:pt x="2314" y="12"/>
                  </a:lnTo>
                  <a:lnTo>
                    <a:pt x="2298" y="8"/>
                  </a:lnTo>
                  <a:lnTo>
                    <a:pt x="2282" y="6"/>
                  </a:lnTo>
                  <a:lnTo>
                    <a:pt x="2265" y="3"/>
                  </a:lnTo>
                  <a:lnTo>
                    <a:pt x="2248" y="2"/>
                  </a:lnTo>
                  <a:lnTo>
                    <a:pt x="2232" y="1"/>
                  </a:lnTo>
                  <a:lnTo>
                    <a:pt x="2215" y="0"/>
                  </a:lnTo>
                  <a:lnTo>
                    <a:pt x="2198" y="0"/>
                  </a:lnTo>
                  <a:lnTo>
                    <a:pt x="2182" y="1"/>
                  </a:lnTo>
                  <a:lnTo>
                    <a:pt x="2164" y="2"/>
                  </a:lnTo>
                  <a:lnTo>
                    <a:pt x="2148" y="3"/>
                  </a:lnTo>
                  <a:lnTo>
                    <a:pt x="2131" y="6"/>
                  </a:lnTo>
                  <a:lnTo>
                    <a:pt x="2114" y="8"/>
                  </a:lnTo>
                  <a:lnTo>
                    <a:pt x="2098" y="12"/>
                  </a:lnTo>
                  <a:lnTo>
                    <a:pt x="2065" y="20"/>
                  </a:lnTo>
                  <a:lnTo>
                    <a:pt x="2049" y="24"/>
                  </a:lnTo>
                  <a:lnTo>
                    <a:pt x="2032" y="29"/>
                  </a:lnTo>
                  <a:lnTo>
                    <a:pt x="2016" y="35"/>
                  </a:lnTo>
                  <a:lnTo>
                    <a:pt x="2000" y="41"/>
                  </a:lnTo>
                  <a:lnTo>
                    <a:pt x="1983" y="48"/>
                  </a:lnTo>
                  <a:lnTo>
                    <a:pt x="1968" y="55"/>
                  </a:lnTo>
                  <a:lnTo>
                    <a:pt x="1937" y="70"/>
                  </a:lnTo>
                  <a:lnTo>
                    <a:pt x="1922" y="78"/>
                  </a:lnTo>
                  <a:lnTo>
                    <a:pt x="1906" y="87"/>
                  </a:lnTo>
                  <a:lnTo>
                    <a:pt x="1891" y="96"/>
                  </a:lnTo>
                  <a:lnTo>
                    <a:pt x="1877" y="106"/>
                  </a:lnTo>
                  <a:lnTo>
                    <a:pt x="1862" y="116"/>
                  </a:lnTo>
                  <a:lnTo>
                    <a:pt x="1848" y="127"/>
                  </a:lnTo>
                  <a:lnTo>
                    <a:pt x="1834" y="138"/>
                  </a:lnTo>
                  <a:lnTo>
                    <a:pt x="1821" y="150"/>
                  </a:lnTo>
                  <a:lnTo>
                    <a:pt x="1807" y="161"/>
                  </a:lnTo>
                  <a:lnTo>
                    <a:pt x="1794" y="174"/>
                  </a:lnTo>
                  <a:lnTo>
                    <a:pt x="1782" y="187"/>
                  </a:lnTo>
                  <a:lnTo>
                    <a:pt x="1770" y="200"/>
                  </a:lnTo>
                  <a:lnTo>
                    <a:pt x="1745" y="228"/>
                  </a:lnTo>
                  <a:lnTo>
                    <a:pt x="1734" y="243"/>
                  </a:lnTo>
                  <a:lnTo>
                    <a:pt x="1723" y="257"/>
                  </a:lnTo>
                  <a:lnTo>
                    <a:pt x="1713" y="273"/>
                  </a:lnTo>
                  <a:lnTo>
                    <a:pt x="1702" y="288"/>
                  </a:lnTo>
                  <a:lnTo>
                    <a:pt x="1593" y="463"/>
                  </a:lnTo>
                  <a:lnTo>
                    <a:pt x="1440" y="712"/>
                  </a:lnTo>
                  <a:lnTo>
                    <a:pt x="1258" y="1004"/>
                  </a:lnTo>
                  <a:lnTo>
                    <a:pt x="1162" y="1157"/>
                  </a:lnTo>
                  <a:lnTo>
                    <a:pt x="1066" y="1311"/>
                  </a:lnTo>
                  <a:lnTo>
                    <a:pt x="1713" y="1718"/>
                  </a:lnTo>
                  <a:lnTo>
                    <a:pt x="2177" y="986"/>
                  </a:lnTo>
                  <a:lnTo>
                    <a:pt x="2183" y="9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3B4245"/>
                </a:solidFill>
                <a:effectLst/>
                <a:uLnTx/>
                <a:uFillTx/>
                <a:latin typeface="Arial"/>
                <a:ea typeface="+mn-ea"/>
                <a:cs typeface="+mn-cs"/>
              </a:endParaRPr>
            </a:p>
          </p:txBody>
        </p:sp>
      </p:grpSp>
      <p:sp>
        <p:nvSpPr>
          <p:cNvPr id="45" name="Freeform 9">
            <a:hlinkClick r:id="rId6" action="ppaction://hlinksldjump"/>
            <a:extLst>
              <a:ext uri="{FF2B5EF4-FFF2-40B4-BE49-F238E27FC236}">
                <a16:creationId xmlns:a16="http://schemas.microsoft.com/office/drawing/2014/main" id="{B53713DC-06BA-4F6B-B0CE-C4180ACFF434}"/>
              </a:ext>
            </a:extLst>
          </p:cNvPr>
          <p:cNvSpPr>
            <a:spLocks noChangeAspect="1" noEditPoints="1"/>
          </p:cNvSpPr>
          <p:nvPr/>
        </p:nvSpPr>
        <p:spPr bwMode="auto">
          <a:xfrm rot="10800000" flipV="1">
            <a:off x="191181" y="90916"/>
            <a:ext cx="108000" cy="108000"/>
          </a:xfrm>
          <a:custGeom>
            <a:avLst/>
            <a:gdLst>
              <a:gd name="T0" fmla="*/ 1082 w 2142"/>
              <a:gd name="T1" fmla="*/ 1607 h 2142"/>
              <a:gd name="T2" fmla="*/ 990 w 2142"/>
              <a:gd name="T3" fmla="*/ 1578 h 2142"/>
              <a:gd name="T4" fmla="*/ 494 w 2142"/>
              <a:gd name="T5" fmla="*/ 1025 h 2142"/>
              <a:gd name="T6" fmla="*/ 999 w 2142"/>
              <a:gd name="T7" fmla="*/ 1002 h 2142"/>
              <a:gd name="T8" fmla="*/ 1060 w 2142"/>
              <a:gd name="T9" fmla="*/ 534 h 2142"/>
              <a:gd name="T10" fmla="*/ 1153 w 2142"/>
              <a:gd name="T11" fmla="*/ 564 h 2142"/>
              <a:gd name="T12" fmla="*/ 1666 w 2142"/>
              <a:gd name="T13" fmla="*/ 1064 h 2142"/>
              <a:gd name="T14" fmla="*/ 1641 w 2142"/>
              <a:gd name="T15" fmla="*/ 1124 h 2142"/>
              <a:gd name="T16" fmla="*/ 539 w 2142"/>
              <a:gd name="T17" fmla="*/ 1140 h 2142"/>
              <a:gd name="T18" fmla="*/ 488 w 2142"/>
              <a:gd name="T19" fmla="*/ 1109 h 2142"/>
              <a:gd name="T20" fmla="*/ 988 w 2142"/>
              <a:gd name="T21" fmla="*/ 2139 h 2142"/>
              <a:gd name="T22" fmla="*/ 728 w 2142"/>
              <a:gd name="T23" fmla="*/ 2086 h 2142"/>
              <a:gd name="T24" fmla="*/ 494 w 2142"/>
              <a:gd name="T25" fmla="*/ 1973 h 2142"/>
              <a:gd name="T26" fmla="*/ 296 w 2142"/>
              <a:gd name="T27" fmla="*/ 1810 h 2142"/>
              <a:gd name="T28" fmla="*/ 142 w 2142"/>
              <a:gd name="T29" fmla="*/ 1604 h 2142"/>
              <a:gd name="T30" fmla="*/ 41 w 2142"/>
              <a:gd name="T31" fmla="*/ 1364 h 2142"/>
              <a:gd name="T32" fmla="*/ 0 w 2142"/>
              <a:gd name="T33" fmla="*/ 1098 h 2142"/>
              <a:gd name="T34" fmla="*/ 27 w 2142"/>
              <a:gd name="T35" fmla="*/ 829 h 2142"/>
              <a:gd name="T36" fmla="*/ 117 w 2142"/>
              <a:gd name="T37" fmla="*/ 584 h 2142"/>
              <a:gd name="T38" fmla="*/ 261 w 2142"/>
              <a:gd name="T39" fmla="*/ 370 h 2142"/>
              <a:gd name="T40" fmla="*/ 452 w 2142"/>
              <a:gd name="T41" fmla="*/ 198 h 2142"/>
              <a:gd name="T42" fmla="*/ 679 w 2142"/>
              <a:gd name="T43" fmla="*/ 74 h 2142"/>
              <a:gd name="T44" fmla="*/ 936 w 2142"/>
              <a:gd name="T45" fmla="*/ 8 h 2142"/>
              <a:gd name="T46" fmla="*/ 1208 w 2142"/>
              <a:gd name="T47" fmla="*/ 8 h 2142"/>
              <a:gd name="T48" fmla="*/ 1463 w 2142"/>
              <a:gd name="T49" fmla="*/ 74 h 2142"/>
              <a:gd name="T50" fmla="*/ 1691 w 2142"/>
              <a:gd name="T51" fmla="*/ 198 h 2142"/>
              <a:gd name="T52" fmla="*/ 1881 w 2142"/>
              <a:gd name="T53" fmla="*/ 370 h 2142"/>
              <a:gd name="T54" fmla="*/ 2025 w 2142"/>
              <a:gd name="T55" fmla="*/ 584 h 2142"/>
              <a:gd name="T56" fmla="*/ 2115 w 2142"/>
              <a:gd name="T57" fmla="*/ 829 h 2142"/>
              <a:gd name="T58" fmla="*/ 2142 w 2142"/>
              <a:gd name="T59" fmla="*/ 1098 h 2142"/>
              <a:gd name="T60" fmla="*/ 2101 w 2142"/>
              <a:gd name="T61" fmla="*/ 1364 h 2142"/>
              <a:gd name="T62" fmla="*/ 2000 w 2142"/>
              <a:gd name="T63" fmla="*/ 1604 h 2142"/>
              <a:gd name="T64" fmla="*/ 1846 w 2142"/>
              <a:gd name="T65" fmla="*/ 1810 h 2142"/>
              <a:gd name="T66" fmla="*/ 1648 w 2142"/>
              <a:gd name="T67" fmla="*/ 1973 h 2142"/>
              <a:gd name="T68" fmla="*/ 1414 w 2142"/>
              <a:gd name="T69" fmla="*/ 2086 h 2142"/>
              <a:gd name="T70" fmla="*/ 1154 w 2142"/>
              <a:gd name="T71" fmla="*/ 2139 h 2142"/>
              <a:gd name="T72" fmla="*/ 924 w 2142"/>
              <a:gd name="T73" fmla="*/ 113 h 2142"/>
              <a:gd name="T74" fmla="*/ 695 w 2142"/>
              <a:gd name="T75" fmla="*/ 179 h 2142"/>
              <a:gd name="T76" fmla="*/ 492 w 2142"/>
              <a:gd name="T77" fmla="*/ 296 h 2142"/>
              <a:gd name="T78" fmla="*/ 324 w 2142"/>
              <a:gd name="T79" fmla="*/ 456 h 2142"/>
              <a:gd name="T80" fmla="*/ 200 w 2142"/>
              <a:gd name="T81" fmla="*/ 652 h 2142"/>
              <a:gd name="T82" fmla="*/ 123 w 2142"/>
              <a:gd name="T83" fmla="*/ 876 h 2142"/>
              <a:gd name="T84" fmla="*/ 105 w 2142"/>
              <a:gd name="T85" fmla="*/ 1121 h 2142"/>
              <a:gd name="T86" fmla="*/ 147 w 2142"/>
              <a:gd name="T87" fmla="*/ 1358 h 2142"/>
              <a:gd name="T88" fmla="*/ 243 w 2142"/>
              <a:gd name="T89" fmla="*/ 1572 h 2142"/>
              <a:gd name="T90" fmla="*/ 388 w 2142"/>
              <a:gd name="T91" fmla="*/ 1755 h 2142"/>
              <a:gd name="T92" fmla="*/ 570 w 2142"/>
              <a:gd name="T93" fmla="*/ 1899 h 2142"/>
              <a:gd name="T94" fmla="*/ 784 w 2142"/>
              <a:gd name="T95" fmla="*/ 1996 h 2142"/>
              <a:gd name="T96" fmla="*/ 1021 w 2142"/>
              <a:gd name="T97" fmla="*/ 2037 h 2142"/>
              <a:gd name="T98" fmla="*/ 1266 w 2142"/>
              <a:gd name="T99" fmla="*/ 2019 h 2142"/>
              <a:gd name="T100" fmla="*/ 1490 w 2142"/>
              <a:gd name="T101" fmla="*/ 1943 h 2142"/>
              <a:gd name="T102" fmla="*/ 1686 w 2142"/>
              <a:gd name="T103" fmla="*/ 1818 h 2142"/>
              <a:gd name="T104" fmla="*/ 1846 w 2142"/>
              <a:gd name="T105" fmla="*/ 1650 h 2142"/>
              <a:gd name="T106" fmla="*/ 1963 w 2142"/>
              <a:gd name="T107" fmla="*/ 1447 h 2142"/>
              <a:gd name="T108" fmla="*/ 2028 w 2142"/>
              <a:gd name="T109" fmla="*/ 1218 h 2142"/>
              <a:gd name="T110" fmla="*/ 2034 w 2142"/>
              <a:gd name="T111" fmla="*/ 972 h 2142"/>
              <a:gd name="T112" fmla="*/ 1980 w 2142"/>
              <a:gd name="T113" fmla="*/ 738 h 2142"/>
              <a:gd name="T114" fmla="*/ 1873 w 2142"/>
              <a:gd name="T115" fmla="*/ 530 h 2142"/>
              <a:gd name="T116" fmla="*/ 1721 w 2142"/>
              <a:gd name="T117" fmla="*/ 354 h 2142"/>
              <a:gd name="T118" fmla="*/ 1532 w 2142"/>
              <a:gd name="T119" fmla="*/ 219 h 2142"/>
              <a:gd name="T120" fmla="*/ 1313 w 2142"/>
              <a:gd name="T121" fmla="*/ 134 h 2142"/>
              <a:gd name="T122" fmla="*/ 1072 w 2142"/>
              <a:gd name="T123" fmla="*/ 103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2" h="2142">
                <a:moveTo>
                  <a:pt x="1372" y="1210"/>
                </a:moveTo>
                <a:lnTo>
                  <a:pt x="1565" y="1210"/>
                </a:lnTo>
                <a:lnTo>
                  <a:pt x="1153" y="1578"/>
                </a:lnTo>
                <a:lnTo>
                  <a:pt x="1144" y="1585"/>
                </a:lnTo>
                <a:lnTo>
                  <a:pt x="1135" y="1590"/>
                </a:lnTo>
                <a:lnTo>
                  <a:pt x="1125" y="1596"/>
                </a:lnTo>
                <a:lnTo>
                  <a:pt x="1114" y="1601"/>
                </a:lnTo>
                <a:lnTo>
                  <a:pt x="1104" y="1604"/>
                </a:lnTo>
                <a:lnTo>
                  <a:pt x="1093" y="1606"/>
                </a:lnTo>
                <a:lnTo>
                  <a:pt x="1082" y="1607"/>
                </a:lnTo>
                <a:lnTo>
                  <a:pt x="1072" y="1608"/>
                </a:lnTo>
                <a:lnTo>
                  <a:pt x="1060" y="1607"/>
                </a:lnTo>
                <a:lnTo>
                  <a:pt x="1049" y="1606"/>
                </a:lnTo>
                <a:lnTo>
                  <a:pt x="1039" y="1604"/>
                </a:lnTo>
                <a:lnTo>
                  <a:pt x="1033" y="1603"/>
                </a:lnTo>
                <a:lnTo>
                  <a:pt x="1028" y="1601"/>
                </a:lnTo>
                <a:lnTo>
                  <a:pt x="1018" y="1596"/>
                </a:lnTo>
                <a:lnTo>
                  <a:pt x="1009" y="1590"/>
                </a:lnTo>
                <a:lnTo>
                  <a:pt x="999" y="1585"/>
                </a:lnTo>
                <a:lnTo>
                  <a:pt x="990" y="1578"/>
                </a:lnTo>
                <a:lnTo>
                  <a:pt x="975" y="1564"/>
                </a:lnTo>
                <a:lnTo>
                  <a:pt x="1372" y="1210"/>
                </a:lnTo>
                <a:close/>
                <a:moveTo>
                  <a:pt x="476" y="1070"/>
                </a:moveTo>
                <a:lnTo>
                  <a:pt x="478" y="1064"/>
                </a:lnTo>
                <a:lnTo>
                  <a:pt x="479" y="1056"/>
                </a:lnTo>
                <a:lnTo>
                  <a:pt x="481" y="1049"/>
                </a:lnTo>
                <a:lnTo>
                  <a:pt x="484" y="1042"/>
                </a:lnTo>
                <a:lnTo>
                  <a:pt x="487" y="1035"/>
                </a:lnTo>
                <a:lnTo>
                  <a:pt x="491" y="1030"/>
                </a:lnTo>
                <a:lnTo>
                  <a:pt x="494" y="1025"/>
                </a:lnTo>
                <a:lnTo>
                  <a:pt x="499" y="1020"/>
                </a:lnTo>
                <a:lnTo>
                  <a:pt x="505" y="1016"/>
                </a:lnTo>
                <a:lnTo>
                  <a:pt x="509" y="1012"/>
                </a:lnTo>
                <a:lnTo>
                  <a:pt x="515" y="1008"/>
                </a:lnTo>
                <a:lnTo>
                  <a:pt x="520" y="1006"/>
                </a:lnTo>
                <a:lnTo>
                  <a:pt x="527" y="1004"/>
                </a:lnTo>
                <a:lnTo>
                  <a:pt x="533" y="1003"/>
                </a:lnTo>
                <a:lnTo>
                  <a:pt x="539" y="1002"/>
                </a:lnTo>
                <a:lnTo>
                  <a:pt x="546" y="1002"/>
                </a:lnTo>
                <a:lnTo>
                  <a:pt x="999" y="1002"/>
                </a:lnTo>
                <a:lnTo>
                  <a:pt x="1451" y="1002"/>
                </a:lnTo>
                <a:lnTo>
                  <a:pt x="975" y="577"/>
                </a:lnTo>
                <a:lnTo>
                  <a:pt x="990" y="564"/>
                </a:lnTo>
                <a:lnTo>
                  <a:pt x="999" y="557"/>
                </a:lnTo>
                <a:lnTo>
                  <a:pt x="1009" y="550"/>
                </a:lnTo>
                <a:lnTo>
                  <a:pt x="1018" y="546"/>
                </a:lnTo>
                <a:lnTo>
                  <a:pt x="1028" y="541"/>
                </a:lnTo>
                <a:lnTo>
                  <a:pt x="1039" y="538"/>
                </a:lnTo>
                <a:lnTo>
                  <a:pt x="1049" y="536"/>
                </a:lnTo>
                <a:lnTo>
                  <a:pt x="1060" y="534"/>
                </a:lnTo>
                <a:lnTo>
                  <a:pt x="1072" y="533"/>
                </a:lnTo>
                <a:lnTo>
                  <a:pt x="1082" y="534"/>
                </a:lnTo>
                <a:lnTo>
                  <a:pt x="1093" y="536"/>
                </a:lnTo>
                <a:lnTo>
                  <a:pt x="1104" y="538"/>
                </a:lnTo>
                <a:lnTo>
                  <a:pt x="1109" y="539"/>
                </a:lnTo>
                <a:lnTo>
                  <a:pt x="1114" y="541"/>
                </a:lnTo>
                <a:lnTo>
                  <a:pt x="1125" y="546"/>
                </a:lnTo>
                <a:lnTo>
                  <a:pt x="1135" y="550"/>
                </a:lnTo>
                <a:lnTo>
                  <a:pt x="1144" y="557"/>
                </a:lnTo>
                <a:lnTo>
                  <a:pt x="1153" y="564"/>
                </a:lnTo>
                <a:lnTo>
                  <a:pt x="1629" y="988"/>
                </a:lnTo>
                <a:lnTo>
                  <a:pt x="1637" y="996"/>
                </a:lnTo>
                <a:lnTo>
                  <a:pt x="1643" y="1004"/>
                </a:lnTo>
                <a:lnTo>
                  <a:pt x="1650" y="1013"/>
                </a:lnTo>
                <a:lnTo>
                  <a:pt x="1655" y="1023"/>
                </a:lnTo>
                <a:lnTo>
                  <a:pt x="1657" y="1028"/>
                </a:lnTo>
                <a:lnTo>
                  <a:pt x="1659" y="1032"/>
                </a:lnTo>
                <a:lnTo>
                  <a:pt x="1662" y="1042"/>
                </a:lnTo>
                <a:lnTo>
                  <a:pt x="1665" y="1053"/>
                </a:lnTo>
                <a:lnTo>
                  <a:pt x="1666" y="1064"/>
                </a:lnTo>
                <a:lnTo>
                  <a:pt x="1666" y="1071"/>
                </a:lnTo>
                <a:lnTo>
                  <a:pt x="1665" y="1080"/>
                </a:lnTo>
                <a:lnTo>
                  <a:pt x="1664" y="1087"/>
                </a:lnTo>
                <a:lnTo>
                  <a:pt x="1661" y="1095"/>
                </a:lnTo>
                <a:lnTo>
                  <a:pt x="1658" y="1102"/>
                </a:lnTo>
                <a:lnTo>
                  <a:pt x="1655" y="1109"/>
                </a:lnTo>
                <a:lnTo>
                  <a:pt x="1650" y="1114"/>
                </a:lnTo>
                <a:lnTo>
                  <a:pt x="1646" y="1120"/>
                </a:lnTo>
                <a:lnTo>
                  <a:pt x="1643" y="1122"/>
                </a:lnTo>
                <a:lnTo>
                  <a:pt x="1641" y="1124"/>
                </a:lnTo>
                <a:lnTo>
                  <a:pt x="1635" y="1129"/>
                </a:lnTo>
                <a:lnTo>
                  <a:pt x="1630" y="1132"/>
                </a:lnTo>
                <a:lnTo>
                  <a:pt x="1624" y="1136"/>
                </a:lnTo>
                <a:lnTo>
                  <a:pt x="1617" y="1138"/>
                </a:lnTo>
                <a:lnTo>
                  <a:pt x="1611" y="1139"/>
                </a:lnTo>
                <a:lnTo>
                  <a:pt x="1604" y="1140"/>
                </a:lnTo>
                <a:lnTo>
                  <a:pt x="1596" y="1141"/>
                </a:lnTo>
                <a:lnTo>
                  <a:pt x="1071" y="1141"/>
                </a:lnTo>
                <a:lnTo>
                  <a:pt x="546" y="1141"/>
                </a:lnTo>
                <a:lnTo>
                  <a:pt x="539" y="1140"/>
                </a:lnTo>
                <a:lnTo>
                  <a:pt x="533" y="1139"/>
                </a:lnTo>
                <a:lnTo>
                  <a:pt x="527" y="1138"/>
                </a:lnTo>
                <a:lnTo>
                  <a:pt x="520" y="1136"/>
                </a:lnTo>
                <a:lnTo>
                  <a:pt x="515" y="1133"/>
                </a:lnTo>
                <a:lnTo>
                  <a:pt x="509" y="1130"/>
                </a:lnTo>
                <a:lnTo>
                  <a:pt x="505" y="1127"/>
                </a:lnTo>
                <a:lnTo>
                  <a:pt x="499" y="1122"/>
                </a:lnTo>
                <a:lnTo>
                  <a:pt x="494" y="1118"/>
                </a:lnTo>
                <a:lnTo>
                  <a:pt x="491" y="1113"/>
                </a:lnTo>
                <a:lnTo>
                  <a:pt x="488" y="1109"/>
                </a:lnTo>
                <a:lnTo>
                  <a:pt x="484" y="1103"/>
                </a:lnTo>
                <a:lnTo>
                  <a:pt x="481" y="1097"/>
                </a:lnTo>
                <a:lnTo>
                  <a:pt x="480" y="1091"/>
                </a:lnTo>
                <a:lnTo>
                  <a:pt x="478" y="1085"/>
                </a:lnTo>
                <a:lnTo>
                  <a:pt x="476" y="1078"/>
                </a:lnTo>
                <a:lnTo>
                  <a:pt x="476" y="1070"/>
                </a:lnTo>
                <a:close/>
                <a:moveTo>
                  <a:pt x="1072" y="2142"/>
                </a:moveTo>
                <a:lnTo>
                  <a:pt x="1044" y="2142"/>
                </a:lnTo>
                <a:lnTo>
                  <a:pt x="1017" y="2141"/>
                </a:lnTo>
                <a:lnTo>
                  <a:pt x="988" y="2139"/>
                </a:lnTo>
                <a:lnTo>
                  <a:pt x="961" y="2136"/>
                </a:lnTo>
                <a:lnTo>
                  <a:pt x="936" y="2133"/>
                </a:lnTo>
                <a:lnTo>
                  <a:pt x="909" y="2130"/>
                </a:lnTo>
                <a:lnTo>
                  <a:pt x="882" y="2125"/>
                </a:lnTo>
                <a:lnTo>
                  <a:pt x="856" y="2121"/>
                </a:lnTo>
                <a:lnTo>
                  <a:pt x="830" y="2115"/>
                </a:lnTo>
                <a:lnTo>
                  <a:pt x="804" y="2108"/>
                </a:lnTo>
                <a:lnTo>
                  <a:pt x="778" y="2101"/>
                </a:lnTo>
                <a:lnTo>
                  <a:pt x="753" y="2094"/>
                </a:lnTo>
                <a:lnTo>
                  <a:pt x="728" y="2086"/>
                </a:lnTo>
                <a:lnTo>
                  <a:pt x="704" y="2077"/>
                </a:lnTo>
                <a:lnTo>
                  <a:pt x="679" y="2068"/>
                </a:lnTo>
                <a:lnTo>
                  <a:pt x="654" y="2058"/>
                </a:lnTo>
                <a:lnTo>
                  <a:pt x="631" y="2047"/>
                </a:lnTo>
                <a:lnTo>
                  <a:pt x="607" y="2036"/>
                </a:lnTo>
                <a:lnTo>
                  <a:pt x="584" y="2025"/>
                </a:lnTo>
                <a:lnTo>
                  <a:pt x="561" y="2013"/>
                </a:lnTo>
                <a:lnTo>
                  <a:pt x="538" y="2000"/>
                </a:lnTo>
                <a:lnTo>
                  <a:pt x="516" y="1987"/>
                </a:lnTo>
                <a:lnTo>
                  <a:pt x="494" y="1973"/>
                </a:lnTo>
                <a:lnTo>
                  <a:pt x="473" y="1959"/>
                </a:lnTo>
                <a:lnTo>
                  <a:pt x="452" y="1944"/>
                </a:lnTo>
                <a:lnTo>
                  <a:pt x="431" y="1929"/>
                </a:lnTo>
                <a:lnTo>
                  <a:pt x="410" y="1913"/>
                </a:lnTo>
                <a:lnTo>
                  <a:pt x="391" y="1898"/>
                </a:lnTo>
                <a:lnTo>
                  <a:pt x="371" y="1881"/>
                </a:lnTo>
                <a:lnTo>
                  <a:pt x="351" y="1864"/>
                </a:lnTo>
                <a:lnTo>
                  <a:pt x="332" y="1846"/>
                </a:lnTo>
                <a:lnTo>
                  <a:pt x="314" y="1828"/>
                </a:lnTo>
                <a:lnTo>
                  <a:pt x="296" y="1810"/>
                </a:lnTo>
                <a:lnTo>
                  <a:pt x="278" y="1791"/>
                </a:lnTo>
                <a:lnTo>
                  <a:pt x="261" y="1772"/>
                </a:lnTo>
                <a:lnTo>
                  <a:pt x="245" y="1751"/>
                </a:lnTo>
                <a:lnTo>
                  <a:pt x="229" y="1732"/>
                </a:lnTo>
                <a:lnTo>
                  <a:pt x="213" y="1712"/>
                </a:lnTo>
                <a:lnTo>
                  <a:pt x="198" y="1691"/>
                </a:lnTo>
                <a:lnTo>
                  <a:pt x="184" y="1669"/>
                </a:lnTo>
                <a:lnTo>
                  <a:pt x="169" y="1648"/>
                </a:lnTo>
                <a:lnTo>
                  <a:pt x="156" y="1626"/>
                </a:lnTo>
                <a:lnTo>
                  <a:pt x="142" y="1604"/>
                </a:lnTo>
                <a:lnTo>
                  <a:pt x="130" y="1581"/>
                </a:lnTo>
                <a:lnTo>
                  <a:pt x="117" y="1558"/>
                </a:lnTo>
                <a:lnTo>
                  <a:pt x="106" y="1535"/>
                </a:lnTo>
                <a:lnTo>
                  <a:pt x="95" y="1512"/>
                </a:lnTo>
                <a:lnTo>
                  <a:pt x="85" y="1488"/>
                </a:lnTo>
                <a:lnTo>
                  <a:pt x="75" y="1463"/>
                </a:lnTo>
                <a:lnTo>
                  <a:pt x="66" y="1438"/>
                </a:lnTo>
                <a:lnTo>
                  <a:pt x="57" y="1414"/>
                </a:lnTo>
                <a:lnTo>
                  <a:pt x="49" y="1389"/>
                </a:lnTo>
                <a:lnTo>
                  <a:pt x="41" y="1364"/>
                </a:lnTo>
                <a:lnTo>
                  <a:pt x="34" y="1338"/>
                </a:lnTo>
                <a:lnTo>
                  <a:pt x="27" y="1312"/>
                </a:lnTo>
                <a:lnTo>
                  <a:pt x="22" y="1286"/>
                </a:lnTo>
                <a:lnTo>
                  <a:pt x="17" y="1261"/>
                </a:lnTo>
                <a:lnTo>
                  <a:pt x="13" y="1234"/>
                </a:lnTo>
                <a:lnTo>
                  <a:pt x="9" y="1208"/>
                </a:lnTo>
                <a:lnTo>
                  <a:pt x="6" y="1181"/>
                </a:lnTo>
                <a:lnTo>
                  <a:pt x="4" y="1154"/>
                </a:lnTo>
                <a:lnTo>
                  <a:pt x="2" y="1125"/>
                </a:lnTo>
                <a:lnTo>
                  <a:pt x="0" y="1098"/>
                </a:lnTo>
                <a:lnTo>
                  <a:pt x="0" y="1070"/>
                </a:lnTo>
                <a:lnTo>
                  <a:pt x="0" y="1043"/>
                </a:lnTo>
                <a:lnTo>
                  <a:pt x="2" y="1016"/>
                </a:lnTo>
                <a:lnTo>
                  <a:pt x="4" y="988"/>
                </a:lnTo>
                <a:lnTo>
                  <a:pt x="6" y="961"/>
                </a:lnTo>
                <a:lnTo>
                  <a:pt x="9" y="934"/>
                </a:lnTo>
                <a:lnTo>
                  <a:pt x="13" y="908"/>
                </a:lnTo>
                <a:lnTo>
                  <a:pt x="17" y="881"/>
                </a:lnTo>
                <a:lnTo>
                  <a:pt x="22" y="855"/>
                </a:lnTo>
                <a:lnTo>
                  <a:pt x="27" y="829"/>
                </a:lnTo>
                <a:lnTo>
                  <a:pt x="34" y="803"/>
                </a:lnTo>
                <a:lnTo>
                  <a:pt x="41" y="778"/>
                </a:lnTo>
                <a:lnTo>
                  <a:pt x="49" y="753"/>
                </a:lnTo>
                <a:lnTo>
                  <a:pt x="57" y="728"/>
                </a:lnTo>
                <a:lnTo>
                  <a:pt x="66" y="703"/>
                </a:lnTo>
                <a:lnTo>
                  <a:pt x="75" y="679"/>
                </a:lnTo>
                <a:lnTo>
                  <a:pt x="85" y="654"/>
                </a:lnTo>
                <a:lnTo>
                  <a:pt x="95" y="630"/>
                </a:lnTo>
                <a:lnTo>
                  <a:pt x="106" y="606"/>
                </a:lnTo>
                <a:lnTo>
                  <a:pt x="117" y="584"/>
                </a:lnTo>
                <a:lnTo>
                  <a:pt x="130" y="560"/>
                </a:lnTo>
                <a:lnTo>
                  <a:pt x="142" y="538"/>
                </a:lnTo>
                <a:lnTo>
                  <a:pt x="156" y="515"/>
                </a:lnTo>
                <a:lnTo>
                  <a:pt x="169" y="494"/>
                </a:lnTo>
                <a:lnTo>
                  <a:pt x="184" y="473"/>
                </a:lnTo>
                <a:lnTo>
                  <a:pt x="198" y="451"/>
                </a:lnTo>
                <a:lnTo>
                  <a:pt x="213" y="430"/>
                </a:lnTo>
                <a:lnTo>
                  <a:pt x="229" y="409"/>
                </a:lnTo>
                <a:lnTo>
                  <a:pt x="245" y="389"/>
                </a:lnTo>
                <a:lnTo>
                  <a:pt x="261" y="370"/>
                </a:lnTo>
                <a:lnTo>
                  <a:pt x="278" y="351"/>
                </a:lnTo>
                <a:lnTo>
                  <a:pt x="296" y="332"/>
                </a:lnTo>
                <a:lnTo>
                  <a:pt x="314" y="314"/>
                </a:lnTo>
                <a:lnTo>
                  <a:pt x="332" y="296"/>
                </a:lnTo>
                <a:lnTo>
                  <a:pt x="351" y="278"/>
                </a:lnTo>
                <a:lnTo>
                  <a:pt x="371" y="261"/>
                </a:lnTo>
                <a:lnTo>
                  <a:pt x="391" y="244"/>
                </a:lnTo>
                <a:lnTo>
                  <a:pt x="410" y="228"/>
                </a:lnTo>
                <a:lnTo>
                  <a:pt x="431" y="212"/>
                </a:lnTo>
                <a:lnTo>
                  <a:pt x="452" y="198"/>
                </a:lnTo>
                <a:lnTo>
                  <a:pt x="473" y="183"/>
                </a:lnTo>
                <a:lnTo>
                  <a:pt x="494" y="169"/>
                </a:lnTo>
                <a:lnTo>
                  <a:pt x="516" y="155"/>
                </a:lnTo>
                <a:lnTo>
                  <a:pt x="538" y="142"/>
                </a:lnTo>
                <a:lnTo>
                  <a:pt x="561" y="129"/>
                </a:lnTo>
                <a:lnTo>
                  <a:pt x="584" y="117"/>
                </a:lnTo>
                <a:lnTo>
                  <a:pt x="607" y="106"/>
                </a:lnTo>
                <a:lnTo>
                  <a:pt x="631" y="94"/>
                </a:lnTo>
                <a:lnTo>
                  <a:pt x="654" y="84"/>
                </a:lnTo>
                <a:lnTo>
                  <a:pt x="679" y="74"/>
                </a:lnTo>
                <a:lnTo>
                  <a:pt x="704" y="65"/>
                </a:lnTo>
                <a:lnTo>
                  <a:pt x="728" y="56"/>
                </a:lnTo>
                <a:lnTo>
                  <a:pt x="753" y="48"/>
                </a:lnTo>
                <a:lnTo>
                  <a:pt x="778" y="40"/>
                </a:lnTo>
                <a:lnTo>
                  <a:pt x="804" y="33"/>
                </a:lnTo>
                <a:lnTo>
                  <a:pt x="830" y="27"/>
                </a:lnTo>
                <a:lnTo>
                  <a:pt x="856" y="21"/>
                </a:lnTo>
                <a:lnTo>
                  <a:pt x="882" y="17"/>
                </a:lnTo>
                <a:lnTo>
                  <a:pt x="909" y="12"/>
                </a:lnTo>
                <a:lnTo>
                  <a:pt x="936" y="8"/>
                </a:lnTo>
                <a:lnTo>
                  <a:pt x="961" y="5"/>
                </a:lnTo>
                <a:lnTo>
                  <a:pt x="988" y="3"/>
                </a:lnTo>
                <a:lnTo>
                  <a:pt x="1017" y="1"/>
                </a:lnTo>
                <a:lnTo>
                  <a:pt x="1044" y="0"/>
                </a:lnTo>
                <a:lnTo>
                  <a:pt x="1072" y="0"/>
                </a:lnTo>
                <a:lnTo>
                  <a:pt x="1099" y="0"/>
                </a:lnTo>
                <a:lnTo>
                  <a:pt x="1126" y="1"/>
                </a:lnTo>
                <a:lnTo>
                  <a:pt x="1154" y="3"/>
                </a:lnTo>
                <a:lnTo>
                  <a:pt x="1181" y="5"/>
                </a:lnTo>
                <a:lnTo>
                  <a:pt x="1208" y="8"/>
                </a:lnTo>
                <a:lnTo>
                  <a:pt x="1234" y="12"/>
                </a:lnTo>
                <a:lnTo>
                  <a:pt x="1261" y="17"/>
                </a:lnTo>
                <a:lnTo>
                  <a:pt x="1287" y="21"/>
                </a:lnTo>
                <a:lnTo>
                  <a:pt x="1313" y="27"/>
                </a:lnTo>
                <a:lnTo>
                  <a:pt x="1338" y="33"/>
                </a:lnTo>
                <a:lnTo>
                  <a:pt x="1364" y="40"/>
                </a:lnTo>
                <a:lnTo>
                  <a:pt x="1389" y="48"/>
                </a:lnTo>
                <a:lnTo>
                  <a:pt x="1414" y="56"/>
                </a:lnTo>
                <a:lnTo>
                  <a:pt x="1439" y="65"/>
                </a:lnTo>
                <a:lnTo>
                  <a:pt x="1463" y="74"/>
                </a:lnTo>
                <a:lnTo>
                  <a:pt x="1488" y="84"/>
                </a:lnTo>
                <a:lnTo>
                  <a:pt x="1512" y="94"/>
                </a:lnTo>
                <a:lnTo>
                  <a:pt x="1535" y="106"/>
                </a:lnTo>
                <a:lnTo>
                  <a:pt x="1558" y="117"/>
                </a:lnTo>
                <a:lnTo>
                  <a:pt x="1581" y="129"/>
                </a:lnTo>
                <a:lnTo>
                  <a:pt x="1604" y="142"/>
                </a:lnTo>
                <a:lnTo>
                  <a:pt x="1626" y="155"/>
                </a:lnTo>
                <a:lnTo>
                  <a:pt x="1648" y="169"/>
                </a:lnTo>
                <a:lnTo>
                  <a:pt x="1669" y="183"/>
                </a:lnTo>
                <a:lnTo>
                  <a:pt x="1691" y="198"/>
                </a:lnTo>
                <a:lnTo>
                  <a:pt x="1712" y="212"/>
                </a:lnTo>
                <a:lnTo>
                  <a:pt x="1732" y="228"/>
                </a:lnTo>
                <a:lnTo>
                  <a:pt x="1753" y="244"/>
                </a:lnTo>
                <a:lnTo>
                  <a:pt x="1772" y="261"/>
                </a:lnTo>
                <a:lnTo>
                  <a:pt x="1791" y="278"/>
                </a:lnTo>
                <a:lnTo>
                  <a:pt x="1810" y="296"/>
                </a:lnTo>
                <a:lnTo>
                  <a:pt x="1828" y="314"/>
                </a:lnTo>
                <a:lnTo>
                  <a:pt x="1846" y="332"/>
                </a:lnTo>
                <a:lnTo>
                  <a:pt x="1864" y="351"/>
                </a:lnTo>
                <a:lnTo>
                  <a:pt x="1881" y="370"/>
                </a:lnTo>
                <a:lnTo>
                  <a:pt x="1898" y="389"/>
                </a:lnTo>
                <a:lnTo>
                  <a:pt x="1913" y="409"/>
                </a:lnTo>
                <a:lnTo>
                  <a:pt x="1929" y="430"/>
                </a:lnTo>
                <a:lnTo>
                  <a:pt x="1944" y="451"/>
                </a:lnTo>
                <a:lnTo>
                  <a:pt x="1958" y="473"/>
                </a:lnTo>
                <a:lnTo>
                  <a:pt x="1973" y="494"/>
                </a:lnTo>
                <a:lnTo>
                  <a:pt x="1987" y="515"/>
                </a:lnTo>
                <a:lnTo>
                  <a:pt x="2000" y="538"/>
                </a:lnTo>
                <a:lnTo>
                  <a:pt x="2012" y="560"/>
                </a:lnTo>
                <a:lnTo>
                  <a:pt x="2025" y="584"/>
                </a:lnTo>
                <a:lnTo>
                  <a:pt x="2036" y="606"/>
                </a:lnTo>
                <a:lnTo>
                  <a:pt x="2047" y="630"/>
                </a:lnTo>
                <a:lnTo>
                  <a:pt x="2057" y="654"/>
                </a:lnTo>
                <a:lnTo>
                  <a:pt x="2068" y="679"/>
                </a:lnTo>
                <a:lnTo>
                  <a:pt x="2077" y="703"/>
                </a:lnTo>
                <a:lnTo>
                  <a:pt x="2086" y="728"/>
                </a:lnTo>
                <a:lnTo>
                  <a:pt x="2093" y="753"/>
                </a:lnTo>
                <a:lnTo>
                  <a:pt x="2101" y="778"/>
                </a:lnTo>
                <a:lnTo>
                  <a:pt x="2108" y="803"/>
                </a:lnTo>
                <a:lnTo>
                  <a:pt x="2115" y="829"/>
                </a:lnTo>
                <a:lnTo>
                  <a:pt x="2121" y="855"/>
                </a:lnTo>
                <a:lnTo>
                  <a:pt x="2125" y="881"/>
                </a:lnTo>
                <a:lnTo>
                  <a:pt x="2130" y="908"/>
                </a:lnTo>
                <a:lnTo>
                  <a:pt x="2134" y="934"/>
                </a:lnTo>
                <a:lnTo>
                  <a:pt x="2136" y="961"/>
                </a:lnTo>
                <a:lnTo>
                  <a:pt x="2139" y="988"/>
                </a:lnTo>
                <a:lnTo>
                  <a:pt x="2141" y="1016"/>
                </a:lnTo>
                <a:lnTo>
                  <a:pt x="2142" y="1043"/>
                </a:lnTo>
                <a:lnTo>
                  <a:pt x="2142" y="1070"/>
                </a:lnTo>
                <a:lnTo>
                  <a:pt x="2142" y="1098"/>
                </a:lnTo>
                <a:lnTo>
                  <a:pt x="2141" y="1125"/>
                </a:lnTo>
                <a:lnTo>
                  <a:pt x="2139" y="1154"/>
                </a:lnTo>
                <a:lnTo>
                  <a:pt x="2136" y="1181"/>
                </a:lnTo>
                <a:lnTo>
                  <a:pt x="2134" y="1208"/>
                </a:lnTo>
                <a:lnTo>
                  <a:pt x="2130" y="1234"/>
                </a:lnTo>
                <a:lnTo>
                  <a:pt x="2125" y="1261"/>
                </a:lnTo>
                <a:lnTo>
                  <a:pt x="2121" y="1286"/>
                </a:lnTo>
                <a:lnTo>
                  <a:pt x="2115" y="1312"/>
                </a:lnTo>
                <a:lnTo>
                  <a:pt x="2108" y="1338"/>
                </a:lnTo>
                <a:lnTo>
                  <a:pt x="2101" y="1364"/>
                </a:lnTo>
                <a:lnTo>
                  <a:pt x="2093" y="1389"/>
                </a:lnTo>
                <a:lnTo>
                  <a:pt x="2086" y="1414"/>
                </a:lnTo>
                <a:lnTo>
                  <a:pt x="2077" y="1438"/>
                </a:lnTo>
                <a:lnTo>
                  <a:pt x="2068" y="1463"/>
                </a:lnTo>
                <a:lnTo>
                  <a:pt x="2057" y="1488"/>
                </a:lnTo>
                <a:lnTo>
                  <a:pt x="2047" y="1512"/>
                </a:lnTo>
                <a:lnTo>
                  <a:pt x="2036" y="1535"/>
                </a:lnTo>
                <a:lnTo>
                  <a:pt x="2025" y="1558"/>
                </a:lnTo>
                <a:lnTo>
                  <a:pt x="2012" y="1581"/>
                </a:lnTo>
                <a:lnTo>
                  <a:pt x="2000" y="1604"/>
                </a:lnTo>
                <a:lnTo>
                  <a:pt x="1987" y="1626"/>
                </a:lnTo>
                <a:lnTo>
                  <a:pt x="1973" y="1648"/>
                </a:lnTo>
                <a:lnTo>
                  <a:pt x="1958" y="1669"/>
                </a:lnTo>
                <a:lnTo>
                  <a:pt x="1944" y="1691"/>
                </a:lnTo>
                <a:lnTo>
                  <a:pt x="1929" y="1712"/>
                </a:lnTo>
                <a:lnTo>
                  <a:pt x="1913" y="1732"/>
                </a:lnTo>
                <a:lnTo>
                  <a:pt x="1898" y="1751"/>
                </a:lnTo>
                <a:lnTo>
                  <a:pt x="1881" y="1772"/>
                </a:lnTo>
                <a:lnTo>
                  <a:pt x="1864" y="1791"/>
                </a:lnTo>
                <a:lnTo>
                  <a:pt x="1846" y="1810"/>
                </a:lnTo>
                <a:lnTo>
                  <a:pt x="1828" y="1828"/>
                </a:lnTo>
                <a:lnTo>
                  <a:pt x="1810" y="1846"/>
                </a:lnTo>
                <a:lnTo>
                  <a:pt x="1791" y="1864"/>
                </a:lnTo>
                <a:lnTo>
                  <a:pt x="1772" y="1881"/>
                </a:lnTo>
                <a:lnTo>
                  <a:pt x="1753" y="1898"/>
                </a:lnTo>
                <a:lnTo>
                  <a:pt x="1732" y="1913"/>
                </a:lnTo>
                <a:lnTo>
                  <a:pt x="1712" y="1929"/>
                </a:lnTo>
                <a:lnTo>
                  <a:pt x="1691" y="1944"/>
                </a:lnTo>
                <a:lnTo>
                  <a:pt x="1669" y="1959"/>
                </a:lnTo>
                <a:lnTo>
                  <a:pt x="1648" y="1973"/>
                </a:lnTo>
                <a:lnTo>
                  <a:pt x="1626" y="1987"/>
                </a:lnTo>
                <a:lnTo>
                  <a:pt x="1604" y="2000"/>
                </a:lnTo>
                <a:lnTo>
                  <a:pt x="1581" y="2013"/>
                </a:lnTo>
                <a:lnTo>
                  <a:pt x="1558" y="2025"/>
                </a:lnTo>
                <a:lnTo>
                  <a:pt x="1535" y="2036"/>
                </a:lnTo>
                <a:lnTo>
                  <a:pt x="1512" y="2047"/>
                </a:lnTo>
                <a:lnTo>
                  <a:pt x="1488" y="2058"/>
                </a:lnTo>
                <a:lnTo>
                  <a:pt x="1463" y="2068"/>
                </a:lnTo>
                <a:lnTo>
                  <a:pt x="1439" y="2077"/>
                </a:lnTo>
                <a:lnTo>
                  <a:pt x="1414" y="2086"/>
                </a:lnTo>
                <a:lnTo>
                  <a:pt x="1389" y="2094"/>
                </a:lnTo>
                <a:lnTo>
                  <a:pt x="1364" y="2101"/>
                </a:lnTo>
                <a:lnTo>
                  <a:pt x="1338" y="2108"/>
                </a:lnTo>
                <a:lnTo>
                  <a:pt x="1313" y="2115"/>
                </a:lnTo>
                <a:lnTo>
                  <a:pt x="1287" y="2121"/>
                </a:lnTo>
                <a:lnTo>
                  <a:pt x="1261" y="2125"/>
                </a:lnTo>
                <a:lnTo>
                  <a:pt x="1234" y="2130"/>
                </a:lnTo>
                <a:lnTo>
                  <a:pt x="1208" y="2133"/>
                </a:lnTo>
                <a:lnTo>
                  <a:pt x="1181" y="2136"/>
                </a:lnTo>
                <a:lnTo>
                  <a:pt x="1154" y="2139"/>
                </a:lnTo>
                <a:lnTo>
                  <a:pt x="1126" y="2141"/>
                </a:lnTo>
                <a:lnTo>
                  <a:pt x="1099" y="2142"/>
                </a:lnTo>
                <a:lnTo>
                  <a:pt x="1072" y="2142"/>
                </a:lnTo>
                <a:close/>
                <a:moveTo>
                  <a:pt x="1072" y="103"/>
                </a:moveTo>
                <a:lnTo>
                  <a:pt x="1046" y="103"/>
                </a:lnTo>
                <a:lnTo>
                  <a:pt x="1021" y="104"/>
                </a:lnTo>
                <a:lnTo>
                  <a:pt x="997" y="106"/>
                </a:lnTo>
                <a:lnTo>
                  <a:pt x="973" y="108"/>
                </a:lnTo>
                <a:lnTo>
                  <a:pt x="948" y="110"/>
                </a:lnTo>
                <a:lnTo>
                  <a:pt x="924" y="113"/>
                </a:lnTo>
                <a:lnTo>
                  <a:pt x="901" y="118"/>
                </a:lnTo>
                <a:lnTo>
                  <a:pt x="876" y="122"/>
                </a:lnTo>
                <a:lnTo>
                  <a:pt x="853" y="128"/>
                </a:lnTo>
                <a:lnTo>
                  <a:pt x="830" y="134"/>
                </a:lnTo>
                <a:lnTo>
                  <a:pt x="806" y="139"/>
                </a:lnTo>
                <a:lnTo>
                  <a:pt x="784" y="146"/>
                </a:lnTo>
                <a:lnTo>
                  <a:pt x="761" y="154"/>
                </a:lnTo>
                <a:lnTo>
                  <a:pt x="739" y="162"/>
                </a:lnTo>
                <a:lnTo>
                  <a:pt x="717" y="170"/>
                </a:lnTo>
                <a:lnTo>
                  <a:pt x="695" y="179"/>
                </a:lnTo>
                <a:lnTo>
                  <a:pt x="673" y="189"/>
                </a:lnTo>
                <a:lnTo>
                  <a:pt x="652" y="198"/>
                </a:lnTo>
                <a:lnTo>
                  <a:pt x="631" y="209"/>
                </a:lnTo>
                <a:lnTo>
                  <a:pt x="610" y="219"/>
                </a:lnTo>
                <a:lnTo>
                  <a:pt x="590" y="232"/>
                </a:lnTo>
                <a:lnTo>
                  <a:pt x="570" y="243"/>
                </a:lnTo>
                <a:lnTo>
                  <a:pt x="550" y="255"/>
                </a:lnTo>
                <a:lnTo>
                  <a:pt x="530" y="269"/>
                </a:lnTo>
                <a:lnTo>
                  <a:pt x="511" y="281"/>
                </a:lnTo>
                <a:lnTo>
                  <a:pt x="492" y="296"/>
                </a:lnTo>
                <a:lnTo>
                  <a:pt x="474" y="309"/>
                </a:lnTo>
                <a:lnTo>
                  <a:pt x="456" y="324"/>
                </a:lnTo>
                <a:lnTo>
                  <a:pt x="438" y="340"/>
                </a:lnTo>
                <a:lnTo>
                  <a:pt x="421" y="354"/>
                </a:lnTo>
                <a:lnTo>
                  <a:pt x="404" y="370"/>
                </a:lnTo>
                <a:lnTo>
                  <a:pt x="388" y="387"/>
                </a:lnTo>
                <a:lnTo>
                  <a:pt x="371" y="403"/>
                </a:lnTo>
                <a:lnTo>
                  <a:pt x="355" y="421"/>
                </a:lnTo>
                <a:lnTo>
                  <a:pt x="340" y="438"/>
                </a:lnTo>
                <a:lnTo>
                  <a:pt x="324" y="456"/>
                </a:lnTo>
                <a:lnTo>
                  <a:pt x="310" y="474"/>
                </a:lnTo>
                <a:lnTo>
                  <a:pt x="296" y="492"/>
                </a:lnTo>
                <a:lnTo>
                  <a:pt x="283" y="511"/>
                </a:lnTo>
                <a:lnTo>
                  <a:pt x="269" y="530"/>
                </a:lnTo>
                <a:lnTo>
                  <a:pt x="256" y="549"/>
                </a:lnTo>
                <a:lnTo>
                  <a:pt x="243" y="569"/>
                </a:lnTo>
                <a:lnTo>
                  <a:pt x="232" y="590"/>
                </a:lnTo>
                <a:lnTo>
                  <a:pt x="221" y="610"/>
                </a:lnTo>
                <a:lnTo>
                  <a:pt x="210" y="630"/>
                </a:lnTo>
                <a:lnTo>
                  <a:pt x="200" y="652"/>
                </a:lnTo>
                <a:lnTo>
                  <a:pt x="189" y="673"/>
                </a:lnTo>
                <a:lnTo>
                  <a:pt x="179" y="694"/>
                </a:lnTo>
                <a:lnTo>
                  <a:pt x="170" y="716"/>
                </a:lnTo>
                <a:lnTo>
                  <a:pt x="162" y="738"/>
                </a:lnTo>
                <a:lnTo>
                  <a:pt x="155" y="761"/>
                </a:lnTo>
                <a:lnTo>
                  <a:pt x="147" y="783"/>
                </a:lnTo>
                <a:lnTo>
                  <a:pt x="140" y="806"/>
                </a:lnTo>
                <a:lnTo>
                  <a:pt x="134" y="829"/>
                </a:lnTo>
                <a:lnTo>
                  <a:pt x="129" y="853"/>
                </a:lnTo>
                <a:lnTo>
                  <a:pt x="123" y="876"/>
                </a:lnTo>
                <a:lnTo>
                  <a:pt x="119" y="899"/>
                </a:lnTo>
                <a:lnTo>
                  <a:pt x="115" y="924"/>
                </a:lnTo>
                <a:lnTo>
                  <a:pt x="112" y="948"/>
                </a:lnTo>
                <a:lnTo>
                  <a:pt x="108" y="972"/>
                </a:lnTo>
                <a:lnTo>
                  <a:pt x="106" y="996"/>
                </a:lnTo>
                <a:lnTo>
                  <a:pt x="105" y="1021"/>
                </a:lnTo>
                <a:lnTo>
                  <a:pt x="104" y="1046"/>
                </a:lnTo>
                <a:lnTo>
                  <a:pt x="104" y="1070"/>
                </a:lnTo>
                <a:lnTo>
                  <a:pt x="104" y="1096"/>
                </a:lnTo>
                <a:lnTo>
                  <a:pt x="105" y="1121"/>
                </a:lnTo>
                <a:lnTo>
                  <a:pt x="106" y="1146"/>
                </a:lnTo>
                <a:lnTo>
                  <a:pt x="108" y="1169"/>
                </a:lnTo>
                <a:lnTo>
                  <a:pt x="112" y="1194"/>
                </a:lnTo>
                <a:lnTo>
                  <a:pt x="115" y="1218"/>
                </a:lnTo>
                <a:lnTo>
                  <a:pt x="119" y="1241"/>
                </a:lnTo>
                <a:lnTo>
                  <a:pt x="123" y="1266"/>
                </a:lnTo>
                <a:lnTo>
                  <a:pt x="129" y="1289"/>
                </a:lnTo>
                <a:lnTo>
                  <a:pt x="134" y="1312"/>
                </a:lnTo>
                <a:lnTo>
                  <a:pt x="140" y="1336"/>
                </a:lnTo>
                <a:lnTo>
                  <a:pt x="147" y="1358"/>
                </a:lnTo>
                <a:lnTo>
                  <a:pt x="155" y="1381"/>
                </a:lnTo>
                <a:lnTo>
                  <a:pt x="162" y="1404"/>
                </a:lnTo>
                <a:lnTo>
                  <a:pt x="170" y="1425"/>
                </a:lnTo>
                <a:lnTo>
                  <a:pt x="179" y="1447"/>
                </a:lnTo>
                <a:lnTo>
                  <a:pt x="189" y="1469"/>
                </a:lnTo>
                <a:lnTo>
                  <a:pt x="200" y="1490"/>
                </a:lnTo>
                <a:lnTo>
                  <a:pt x="210" y="1512"/>
                </a:lnTo>
                <a:lnTo>
                  <a:pt x="221" y="1532"/>
                </a:lnTo>
                <a:lnTo>
                  <a:pt x="232" y="1552"/>
                </a:lnTo>
                <a:lnTo>
                  <a:pt x="243" y="1572"/>
                </a:lnTo>
                <a:lnTo>
                  <a:pt x="256" y="1593"/>
                </a:lnTo>
                <a:lnTo>
                  <a:pt x="269" y="1612"/>
                </a:lnTo>
                <a:lnTo>
                  <a:pt x="283" y="1631"/>
                </a:lnTo>
                <a:lnTo>
                  <a:pt x="296" y="1650"/>
                </a:lnTo>
                <a:lnTo>
                  <a:pt x="310" y="1668"/>
                </a:lnTo>
                <a:lnTo>
                  <a:pt x="324" y="1686"/>
                </a:lnTo>
                <a:lnTo>
                  <a:pt x="340" y="1704"/>
                </a:lnTo>
                <a:lnTo>
                  <a:pt x="355" y="1721"/>
                </a:lnTo>
                <a:lnTo>
                  <a:pt x="371" y="1738"/>
                </a:lnTo>
                <a:lnTo>
                  <a:pt x="388" y="1755"/>
                </a:lnTo>
                <a:lnTo>
                  <a:pt x="404" y="1772"/>
                </a:lnTo>
                <a:lnTo>
                  <a:pt x="421" y="1787"/>
                </a:lnTo>
                <a:lnTo>
                  <a:pt x="438" y="1802"/>
                </a:lnTo>
                <a:lnTo>
                  <a:pt x="456" y="1818"/>
                </a:lnTo>
                <a:lnTo>
                  <a:pt x="474" y="1832"/>
                </a:lnTo>
                <a:lnTo>
                  <a:pt x="492" y="1846"/>
                </a:lnTo>
                <a:lnTo>
                  <a:pt x="511" y="1859"/>
                </a:lnTo>
                <a:lnTo>
                  <a:pt x="530" y="1873"/>
                </a:lnTo>
                <a:lnTo>
                  <a:pt x="550" y="1886"/>
                </a:lnTo>
                <a:lnTo>
                  <a:pt x="570" y="1899"/>
                </a:lnTo>
                <a:lnTo>
                  <a:pt x="590" y="1910"/>
                </a:lnTo>
                <a:lnTo>
                  <a:pt x="610" y="1921"/>
                </a:lnTo>
                <a:lnTo>
                  <a:pt x="631" y="1933"/>
                </a:lnTo>
                <a:lnTo>
                  <a:pt x="652" y="1943"/>
                </a:lnTo>
                <a:lnTo>
                  <a:pt x="673" y="1953"/>
                </a:lnTo>
                <a:lnTo>
                  <a:pt x="695" y="1963"/>
                </a:lnTo>
                <a:lnTo>
                  <a:pt x="717" y="1972"/>
                </a:lnTo>
                <a:lnTo>
                  <a:pt x="739" y="1980"/>
                </a:lnTo>
                <a:lnTo>
                  <a:pt x="761" y="1988"/>
                </a:lnTo>
                <a:lnTo>
                  <a:pt x="784" y="1996"/>
                </a:lnTo>
                <a:lnTo>
                  <a:pt x="806" y="2002"/>
                </a:lnTo>
                <a:lnTo>
                  <a:pt x="830" y="2008"/>
                </a:lnTo>
                <a:lnTo>
                  <a:pt x="853" y="2014"/>
                </a:lnTo>
                <a:lnTo>
                  <a:pt x="876" y="2019"/>
                </a:lnTo>
                <a:lnTo>
                  <a:pt x="901" y="2024"/>
                </a:lnTo>
                <a:lnTo>
                  <a:pt x="924" y="2027"/>
                </a:lnTo>
                <a:lnTo>
                  <a:pt x="948" y="2031"/>
                </a:lnTo>
                <a:lnTo>
                  <a:pt x="973" y="2034"/>
                </a:lnTo>
                <a:lnTo>
                  <a:pt x="997" y="2036"/>
                </a:lnTo>
                <a:lnTo>
                  <a:pt x="1021" y="2037"/>
                </a:lnTo>
                <a:lnTo>
                  <a:pt x="1046" y="2038"/>
                </a:lnTo>
                <a:lnTo>
                  <a:pt x="1072" y="2038"/>
                </a:lnTo>
                <a:lnTo>
                  <a:pt x="1096" y="2038"/>
                </a:lnTo>
                <a:lnTo>
                  <a:pt x="1121" y="2037"/>
                </a:lnTo>
                <a:lnTo>
                  <a:pt x="1146" y="2036"/>
                </a:lnTo>
                <a:lnTo>
                  <a:pt x="1170" y="2034"/>
                </a:lnTo>
                <a:lnTo>
                  <a:pt x="1194" y="2031"/>
                </a:lnTo>
                <a:lnTo>
                  <a:pt x="1218" y="2027"/>
                </a:lnTo>
                <a:lnTo>
                  <a:pt x="1243" y="2024"/>
                </a:lnTo>
                <a:lnTo>
                  <a:pt x="1266" y="2019"/>
                </a:lnTo>
                <a:lnTo>
                  <a:pt x="1290" y="2014"/>
                </a:lnTo>
                <a:lnTo>
                  <a:pt x="1313" y="2008"/>
                </a:lnTo>
                <a:lnTo>
                  <a:pt x="1336" y="2002"/>
                </a:lnTo>
                <a:lnTo>
                  <a:pt x="1359" y="1996"/>
                </a:lnTo>
                <a:lnTo>
                  <a:pt x="1381" y="1988"/>
                </a:lnTo>
                <a:lnTo>
                  <a:pt x="1404" y="1980"/>
                </a:lnTo>
                <a:lnTo>
                  <a:pt x="1426" y="1972"/>
                </a:lnTo>
                <a:lnTo>
                  <a:pt x="1448" y="1963"/>
                </a:lnTo>
                <a:lnTo>
                  <a:pt x="1469" y="1953"/>
                </a:lnTo>
                <a:lnTo>
                  <a:pt x="1490" y="1943"/>
                </a:lnTo>
                <a:lnTo>
                  <a:pt x="1512" y="1933"/>
                </a:lnTo>
                <a:lnTo>
                  <a:pt x="1532" y="1921"/>
                </a:lnTo>
                <a:lnTo>
                  <a:pt x="1552" y="1910"/>
                </a:lnTo>
                <a:lnTo>
                  <a:pt x="1572" y="1899"/>
                </a:lnTo>
                <a:lnTo>
                  <a:pt x="1593" y="1886"/>
                </a:lnTo>
                <a:lnTo>
                  <a:pt x="1612" y="1873"/>
                </a:lnTo>
                <a:lnTo>
                  <a:pt x="1631" y="1859"/>
                </a:lnTo>
                <a:lnTo>
                  <a:pt x="1650" y="1846"/>
                </a:lnTo>
                <a:lnTo>
                  <a:pt x="1668" y="1832"/>
                </a:lnTo>
                <a:lnTo>
                  <a:pt x="1686" y="1818"/>
                </a:lnTo>
                <a:lnTo>
                  <a:pt x="1704" y="1802"/>
                </a:lnTo>
                <a:lnTo>
                  <a:pt x="1721" y="1787"/>
                </a:lnTo>
                <a:lnTo>
                  <a:pt x="1739" y="1772"/>
                </a:lnTo>
                <a:lnTo>
                  <a:pt x="1755" y="1755"/>
                </a:lnTo>
                <a:lnTo>
                  <a:pt x="1772" y="1738"/>
                </a:lnTo>
                <a:lnTo>
                  <a:pt x="1787" y="1721"/>
                </a:lnTo>
                <a:lnTo>
                  <a:pt x="1803" y="1704"/>
                </a:lnTo>
                <a:lnTo>
                  <a:pt x="1818" y="1686"/>
                </a:lnTo>
                <a:lnTo>
                  <a:pt x="1832" y="1668"/>
                </a:lnTo>
                <a:lnTo>
                  <a:pt x="1846" y="1650"/>
                </a:lnTo>
                <a:lnTo>
                  <a:pt x="1861" y="1631"/>
                </a:lnTo>
                <a:lnTo>
                  <a:pt x="1873" y="1612"/>
                </a:lnTo>
                <a:lnTo>
                  <a:pt x="1886" y="1593"/>
                </a:lnTo>
                <a:lnTo>
                  <a:pt x="1899" y="1572"/>
                </a:lnTo>
                <a:lnTo>
                  <a:pt x="1910" y="1552"/>
                </a:lnTo>
                <a:lnTo>
                  <a:pt x="1922" y="1532"/>
                </a:lnTo>
                <a:lnTo>
                  <a:pt x="1933" y="1512"/>
                </a:lnTo>
                <a:lnTo>
                  <a:pt x="1944" y="1490"/>
                </a:lnTo>
                <a:lnTo>
                  <a:pt x="1953" y="1469"/>
                </a:lnTo>
                <a:lnTo>
                  <a:pt x="1963" y="1447"/>
                </a:lnTo>
                <a:lnTo>
                  <a:pt x="1972" y="1425"/>
                </a:lnTo>
                <a:lnTo>
                  <a:pt x="1980" y="1404"/>
                </a:lnTo>
                <a:lnTo>
                  <a:pt x="1988" y="1381"/>
                </a:lnTo>
                <a:lnTo>
                  <a:pt x="1996" y="1358"/>
                </a:lnTo>
                <a:lnTo>
                  <a:pt x="2002" y="1336"/>
                </a:lnTo>
                <a:lnTo>
                  <a:pt x="2008" y="1312"/>
                </a:lnTo>
                <a:lnTo>
                  <a:pt x="2014" y="1289"/>
                </a:lnTo>
                <a:lnTo>
                  <a:pt x="2019" y="1266"/>
                </a:lnTo>
                <a:lnTo>
                  <a:pt x="2024" y="1241"/>
                </a:lnTo>
                <a:lnTo>
                  <a:pt x="2028" y="1218"/>
                </a:lnTo>
                <a:lnTo>
                  <a:pt x="2032" y="1194"/>
                </a:lnTo>
                <a:lnTo>
                  <a:pt x="2034" y="1169"/>
                </a:lnTo>
                <a:lnTo>
                  <a:pt x="2036" y="1146"/>
                </a:lnTo>
                <a:lnTo>
                  <a:pt x="2037" y="1121"/>
                </a:lnTo>
                <a:lnTo>
                  <a:pt x="2038" y="1096"/>
                </a:lnTo>
                <a:lnTo>
                  <a:pt x="2038" y="1070"/>
                </a:lnTo>
                <a:lnTo>
                  <a:pt x="2038" y="1046"/>
                </a:lnTo>
                <a:lnTo>
                  <a:pt x="2037" y="1021"/>
                </a:lnTo>
                <a:lnTo>
                  <a:pt x="2036" y="996"/>
                </a:lnTo>
                <a:lnTo>
                  <a:pt x="2034" y="972"/>
                </a:lnTo>
                <a:lnTo>
                  <a:pt x="2032" y="948"/>
                </a:lnTo>
                <a:lnTo>
                  <a:pt x="2028" y="924"/>
                </a:lnTo>
                <a:lnTo>
                  <a:pt x="2024" y="899"/>
                </a:lnTo>
                <a:lnTo>
                  <a:pt x="2019" y="876"/>
                </a:lnTo>
                <a:lnTo>
                  <a:pt x="2014" y="853"/>
                </a:lnTo>
                <a:lnTo>
                  <a:pt x="2008" y="829"/>
                </a:lnTo>
                <a:lnTo>
                  <a:pt x="2002" y="806"/>
                </a:lnTo>
                <a:lnTo>
                  <a:pt x="1996" y="783"/>
                </a:lnTo>
                <a:lnTo>
                  <a:pt x="1988" y="761"/>
                </a:lnTo>
                <a:lnTo>
                  <a:pt x="1980" y="738"/>
                </a:lnTo>
                <a:lnTo>
                  <a:pt x="1972" y="716"/>
                </a:lnTo>
                <a:lnTo>
                  <a:pt x="1963" y="694"/>
                </a:lnTo>
                <a:lnTo>
                  <a:pt x="1953" y="673"/>
                </a:lnTo>
                <a:lnTo>
                  <a:pt x="1944" y="652"/>
                </a:lnTo>
                <a:lnTo>
                  <a:pt x="1933" y="630"/>
                </a:lnTo>
                <a:lnTo>
                  <a:pt x="1922" y="610"/>
                </a:lnTo>
                <a:lnTo>
                  <a:pt x="1910" y="590"/>
                </a:lnTo>
                <a:lnTo>
                  <a:pt x="1899" y="569"/>
                </a:lnTo>
                <a:lnTo>
                  <a:pt x="1886" y="549"/>
                </a:lnTo>
                <a:lnTo>
                  <a:pt x="1873" y="530"/>
                </a:lnTo>
                <a:lnTo>
                  <a:pt x="1861" y="511"/>
                </a:lnTo>
                <a:lnTo>
                  <a:pt x="1846" y="492"/>
                </a:lnTo>
                <a:lnTo>
                  <a:pt x="1832" y="474"/>
                </a:lnTo>
                <a:lnTo>
                  <a:pt x="1818" y="456"/>
                </a:lnTo>
                <a:lnTo>
                  <a:pt x="1803" y="438"/>
                </a:lnTo>
                <a:lnTo>
                  <a:pt x="1787" y="421"/>
                </a:lnTo>
                <a:lnTo>
                  <a:pt x="1772" y="403"/>
                </a:lnTo>
                <a:lnTo>
                  <a:pt x="1755" y="387"/>
                </a:lnTo>
                <a:lnTo>
                  <a:pt x="1739" y="370"/>
                </a:lnTo>
                <a:lnTo>
                  <a:pt x="1721" y="354"/>
                </a:lnTo>
                <a:lnTo>
                  <a:pt x="1704" y="340"/>
                </a:lnTo>
                <a:lnTo>
                  <a:pt x="1686" y="324"/>
                </a:lnTo>
                <a:lnTo>
                  <a:pt x="1668" y="309"/>
                </a:lnTo>
                <a:lnTo>
                  <a:pt x="1650" y="296"/>
                </a:lnTo>
                <a:lnTo>
                  <a:pt x="1631" y="281"/>
                </a:lnTo>
                <a:lnTo>
                  <a:pt x="1612" y="269"/>
                </a:lnTo>
                <a:lnTo>
                  <a:pt x="1593" y="255"/>
                </a:lnTo>
                <a:lnTo>
                  <a:pt x="1572" y="243"/>
                </a:lnTo>
                <a:lnTo>
                  <a:pt x="1552" y="232"/>
                </a:lnTo>
                <a:lnTo>
                  <a:pt x="1532" y="219"/>
                </a:lnTo>
                <a:lnTo>
                  <a:pt x="1512" y="209"/>
                </a:lnTo>
                <a:lnTo>
                  <a:pt x="1490" y="198"/>
                </a:lnTo>
                <a:lnTo>
                  <a:pt x="1469" y="189"/>
                </a:lnTo>
                <a:lnTo>
                  <a:pt x="1448" y="179"/>
                </a:lnTo>
                <a:lnTo>
                  <a:pt x="1426" y="170"/>
                </a:lnTo>
                <a:lnTo>
                  <a:pt x="1404" y="162"/>
                </a:lnTo>
                <a:lnTo>
                  <a:pt x="1381" y="154"/>
                </a:lnTo>
                <a:lnTo>
                  <a:pt x="1359" y="146"/>
                </a:lnTo>
                <a:lnTo>
                  <a:pt x="1336" y="139"/>
                </a:lnTo>
                <a:lnTo>
                  <a:pt x="1313" y="134"/>
                </a:lnTo>
                <a:lnTo>
                  <a:pt x="1290" y="128"/>
                </a:lnTo>
                <a:lnTo>
                  <a:pt x="1266" y="122"/>
                </a:lnTo>
                <a:lnTo>
                  <a:pt x="1243" y="118"/>
                </a:lnTo>
                <a:lnTo>
                  <a:pt x="1218" y="113"/>
                </a:lnTo>
                <a:lnTo>
                  <a:pt x="1194" y="110"/>
                </a:lnTo>
                <a:lnTo>
                  <a:pt x="1170" y="108"/>
                </a:lnTo>
                <a:lnTo>
                  <a:pt x="1146" y="106"/>
                </a:lnTo>
                <a:lnTo>
                  <a:pt x="1121" y="104"/>
                </a:lnTo>
                <a:lnTo>
                  <a:pt x="1096" y="103"/>
                </a:lnTo>
                <a:lnTo>
                  <a:pt x="1072" y="103"/>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46" name="Oval 45">
            <a:hlinkClick r:id="" action="ppaction://noaction"/>
            <a:extLst>
              <a:ext uri="{FF2B5EF4-FFF2-40B4-BE49-F238E27FC236}">
                <a16:creationId xmlns:a16="http://schemas.microsoft.com/office/drawing/2014/main" id="{6E862ED6-58AA-49D9-AFC5-D1696A505C53}"/>
              </a:ext>
            </a:extLst>
          </p:cNvPr>
          <p:cNvSpPr>
            <a:spLocks noChangeAspect="1"/>
          </p:cNvSpPr>
          <p:nvPr/>
        </p:nvSpPr>
        <p:spPr>
          <a:xfrm>
            <a:off x="40721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7" name="Oval 46">
            <a:hlinkClick r:id="" action="ppaction://noaction"/>
            <a:extLst>
              <a:ext uri="{FF2B5EF4-FFF2-40B4-BE49-F238E27FC236}">
                <a16:creationId xmlns:a16="http://schemas.microsoft.com/office/drawing/2014/main" id="{B9DA44BD-BBE0-4E94-965A-745191337226}"/>
              </a:ext>
            </a:extLst>
          </p:cNvPr>
          <p:cNvSpPr>
            <a:spLocks noChangeAspect="1"/>
          </p:cNvSpPr>
          <p:nvPr/>
        </p:nvSpPr>
        <p:spPr>
          <a:xfrm>
            <a:off x="55123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Oval 47">
            <a:hlinkClick r:id="" action="ppaction://noaction"/>
            <a:extLst>
              <a:ext uri="{FF2B5EF4-FFF2-40B4-BE49-F238E27FC236}">
                <a16:creationId xmlns:a16="http://schemas.microsoft.com/office/drawing/2014/main" id="{4AE44E38-37AB-43D5-BEB2-F0337F868500}"/>
              </a:ext>
            </a:extLst>
          </p:cNvPr>
          <p:cNvSpPr>
            <a:spLocks noChangeAspect="1"/>
          </p:cNvSpPr>
          <p:nvPr/>
        </p:nvSpPr>
        <p:spPr>
          <a:xfrm>
            <a:off x="69525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9" name="Oval 48">
            <a:hlinkClick r:id="" action="ppaction://noaction"/>
            <a:extLst>
              <a:ext uri="{FF2B5EF4-FFF2-40B4-BE49-F238E27FC236}">
                <a16:creationId xmlns:a16="http://schemas.microsoft.com/office/drawing/2014/main" id="{B52DBC96-FEC8-4F12-B4D8-F0821F7ADDC9}"/>
              </a:ext>
            </a:extLst>
          </p:cNvPr>
          <p:cNvSpPr>
            <a:spLocks noChangeAspect="1"/>
          </p:cNvSpPr>
          <p:nvPr/>
        </p:nvSpPr>
        <p:spPr>
          <a:xfrm>
            <a:off x="839270" y="89377"/>
            <a:ext cx="108000" cy="108000"/>
          </a:xfrm>
          <a:prstGeom prst="ellipse">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0" name="Oval 49">
            <a:hlinkClick r:id="" action="ppaction://noaction"/>
            <a:extLst>
              <a:ext uri="{FF2B5EF4-FFF2-40B4-BE49-F238E27FC236}">
                <a16:creationId xmlns:a16="http://schemas.microsoft.com/office/drawing/2014/main" id="{A50E5976-54E5-47EE-BCB5-9C2BDF0EAD70}"/>
              </a:ext>
            </a:extLst>
          </p:cNvPr>
          <p:cNvSpPr>
            <a:spLocks noChangeAspect="1"/>
          </p:cNvSpPr>
          <p:nvPr/>
        </p:nvSpPr>
        <p:spPr>
          <a:xfrm>
            <a:off x="98329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673310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04813ACE-B619-4B8F-99F1-0083D9FFFDBE}"/>
              </a:ext>
            </a:extLst>
          </p:cNvPr>
          <p:cNvGraphicFramePr>
            <a:graphicFrameLocks noChangeAspect="1"/>
          </p:cNvGraphicFramePr>
          <p:nvPr>
            <p:custDataLst>
              <p:tags r:id="rId1"/>
            </p:custDataLst>
            <p:extLst>
              <p:ext uri="{D42A27DB-BD31-4B8C-83A1-F6EECF244321}">
                <p14:modId xmlns:p14="http://schemas.microsoft.com/office/powerpoint/2010/main" val="159925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261" imgH="264" progId="TCLayout.ActiveDocument.1">
                  <p:embed/>
                </p:oleObj>
              </mc:Choice>
              <mc:Fallback>
                <p:oleObj name="think-cell Slide" r:id="rId40" imgW="261" imgH="264" progId="TCLayout.ActiveDocument.1">
                  <p:embed/>
                  <p:pic>
                    <p:nvPicPr>
                      <p:cNvPr id="14" name="Object 13" hidden="1">
                        <a:extLst>
                          <a:ext uri="{FF2B5EF4-FFF2-40B4-BE49-F238E27FC236}">
                            <a16:creationId xmlns:a16="http://schemas.microsoft.com/office/drawing/2014/main" id="{04813ACE-B619-4B8F-99F1-0083D9FFFDBE}"/>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2E9AB2-D63D-4290-888F-7E1C3D2E21A1}"/>
              </a:ext>
            </a:extLst>
          </p:cNvPr>
          <p:cNvSpPr>
            <a:spLocks noGrp="1"/>
          </p:cNvSpPr>
          <p:nvPr>
            <p:ph type="title"/>
          </p:nvPr>
        </p:nvSpPr>
        <p:spPr/>
        <p:txBody>
          <a:bodyPr vert="horz"/>
          <a:lstStyle/>
          <a:p>
            <a:r>
              <a:rPr lang="en-US"/>
              <a:t>Overview of CO2 emissions from maintenance</a:t>
            </a:r>
          </a:p>
        </p:txBody>
      </p:sp>
      <p:sp>
        <p:nvSpPr>
          <p:cNvPr id="4" name="Date Placeholder 3">
            <a:extLst>
              <a:ext uri="{FF2B5EF4-FFF2-40B4-BE49-F238E27FC236}">
                <a16:creationId xmlns:a16="http://schemas.microsoft.com/office/drawing/2014/main" id="{EEAC491A-733F-425F-8684-76703C34538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BEC09F-A9B3-4141-BB5E-01638EDF1C5C}" type="datetime3">
              <a:rPr kumimoji="0" lang="en-US" sz="700" b="0" i="0" u="none" strike="noStrike" kern="1200" cap="none" spc="0" normalizeH="0" baseline="0" noProof="0" smtClean="0">
                <a:ln>
                  <a:noFill/>
                </a:ln>
                <a:solidFill>
                  <a:srgbClr val="0071B9"/>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 April 2022</a:t>
            </a:fld>
            <a:endParaRPr kumimoji="0" lang="en-US" sz="700" b="0" i="0" u="none" strike="noStrike" kern="1200" cap="none" spc="0" normalizeH="0" baseline="0" noProof="0">
              <a:ln>
                <a:noFill/>
              </a:ln>
              <a:solidFill>
                <a:srgbClr val="0071B9"/>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867A28D9-9D9D-4E98-BE06-DE8E59C0BF57}"/>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71B9"/>
                </a:solidFill>
                <a:effectLst/>
                <a:uLnTx/>
                <a:uFillTx/>
                <a:latin typeface="Arial"/>
                <a:ea typeface="+mn-ea"/>
                <a:cs typeface="+mn-cs"/>
              </a:rPr>
              <a:t>Confidential  |  © KONE Corporation</a:t>
            </a:r>
          </a:p>
        </p:txBody>
      </p:sp>
      <p:sp>
        <p:nvSpPr>
          <p:cNvPr id="6" name="Slide Number Placeholder 5">
            <a:extLst>
              <a:ext uri="{FF2B5EF4-FFF2-40B4-BE49-F238E27FC236}">
                <a16:creationId xmlns:a16="http://schemas.microsoft.com/office/drawing/2014/main" id="{F2D66825-16A1-44EE-B6AA-2B52A21B628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4FC64F-66B6-486E-8EFE-9FD96A66D16B}" type="slidenum">
              <a:rPr kumimoji="0" lang="en-US" sz="700" b="0" i="0" u="none" strike="noStrike" kern="1200" cap="none" spc="0" normalizeH="0" baseline="0" noProof="0" smtClean="0">
                <a:ln>
                  <a:noFill/>
                </a:ln>
                <a:solidFill>
                  <a:srgbClr val="0071B9"/>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700" b="0" i="0" u="none" strike="noStrike" kern="1200" cap="none" spc="0" normalizeH="0" baseline="0" noProof="0">
              <a:ln>
                <a:noFill/>
              </a:ln>
              <a:solidFill>
                <a:srgbClr val="0071B9"/>
              </a:solidFill>
              <a:effectLst/>
              <a:uLnTx/>
              <a:uFillTx/>
              <a:latin typeface="Arial"/>
              <a:ea typeface="+mn-ea"/>
              <a:cs typeface="+mn-cs"/>
            </a:endParaRPr>
          </a:p>
        </p:txBody>
      </p:sp>
      <p:cxnSp>
        <p:nvCxnSpPr>
          <p:cNvPr id="31" name="Straight Connector 30">
            <a:extLst>
              <a:ext uri="{FF2B5EF4-FFF2-40B4-BE49-F238E27FC236}">
                <a16:creationId xmlns:a16="http://schemas.microsoft.com/office/drawing/2014/main" id="{37D5FFB7-9876-4932-B138-41DE0D121422}"/>
              </a:ext>
            </a:extLst>
          </p:cNvPr>
          <p:cNvCxnSpPr/>
          <p:nvPr>
            <p:custDataLst>
              <p:tags r:id="rId2"/>
            </p:custDataLst>
          </p:nvPr>
        </p:nvCxnSpPr>
        <p:spPr bwMode="auto">
          <a:xfrm>
            <a:off x="8821738" y="2076716"/>
            <a:ext cx="3619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9F3C31FA-3F15-4D5E-9F9B-B8B35542CC46}"/>
              </a:ext>
            </a:extLst>
          </p:cNvPr>
          <p:cNvCxnSpPr/>
          <p:nvPr>
            <p:custDataLst>
              <p:tags r:id="rId3"/>
            </p:custDataLst>
          </p:nvPr>
        </p:nvCxnSpPr>
        <p:spPr bwMode="auto">
          <a:xfrm>
            <a:off x="7188200" y="2086241"/>
            <a:ext cx="3619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3F1033A4-E09B-4663-B23B-297EE68241C8}"/>
              </a:ext>
            </a:extLst>
          </p:cNvPr>
          <p:cNvCxnSpPr/>
          <p:nvPr>
            <p:custDataLst>
              <p:tags r:id="rId4"/>
            </p:custDataLst>
          </p:nvPr>
        </p:nvCxnSpPr>
        <p:spPr bwMode="auto">
          <a:xfrm>
            <a:off x="4740275" y="2395803"/>
            <a:ext cx="3619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Straight Connector 218">
            <a:extLst>
              <a:ext uri="{FF2B5EF4-FFF2-40B4-BE49-F238E27FC236}">
                <a16:creationId xmlns:a16="http://schemas.microsoft.com/office/drawing/2014/main" id="{795B6AC8-F4AF-4E23-BC55-20B08FA02CDB}"/>
              </a:ext>
            </a:extLst>
          </p:cNvPr>
          <p:cNvCxnSpPr/>
          <p:nvPr>
            <p:custDataLst>
              <p:tags r:id="rId5"/>
            </p:custDataLst>
          </p:nvPr>
        </p:nvCxnSpPr>
        <p:spPr bwMode="auto">
          <a:xfrm>
            <a:off x="1474788" y="4215078"/>
            <a:ext cx="3619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9225665A-4F49-4741-B55C-E162651AC3E1}"/>
              </a:ext>
            </a:extLst>
          </p:cNvPr>
          <p:cNvCxnSpPr/>
          <p:nvPr>
            <p:custDataLst>
              <p:tags r:id="rId6"/>
            </p:custDataLst>
          </p:nvPr>
        </p:nvCxnSpPr>
        <p:spPr bwMode="auto">
          <a:xfrm>
            <a:off x="9637713" y="2068778"/>
            <a:ext cx="3619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64D989E5-7370-4019-A2ED-275597FF12BD}"/>
              </a:ext>
            </a:extLst>
          </p:cNvPr>
          <p:cNvCxnSpPr/>
          <p:nvPr>
            <p:custDataLst>
              <p:tags r:id="rId7"/>
            </p:custDataLst>
          </p:nvPr>
        </p:nvCxnSpPr>
        <p:spPr bwMode="auto">
          <a:xfrm>
            <a:off x="2290762" y="3756291"/>
            <a:ext cx="3619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F13CE529-6649-46E7-905A-0DEBC501E62C}"/>
              </a:ext>
            </a:extLst>
          </p:cNvPr>
          <p:cNvCxnSpPr/>
          <p:nvPr>
            <p:custDataLst>
              <p:tags r:id="rId8"/>
            </p:custDataLst>
          </p:nvPr>
        </p:nvCxnSpPr>
        <p:spPr bwMode="auto">
          <a:xfrm>
            <a:off x="3106738" y="3268928"/>
            <a:ext cx="3619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EE750827-569B-4B2A-9E1F-F57DF6F41CD7}"/>
              </a:ext>
            </a:extLst>
          </p:cNvPr>
          <p:cNvCxnSpPr/>
          <p:nvPr>
            <p:custDataLst>
              <p:tags r:id="rId9"/>
            </p:custDataLst>
          </p:nvPr>
        </p:nvCxnSpPr>
        <p:spPr bwMode="auto">
          <a:xfrm>
            <a:off x="6372225" y="2333891"/>
            <a:ext cx="3619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7E0324E1-5C26-4F97-BEC3-EF99969AF878}"/>
              </a:ext>
            </a:extLst>
          </p:cNvPr>
          <p:cNvCxnSpPr/>
          <p:nvPr>
            <p:custDataLst>
              <p:tags r:id="rId10"/>
            </p:custDataLst>
          </p:nvPr>
        </p:nvCxnSpPr>
        <p:spPr bwMode="auto">
          <a:xfrm>
            <a:off x="3924300" y="3268928"/>
            <a:ext cx="3619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2F4769B1-AE26-4D32-8EF8-00DCB819DC4A}"/>
              </a:ext>
            </a:extLst>
          </p:cNvPr>
          <p:cNvCxnSpPr/>
          <p:nvPr>
            <p:custDataLst>
              <p:tags r:id="rId11"/>
            </p:custDataLst>
          </p:nvPr>
        </p:nvCxnSpPr>
        <p:spPr bwMode="auto">
          <a:xfrm>
            <a:off x="5556250" y="2333891"/>
            <a:ext cx="3619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2FCDB7F7-04A7-4124-AEB9-E62EDCEF17D1}"/>
              </a:ext>
            </a:extLst>
          </p:cNvPr>
          <p:cNvCxnSpPr/>
          <p:nvPr>
            <p:custDataLst>
              <p:tags r:id="rId12"/>
            </p:custDataLst>
          </p:nvPr>
        </p:nvCxnSpPr>
        <p:spPr bwMode="auto">
          <a:xfrm>
            <a:off x="8004175" y="2086241"/>
            <a:ext cx="3619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4D1F2D36-3638-4CF1-A606-1F35FC49D46E}"/>
              </a:ext>
            </a:extLst>
          </p:cNvPr>
          <p:cNvCxnSpPr/>
          <p:nvPr>
            <p:custDataLst>
              <p:tags r:id="rId13"/>
            </p:custDataLst>
          </p:nvPr>
        </p:nvCxnSpPr>
        <p:spPr bwMode="auto">
          <a:xfrm>
            <a:off x="10453688" y="2068778"/>
            <a:ext cx="3619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2" name="Rectangle 201">
            <a:extLst>
              <a:ext uri="{FF2B5EF4-FFF2-40B4-BE49-F238E27FC236}">
                <a16:creationId xmlns:a16="http://schemas.microsoft.com/office/drawing/2014/main" id="{DAE0F108-14F6-44C0-BC9E-698B16FD605D}"/>
              </a:ext>
            </a:extLst>
          </p:cNvPr>
          <p:cNvSpPr/>
          <p:nvPr>
            <p:custDataLst>
              <p:tags r:id="rId14"/>
            </p:custDataLst>
          </p:nvPr>
        </p:nvSpPr>
        <p:spPr bwMode="auto">
          <a:xfrm>
            <a:off x="7550150" y="2083066"/>
            <a:ext cx="454025" cy="63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9" name="Rectangle 208">
            <a:extLst>
              <a:ext uri="{FF2B5EF4-FFF2-40B4-BE49-F238E27FC236}">
                <a16:creationId xmlns:a16="http://schemas.microsoft.com/office/drawing/2014/main" id="{EB5073CB-D488-4DDE-A706-19CAA92040A2}"/>
              </a:ext>
            </a:extLst>
          </p:cNvPr>
          <p:cNvSpPr/>
          <p:nvPr>
            <p:custDataLst>
              <p:tags r:id="rId15"/>
            </p:custDataLst>
          </p:nvPr>
        </p:nvSpPr>
        <p:spPr bwMode="auto">
          <a:xfrm>
            <a:off x="8366125" y="2076716"/>
            <a:ext cx="455613" cy="9525"/>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3" name="Rectangle 212">
            <a:extLst>
              <a:ext uri="{FF2B5EF4-FFF2-40B4-BE49-F238E27FC236}">
                <a16:creationId xmlns:a16="http://schemas.microsoft.com/office/drawing/2014/main" id="{4D6A9181-983E-4DF9-BB9A-6EB2BDCE5C28}"/>
              </a:ext>
            </a:extLst>
          </p:cNvPr>
          <p:cNvSpPr/>
          <p:nvPr>
            <p:custDataLst>
              <p:tags r:id="rId16"/>
            </p:custDataLst>
          </p:nvPr>
        </p:nvSpPr>
        <p:spPr bwMode="auto">
          <a:xfrm>
            <a:off x="9183688" y="2068778"/>
            <a:ext cx="454025" cy="793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64" name="Chart 63">
            <a:extLst>
              <a:ext uri="{FF2B5EF4-FFF2-40B4-BE49-F238E27FC236}">
                <a16:creationId xmlns:a16="http://schemas.microsoft.com/office/drawing/2014/main" id="{9E1071D1-270F-4BB4-AAA0-D62221634475}"/>
              </a:ext>
            </a:extLst>
          </p:cNvPr>
          <p:cNvGraphicFramePr/>
          <p:nvPr>
            <p:custDataLst>
              <p:tags r:id="rId17"/>
            </p:custDataLst>
            <p:extLst>
              <p:ext uri="{D42A27DB-BD31-4B8C-83A1-F6EECF244321}">
                <p14:modId xmlns:p14="http://schemas.microsoft.com/office/powerpoint/2010/main" val="1888095536"/>
              </p:ext>
            </p:extLst>
          </p:nvPr>
        </p:nvGraphicFramePr>
        <p:xfrm>
          <a:off x="374650" y="1647825"/>
          <a:ext cx="11158538" cy="3533775"/>
        </p:xfrm>
        <a:graphic>
          <a:graphicData uri="http://schemas.openxmlformats.org/drawingml/2006/chart">
            <c:chart xmlns:c="http://schemas.openxmlformats.org/drawingml/2006/chart" xmlns:r="http://schemas.openxmlformats.org/officeDocument/2006/relationships" r:id="rId42"/>
          </a:graphicData>
        </a:graphic>
      </p:graphicFrame>
      <p:sp>
        <p:nvSpPr>
          <p:cNvPr id="126" name="Text Placeholder 12">
            <a:extLst>
              <a:ext uri="{FF2B5EF4-FFF2-40B4-BE49-F238E27FC236}">
                <a16:creationId xmlns:a16="http://schemas.microsoft.com/office/drawing/2014/main" id="{39A12B85-87A8-4041-AA1D-05C5B657B43F}"/>
              </a:ext>
            </a:extLst>
          </p:cNvPr>
          <p:cNvSpPr>
            <a:spLocks noGrp="1"/>
          </p:cNvSpPr>
          <p:nvPr>
            <p:custDataLst>
              <p:tags r:id="rId18"/>
            </p:custDataLst>
          </p:nvPr>
        </p:nvSpPr>
        <p:spPr bwMode="gray">
          <a:xfrm>
            <a:off x="7702550" y="1959241"/>
            <a:ext cx="149225" cy="255588"/>
          </a:xfrm>
          <a:prstGeom prst="rect">
            <a:avLst/>
          </a:prstGeom>
          <a:solidFill>
            <a:schemeClr val="accent4"/>
          </a:solidFill>
          <a:ln>
            <a:noFill/>
          </a:ln>
          <a:effectLst/>
        </p:spPr>
        <p:txBody>
          <a:bodyPr vert="horz" wrap="none" lIns="25400" tIns="0" rIns="25400" bIns="0" numCol="1" spcCol="0" rtlCol="0" anchor="ctr"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034EC4D2-7D19-4A5A-B364-382738650C9C}" type="datetime'''''''''''''''''''''''''''''0'''''''''''''''''''''''">
              <a:rPr kumimoji="0" lang="en-US" altLang="en-US" sz="1400" b="1" i="0" u="none" strike="noStrike" kern="1200" cap="none" spc="0" normalizeH="0" baseline="0" noProof="0" smtClean="0">
                <a:ln>
                  <a:noFill/>
                </a:ln>
                <a:solidFill>
                  <a:schemeClr val="accent4">
                    <a:lumMod val="20000"/>
                    <a:lumOff val="80000"/>
                  </a:schemeClr>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0</a:t>
            </a:fld>
            <a:endParaRPr kumimoji="0" lang="en-US" sz="1400" b="1" i="0" u="none" strike="noStrike" kern="1200" cap="none" spc="0" normalizeH="0" baseline="0" noProof="0">
              <a:ln>
                <a:noFill/>
              </a:ln>
              <a:solidFill>
                <a:schemeClr val="accent4">
                  <a:lumMod val="20000"/>
                  <a:lumOff val="80000"/>
                </a:schemeClr>
              </a:solidFill>
              <a:effectLst/>
              <a:uLnTx/>
              <a:uFillTx/>
              <a:latin typeface="Arial"/>
              <a:ea typeface="+mn-ea"/>
              <a:cs typeface="+mn-cs"/>
            </a:endParaRPr>
          </a:p>
        </p:txBody>
      </p:sp>
      <p:sp>
        <p:nvSpPr>
          <p:cNvPr id="77" name="Text Placeholder 12">
            <a:extLst>
              <a:ext uri="{FF2B5EF4-FFF2-40B4-BE49-F238E27FC236}">
                <a16:creationId xmlns:a16="http://schemas.microsoft.com/office/drawing/2014/main" id="{35B66A65-2E7D-4B01-8764-A9814B743DEC}"/>
              </a:ext>
            </a:extLst>
          </p:cNvPr>
          <p:cNvSpPr>
            <a:spLocks noGrp="1"/>
          </p:cNvSpPr>
          <p:nvPr>
            <p:custDataLst>
              <p:tags r:id="rId19"/>
            </p:custDataLst>
          </p:nvPr>
        </p:nvSpPr>
        <p:spPr bwMode="auto">
          <a:xfrm>
            <a:off x="4335463" y="5112016"/>
            <a:ext cx="357188" cy="2555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6114AADB-4BB5-4CD1-B561-E2BC69D0F424}" type="datetime'''''''''''F''''''''''''''''u''e''''''''''''l'''''''''''''">
              <a:rPr kumimoji="0" lang="en-US" altLang="en-US" sz="1300" b="0" i="0" u="none" strike="noStrike" kern="1200" cap="none" spc="0" normalizeH="0" baseline="0" noProof="0" smtClean="0">
                <a:ln>
                  <a:noFill/>
                </a:ln>
                <a:solidFill>
                  <a:schemeClr val="accent3">
                    <a:lumMod val="75000"/>
                  </a:schemeClr>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Fuel</a:t>
            </a:fld>
            <a:endParaRPr kumimoji="0" lang="en-US" sz="1300" b="0" i="0" u="none" strike="noStrike" kern="1200" cap="none" spc="0" normalizeH="0" baseline="0" noProof="0">
              <a:ln>
                <a:noFill/>
              </a:ln>
              <a:solidFill>
                <a:schemeClr val="accent3">
                  <a:lumMod val="75000"/>
                </a:schemeClr>
              </a:solidFill>
              <a:effectLst/>
              <a:uLnTx/>
              <a:uFillTx/>
              <a:latin typeface="Arial"/>
              <a:ea typeface="+mn-ea"/>
              <a:cs typeface="+mn-cs"/>
            </a:endParaRPr>
          </a:p>
        </p:txBody>
      </p:sp>
      <p:sp>
        <p:nvSpPr>
          <p:cNvPr id="99" name="Text Placeholder 12">
            <a:extLst>
              <a:ext uri="{FF2B5EF4-FFF2-40B4-BE49-F238E27FC236}">
                <a16:creationId xmlns:a16="http://schemas.microsoft.com/office/drawing/2014/main" id="{712599A8-3E1A-4BF3-97CA-61271F7E2C8C}"/>
              </a:ext>
            </a:extLst>
          </p:cNvPr>
          <p:cNvSpPr>
            <a:spLocks noGrp="1"/>
          </p:cNvSpPr>
          <p:nvPr>
            <p:custDataLst>
              <p:tags r:id="rId20"/>
            </p:custDataLst>
          </p:nvPr>
        </p:nvSpPr>
        <p:spPr bwMode="auto">
          <a:xfrm>
            <a:off x="8296275" y="5112016"/>
            <a:ext cx="593725" cy="511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13593F02-222E-427F-B44F-CB657809A273}" type="datetime'''''''''M''o''''bi''le ''''''''''''ph''on''''e''''''''s'''''">
              <a:rPr kumimoji="0" lang="en-US" altLang="en-US" sz="1300" b="0" i="0" u="none" strike="noStrike" kern="1200" cap="none" spc="0" normalizeH="0" baseline="0" noProof="0" smtClean="0">
                <a:ln>
                  <a:noFill/>
                </a:ln>
                <a:solidFill>
                  <a:schemeClr val="accent4">
                    <a:lumMod val="75000"/>
                  </a:schemeClr>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Mobile phones</a:t>
            </a:fld>
            <a:endParaRPr kumimoji="0" lang="en-US" sz="1300" b="0" i="0" u="none" strike="noStrike" kern="1200" cap="none" spc="0" normalizeH="0" baseline="0" noProof="0">
              <a:ln>
                <a:noFill/>
              </a:ln>
              <a:solidFill>
                <a:schemeClr val="accent4">
                  <a:lumMod val="75000"/>
                </a:schemeClr>
              </a:solidFill>
              <a:effectLst/>
              <a:uLnTx/>
              <a:uFillTx/>
              <a:latin typeface="Arial"/>
              <a:ea typeface="+mn-ea"/>
              <a:cs typeface="+mn-cs"/>
            </a:endParaRPr>
          </a:p>
        </p:txBody>
      </p:sp>
      <p:sp>
        <p:nvSpPr>
          <p:cNvPr id="167" name="Text Placeholder 12">
            <a:extLst>
              <a:ext uri="{FF2B5EF4-FFF2-40B4-BE49-F238E27FC236}">
                <a16:creationId xmlns:a16="http://schemas.microsoft.com/office/drawing/2014/main" id="{B0551543-9D0B-43B4-A3D3-4AA3C216C0C1}"/>
              </a:ext>
            </a:extLst>
          </p:cNvPr>
          <p:cNvSpPr>
            <a:spLocks noGrp="1"/>
          </p:cNvSpPr>
          <p:nvPr>
            <p:custDataLst>
              <p:tags r:id="rId21"/>
            </p:custDataLst>
          </p:nvPr>
        </p:nvSpPr>
        <p:spPr bwMode="auto">
          <a:xfrm>
            <a:off x="-746125" y="1240103"/>
            <a:ext cx="3171825" cy="2555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r>
              <a:rPr kumimoji="0" lang="en-US" altLang="en-US" sz="1400" b="0" i="0" u="none" strike="noStrike" kern="1200" cap="none" spc="0" normalizeH="0" baseline="0" noProof="0">
                <a:ln>
                  <a:noFill/>
                </a:ln>
                <a:solidFill>
                  <a:schemeClr val="bg1">
                    <a:lumMod val="50000"/>
                  </a:schemeClr>
                </a:solidFill>
                <a:effectLst/>
                <a:uLnTx/>
                <a:uFillTx/>
                <a:latin typeface="Arial"/>
                <a:ea typeface="+mn-ea"/>
                <a:cs typeface="+mn-cs"/>
              </a:rPr>
              <a:t>	CO2 emissions (kg/UN/year)</a:t>
            </a:r>
            <a:endParaRPr kumimoji="0" lang="en-US" sz="1400" b="0" i="0" u="none" strike="noStrike" kern="1200" cap="none" spc="0" normalizeH="0" baseline="0" noProof="0">
              <a:ln>
                <a:noFill/>
              </a:ln>
              <a:solidFill>
                <a:schemeClr val="bg1">
                  <a:lumMod val="50000"/>
                </a:schemeClr>
              </a:solidFill>
              <a:effectLst/>
              <a:uLnTx/>
              <a:uFillTx/>
              <a:latin typeface="Arial"/>
              <a:ea typeface="+mn-ea"/>
              <a:cs typeface="+mn-cs"/>
            </a:endParaRPr>
          </a:p>
        </p:txBody>
      </p:sp>
      <p:sp>
        <p:nvSpPr>
          <p:cNvPr id="199" name="Text Placeholder 12">
            <a:extLst>
              <a:ext uri="{FF2B5EF4-FFF2-40B4-BE49-F238E27FC236}">
                <a16:creationId xmlns:a16="http://schemas.microsoft.com/office/drawing/2014/main" id="{7FC9E699-DE60-4C3D-AD54-095F4768AFFE}"/>
              </a:ext>
            </a:extLst>
          </p:cNvPr>
          <p:cNvSpPr>
            <a:spLocks noGrp="1"/>
          </p:cNvSpPr>
          <p:nvPr>
            <p:custDataLst>
              <p:tags r:id="rId22"/>
            </p:custDataLst>
          </p:nvPr>
        </p:nvSpPr>
        <p:spPr bwMode="gray">
          <a:xfrm>
            <a:off x="10152063" y="1949716"/>
            <a:ext cx="149225" cy="255588"/>
          </a:xfrm>
          <a:prstGeom prst="rect">
            <a:avLst/>
          </a:prstGeom>
          <a:solidFill>
            <a:schemeClr val="accent4"/>
          </a:solidFill>
          <a:ln>
            <a:noFill/>
          </a:ln>
          <a:effectLst/>
        </p:spPr>
        <p:txBody>
          <a:bodyPr vert="horz" wrap="none" lIns="25400" tIns="0" rIns="25400" bIns="0" numCol="1" spcCol="0" rtlCol="0" anchor="ctr"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298342A1-1C25-48E3-BE3B-05BE48EA66D0}" type="datetime'''''''1'''''''''">
              <a:rPr kumimoji="0" lang="en-US" altLang="en-US" sz="1400" b="1" i="0" u="none" strike="noStrike" kern="1200" cap="none" spc="0" normalizeH="0" baseline="0" noProof="0" smtClean="0">
                <a:ln>
                  <a:noFill/>
                </a:ln>
                <a:solidFill>
                  <a:schemeClr val="accent4">
                    <a:lumMod val="20000"/>
                    <a:lumOff val="80000"/>
                  </a:schemeClr>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1</a:t>
            </a:fld>
            <a:endParaRPr kumimoji="0" lang="en-US" sz="1400" b="1" i="0" u="none" strike="noStrike" kern="1200" cap="none" spc="0" normalizeH="0" baseline="0" noProof="0">
              <a:ln>
                <a:noFill/>
              </a:ln>
              <a:solidFill>
                <a:schemeClr val="accent4">
                  <a:lumMod val="20000"/>
                  <a:lumOff val="80000"/>
                </a:schemeClr>
              </a:solidFill>
              <a:effectLst/>
              <a:uLnTx/>
              <a:uFillTx/>
              <a:latin typeface="Arial"/>
              <a:ea typeface="+mn-ea"/>
              <a:cs typeface="+mn-cs"/>
            </a:endParaRPr>
          </a:p>
        </p:txBody>
      </p:sp>
      <p:sp>
        <p:nvSpPr>
          <p:cNvPr id="28" name="Text Placeholder 12">
            <a:extLst>
              <a:ext uri="{FF2B5EF4-FFF2-40B4-BE49-F238E27FC236}">
                <a16:creationId xmlns:a16="http://schemas.microsoft.com/office/drawing/2014/main" id="{6FA49CC5-2330-4440-9E5D-18E6FDD1C00C}"/>
              </a:ext>
            </a:extLst>
          </p:cNvPr>
          <p:cNvSpPr>
            <a:spLocks noGrp="1"/>
          </p:cNvSpPr>
          <p:nvPr>
            <p:custDataLst>
              <p:tags r:id="rId23"/>
            </p:custDataLst>
          </p:nvPr>
        </p:nvSpPr>
        <p:spPr bwMode="auto">
          <a:xfrm>
            <a:off x="9183688" y="5112016"/>
            <a:ext cx="455613" cy="2555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F8686B20-9DBE-4DCE-BFF6-B6F2A0DA7F6D}" type="datetime'''''''''''''''''''''O''''''''''''t''''''''h''e''''''r'''''''">
              <a:rPr kumimoji="0" lang="en-US" altLang="en-US" sz="1300" b="0" i="0" u="none" strike="noStrike" kern="1200" cap="none" spc="0" normalizeH="0" baseline="0" noProof="0" smtClean="0">
                <a:ln>
                  <a:noFill/>
                </a:ln>
                <a:solidFill>
                  <a:schemeClr val="accent4">
                    <a:lumMod val="75000"/>
                  </a:schemeClr>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Other</a:t>
            </a:fld>
            <a:endParaRPr kumimoji="0" lang="en-US" sz="1300" b="0" i="0" u="none" strike="noStrike" kern="1200" cap="none" spc="0" normalizeH="0" baseline="0" noProof="0">
              <a:ln>
                <a:noFill/>
              </a:ln>
              <a:solidFill>
                <a:schemeClr val="accent4">
                  <a:lumMod val="75000"/>
                </a:schemeClr>
              </a:solidFill>
              <a:effectLst/>
              <a:uLnTx/>
              <a:uFillTx/>
              <a:latin typeface="Arial"/>
              <a:ea typeface="+mn-ea"/>
              <a:cs typeface="+mn-cs"/>
            </a:endParaRPr>
          </a:p>
        </p:txBody>
      </p:sp>
      <p:sp>
        <p:nvSpPr>
          <p:cNvPr id="7" name="Text Placeholder 12">
            <a:extLst>
              <a:ext uri="{FF2B5EF4-FFF2-40B4-BE49-F238E27FC236}">
                <a16:creationId xmlns:a16="http://schemas.microsoft.com/office/drawing/2014/main" id="{CAC4F8C1-8E3F-47D9-9930-4E0118F9AD4F}"/>
              </a:ext>
            </a:extLst>
          </p:cNvPr>
          <p:cNvSpPr>
            <a:spLocks noGrp="1"/>
          </p:cNvSpPr>
          <p:nvPr>
            <p:custDataLst>
              <p:tags r:id="rId24"/>
            </p:custDataLst>
          </p:nvPr>
        </p:nvSpPr>
        <p:spPr bwMode="auto">
          <a:xfrm>
            <a:off x="3300413" y="5112016"/>
            <a:ext cx="790575" cy="511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7757CF1D-03FC-4BD6-9B33-93A81A8EC9EE}" type="datetime'''''S''p''ar''e pa''''''''r''''''ts'''''''' t''o''t''''a''l'">
              <a:rPr kumimoji="0" lang="en-US" altLang="en-US" sz="13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Spare parts total</a:t>
            </a:fld>
            <a:endParaRPr kumimoji="0" lang="en-US" sz="1300" b="0" i="0" u="none" strike="noStrike" kern="1200" cap="none" spc="0" normalizeH="0" baseline="0" noProof="0">
              <a:ln>
                <a:noFill/>
              </a:ln>
              <a:solidFill>
                <a:schemeClr val="tx2"/>
              </a:solidFill>
              <a:effectLst/>
              <a:uLnTx/>
              <a:uFillTx/>
              <a:latin typeface="Arial"/>
              <a:ea typeface="+mn-ea"/>
              <a:cs typeface="+mn-cs"/>
            </a:endParaRPr>
          </a:p>
        </p:txBody>
      </p:sp>
      <p:sp>
        <p:nvSpPr>
          <p:cNvPr id="105" name="Text Placeholder 12">
            <a:extLst>
              <a:ext uri="{FF2B5EF4-FFF2-40B4-BE49-F238E27FC236}">
                <a16:creationId xmlns:a16="http://schemas.microsoft.com/office/drawing/2014/main" id="{FCBD4669-FFEF-48BE-A0ED-990C41D87357}"/>
              </a:ext>
            </a:extLst>
          </p:cNvPr>
          <p:cNvSpPr>
            <a:spLocks noGrp="1"/>
          </p:cNvSpPr>
          <p:nvPr>
            <p:custDataLst>
              <p:tags r:id="rId25"/>
            </p:custDataLst>
          </p:nvPr>
        </p:nvSpPr>
        <p:spPr bwMode="auto">
          <a:xfrm>
            <a:off x="9999663" y="5112016"/>
            <a:ext cx="455613" cy="511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469BFCE2-D697-46E8-A43F-CF525DF90EBA}" type="datetime'''O''ther'''''''''''' ''t''o''''''''''tal'''''''''''''">
              <a:rPr kumimoji="0" lang="en-US" altLang="en-US" sz="1300" b="0" i="0" u="none" strike="noStrike" kern="1200" cap="none" spc="0" normalizeH="0" baseline="0" noProof="0" smtClean="0">
                <a:ln>
                  <a:noFill/>
                </a:ln>
                <a:solidFill>
                  <a:schemeClr val="accent4">
                    <a:lumMod val="75000"/>
                  </a:schemeClr>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Other total</a:t>
            </a:fld>
            <a:endParaRPr kumimoji="0" lang="en-US" sz="1300" b="0" i="0" u="none" strike="noStrike" kern="1200" cap="none" spc="0" normalizeH="0" baseline="0" noProof="0">
              <a:ln>
                <a:noFill/>
              </a:ln>
              <a:solidFill>
                <a:schemeClr val="accent4">
                  <a:lumMod val="75000"/>
                </a:schemeClr>
              </a:solidFill>
              <a:effectLst/>
              <a:uLnTx/>
              <a:uFillTx/>
              <a:latin typeface="Arial"/>
              <a:ea typeface="+mn-ea"/>
              <a:cs typeface="+mn-cs"/>
            </a:endParaRPr>
          </a:p>
        </p:txBody>
      </p:sp>
      <p:sp>
        <p:nvSpPr>
          <p:cNvPr id="37" name="Text Placeholder 12">
            <a:extLst>
              <a:ext uri="{FF2B5EF4-FFF2-40B4-BE49-F238E27FC236}">
                <a16:creationId xmlns:a16="http://schemas.microsoft.com/office/drawing/2014/main" id="{6B34C45B-B6CD-4618-BDF7-4721B7713049}"/>
              </a:ext>
            </a:extLst>
          </p:cNvPr>
          <p:cNvSpPr>
            <a:spLocks noGrp="1"/>
          </p:cNvSpPr>
          <p:nvPr>
            <p:custDataLst>
              <p:tags r:id="rId26"/>
            </p:custDataLst>
          </p:nvPr>
        </p:nvSpPr>
        <p:spPr bwMode="auto">
          <a:xfrm>
            <a:off x="10848975" y="5112016"/>
            <a:ext cx="387350" cy="2555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CF76C817-B9CF-483E-B69B-431315C6089B}" type="datetime'''''''''''''''''T''''''''''''''''''''''''''''''ot''''''''''al'">
              <a:rPr kumimoji="0" lang="en-US" altLang="en-US" sz="1300" b="0" i="0" u="none" strike="noStrike" kern="1200" cap="none" spc="0" normalizeH="0" baseline="0" noProof="0" smtClean="0">
                <a:ln>
                  <a:noFill/>
                </a:ln>
                <a:solidFill>
                  <a:schemeClr val="bg2">
                    <a:lumMod val="75000"/>
                  </a:schemeClr>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Total</a:t>
            </a:fld>
            <a:endParaRPr kumimoji="0" lang="en-US" sz="1300" b="0" i="0" u="none" strike="noStrike" kern="1200" cap="none" spc="0" normalizeH="0" baseline="0" noProof="0">
              <a:ln>
                <a:noFill/>
              </a:ln>
              <a:solidFill>
                <a:schemeClr val="bg2">
                  <a:lumMod val="75000"/>
                </a:schemeClr>
              </a:solidFill>
              <a:effectLst/>
              <a:uLnTx/>
              <a:uFillTx/>
              <a:latin typeface="Arial"/>
              <a:ea typeface="+mn-ea"/>
              <a:cs typeface="+mn-cs"/>
            </a:endParaRPr>
          </a:p>
        </p:txBody>
      </p:sp>
      <p:sp>
        <p:nvSpPr>
          <p:cNvPr id="46" name="Text Placeholder 12">
            <a:extLst>
              <a:ext uri="{FF2B5EF4-FFF2-40B4-BE49-F238E27FC236}">
                <a16:creationId xmlns:a16="http://schemas.microsoft.com/office/drawing/2014/main" id="{899E5DC5-8EE3-46D6-8AC6-F47C5ADE1F52}"/>
              </a:ext>
            </a:extLst>
          </p:cNvPr>
          <p:cNvSpPr>
            <a:spLocks noGrp="1"/>
          </p:cNvSpPr>
          <p:nvPr>
            <p:custDataLst>
              <p:tags r:id="rId27"/>
            </p:custDataLst>
          </p:nvPr>
        </p:nvSpPr>
        <p:spPr bwMode="auto">
          <a:xfrm>
            <a:off x="985838" y="5112016"/>
            <a:ext cx="525463" cy="2555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72531614-684C-4713-BEB8-C1FEAC2627EA}" type="datetime'R''''''''''''''''''''''''''''''op''e''''''''''''''''''s'''''''">
              <a:rPr kumimoji="0" lang="en-US" altLang="en-US" sz="13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Ropes</a:t>
            </a:fld>
            <a:endParaRPr kumimoji="0" lang="en-US" sz="1300" b="0" i="0" u="none" strike="noStrike" kern="1200" cap="none" spc="0" normalizeH="0" baseline="0" noProof="0">
              <a:ln>
                <a:noFill/>
              </a:ln>
              <a:solidFill>
                <a:schemeClr val="tx2"/>
              </a:solidFill>
              <a:effectLst/>
              <a:uLnTx/>
              <a:uFillTx/>
              <a:latin typeface="Arial"/>
              <a:ea typeface="+mn-ea"/>
              <a:cs typeface="+mn-cs"/>
            </a:endParaRPr>
          </a:p>
        </p:txBody>
      </p:sp>
      <p:sp>
        <p:nvSpPr>
          <p:cNvPr id="49" name="Text Placeholder 12">
            <a:extLst>
              <a:ext uri="{FF2B5EF4-FFF2-40B4-BE49-F238E27FC236}">
                <a16:creationId xmlns:a16="http://schemas.microsoft.com/office/drawing/2014/main" id="{D15EB49F-BEC4-4F4E-8C81-11C9298A067D}"/>
              </a:ext>
            </a:extLst>
          </p:cNvPr>
          <p:cNvSpPr>
            <a:spLocks noGrp="1"/>
          </p:cNvSpPr>
          <p:nvPr>
            <p:custDataLst>
              <p:tags r:id="rId28"/>
            </p:custDataLst>
          </p:nvPr>
        </p:nvSpPr>
        <p:spPr bwMode="auto">
          <a:xfrm>
            <a:off x="1851025" y="5112016"/>
            <a:ext cx="427038" cy="2555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AD71A896-EA63-4598-9292-8C3CCD8A9A40}" type="datetime'''''''''''''''''''''''''''''''''''''D''''''''''r''''''i''ve'">
              <a:rPr kumimoji="0" lang="en-US" altLang="en-US" sz="13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Drive</a:t>
            </a:fld>
            <a:endParaRPr kumimoji="0" lang="en-US" sz="1300" b="0" i="0" u="none" strike="noStrike" kern="1200" cap="none" spc="0" normalizeH="0" baseline="0" noProof="0">
              <a:ln>
                <a:noFill/>
              </a:ln>
              <a:solidFill>
                <a:schemeClr val="tx2"/>
              </a:solidFill>
              <a:effectLst/>
              <a:uLnTx/>
              <a:uFillTx/>
              <a:latin typeface="Arial"/>
              <a:ea typeface="+mn-ea"/>
              <a:cs typeface="+mn-cs"/>
            </a:endParaRPr>
          </a:p>
        </p:txBody>
      </p:sp>
      <p:sp>
        <p:nvSpPr>
          <p:cNvPr id="113" name="Text Placeholder 12">
            <a:extLst>
              <a:ext uri="{FF2B5EF4-FFF2-40B4-BE49-F238E27FC236}">
                <a16:creationId xmlns:a16="http://schemas.microsoft.com/office/drawing/2014/main" id="{3865EFA5-FA95-411F-A22B-E47C0A908045}"/>
              </a:ext>
            </a:extLst>
          </p:cNvPr>
          <p:cNvSpPr>
            <a:spLocks noGrp="1"/>
          </p:cNvSpPr>
          <p:nvPr>
            <p:custDataLst>
              <p:tags r:id="rId29"/>
            </p:custDataLst>
          </p:nvPr>
        </p:nvSpPr>
        <p:spPr bwMode="gray">
          <a:xfrm>
            <a:off x="5254625" y="2237053"/>
            <a:ext cx="149225" cy="255588"/>
          </a:xfrm>
          <a:prstGeom prst="rect">
            <a:avLst/>
          </a:prstGeom>
          <a:solidFill>
            <a:schemeClr val="accent3"/>
          </a:solidFill>
          <a:ln>
            <a:noFill/>
          </a:ln>
          <a:effectLst/>
        </p:spPr>
        <p:txBody>
          <a:bodyPr vert="horz" wrap="none" lIns="25400" tIns="0" rIns="25400" bIns="0" numCol="1" spcCol="0" rtlCol="0" anchor="ctr"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5CA8E4D1-65AD-4C32-B7B1-46624CA97FEF}" type="datetime'''''''''''''''''''''''''''''''''''''''2'''''''''''''''''''">
              <a:rPr kumimoji="0" lang="en-US" altLang="en-US" sz="1400" b="1" i="0" u="none" strike="noStrike" kern="1200" cap="none" spc="0" normalizeH="0" baseline="0" noProof="0" smtClean="0">
                <a:ln>
                  <a:noFill/>
                </a:ln>
                <a:solidFill>
                  <a:schemeClr val="accent3">
                    <a:lumMod val="20000"/>
                    <a:lumOff val="80000"/>
                  </a:schemeClr>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2</a:t>
            </a:fld>
            <a:endParaRPr kumimoji="0" lang="en-US" sz="1400" b="1" i="0" u="none" strike="noStrike" kern="1200" cap="none" spc="0" normalizeH="0" baseline="0" noProof="0">
              <a:ln>
                <a:noFill/>
              </a:ln>
              <a:solidFill>
                <a:schemeClr val="accent3">
                  <a:lumMod val="20000"/>
                  <a:lumOff val="80000"/>
                </a:schemeClr>
              </a:solidFill>
              <a:effectLst/>
              <a:uLnTx/>
              <a:uFillTx/>
              <a:latin typeface="Arial"/>
              <a:ea typeface="+mn-ea"/>
              <a:cs typeface="+mn-cs"/>
            </a:endParaRPr>
          </a:p>
        </p:txBody>
      </p:sp>
      <p:sp>
        <p:nvSpPr>
          <p:cNvPr id="53" name="Text Placeholder 12">
            <a:extLst>
              <a:ext uri="{FF2B5EF4-FFF2-40B4-BE49-F238E27FC236}">
                <a16:creationId xmlns:a16="http://schemas.microsoft.com/office/drawing/2014/main" id="{A1C52952-8603-4FB9-9323-A68B6E487682}"/>
              </a:ext>
            </a:extLst>
          </p:cNvPr>
          <p:cNvSpPr>
            <a:spLocks noGrp="1"/>
          </p:cNvSpPr>
          <p:nvPr>
            <p:custDataLst>
              <p:tags r:id="rId30"/>
            </p:custDataLst>
          </p:nvPr>
        </p:nvSpPr>
        <p:spPr bwMode="auto">
          <a:xfrm>
            <a:off x="2652713" y="5112016"/>
            <a:ext cx="455613" cy="2555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D4CA76DD-FB4C-4635-AE2A-D04468DDE563}" type="datetime'O''''''''''''t''''he''''''''''''''''''''r'''''''''''''''''''">
              <a:rPr kumimoji="0" lang="en-US" altLang="en-US" sz="1300" b="0" i="0" u="none" strike="noStrike" kern="1200" cap="none" spc="0" normalizeH="0" baseline="0" noProof="0" smtClean="0">
                <a:ln>
                  <a:noFill/>
                </a:ln>
                <a:solidFill>
                  <a:schemeClr val="tx2"/>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Other</a:t>
            </a:fld>
            <a:endParaRPr kumimoji="0" lang="en-US" sz="1300" b="0" i="0" u="none" strike="noStrike" kern="1200" cap="none" spc="0" normalizeH="0" baseline="0" noProof="0">
              <a:ln>
                <a:noFill/>
              </a:ln>
              <a:solidFill>
                <a:schemeClr val="tx2"/>
              </a:solidFill>
              <a:effectLst/>
              <a:uLnTx/>
              <a:uFillTx/>
              <a:latin typeface="Arial"/>
              <a:ea typeface="+mn-ea"/>
              <a:cs typeface="+mn-cs"/>
            </a:endParaRPr>
          </a:p>
        </p:txBody>
      </p:sp>
      <p:sp>
        <p:nvSpPr>
          <p:cNvPr id="80" name="Text Placeholder 12">
            <a:extLst>
              <a:ext uri="{FF2B5EF4-FFF2-40B4-BE49-F238E27FC236}">
                <a16:creationId xmlns:a16="http://schemas.microsoft.com/office/drawing/2014/main" id="{7386346F-AB7F-48E0-85D5-97B520475838}"/>
              </a:ext>
            </a:extLst>
          </p:cNvPr>
          <p:cNvSpPr>
            <a:spLocks noGrp="1"/>
          </p:cNvSpPr>
          <p:nvPr>
            <p:custDataLst>
              <p:tags r:id="rId31"/>
            </p:custDataLst>
          </p:nvPr>
        </p:nvSpPr>
        <p:spPr bwMode="auto">
          <a:xfrm>
            <a:off x="5104033" y="5112016"/>
            <a:ext cx="387350" cy="2555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4B8C5787-2F00-424A-A834-F2B11D9E6548}" type="datetime'''''''C''''''''''''''''''a''''''r''s'''''''''">
              <a:rPr kumimoji="0" lang="en-US" altLang="en-US" sz="1300" b="0" i="0" u="none" strike="noStrike" kern="1200" cap="none" spc="0" normalizeH="0" baseline="0" noProof="0" smtClean="0">
                <a:ln>
                  <a:noFill/>
                </a:ln>
                <a:solidFill>
                  <a:schemeClr val="accent3">
                    <a:lumMod val="75000"/>
                  </a:schemeClr>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Cars</a:t>
            </a:fld>
            <a:endParaRPr kumimoji="0" lang="en-US" sz="1300" b="0" i="0" u="none" strike="noStrike" kern="1200" cap="none" spc="0" normalizeH="0" baseline="0" noProof="0">
              <a:ln>
                <a:noFill/>
              </a:ln>
              <a:solidFill>
                <a:schemeClr val="accent3">
                  <a:lumMod val="75000"/>
                </a:schemeClr>
              </a:solidFill>
              <a:effectLst/>
              <a:uLnTx/>
              <a:uFillTx/>
              <a:latin typeface="Arial"/>
              <a:ea typeface="+mn-ea"/>
              <a:cs typeface="+mn-cs"/>
            </a:endParaRPr>
          </a:p>
        </p:txBody>
      </p:sp>
      <p:sp>
        <p:nvSpPr>
          <p:cNvPr id="128" name="Text Placeholder 12">
            <a:extLst>
              <a:ext uri="{FF2B5EF4-FFF2-40B4-BE49-F238E27FC236}">
                <a16:creationId xmlns:a16="http://schemas.microsoft.com/office/drawing/2014/main" id="{6A68F264-1B5E-4461-A8C7-CAC948203679}"/>
              </a:ext>
            </a:extLst>
          </p:cNvPr>
          <p:cNvSpPr>
            <a:spLocks noGrp="1"/>
          </p:cNvSpPr>
          <p:nvPr>
            <p:custDataLst>
              <p:tags r:id="rId32"/>
            </p:custDataLst>
          </p:nvPr>
        </p:nvSpPr>
        <p:spPr bwMode="gray">
          <a:xfrm>
            <a:off x="8518525" y="1954478"/>
            <a:ext cx="149225" cy="255588"/>
          </a:xfrm>
          <a:prstGeom prst="rect">
            <a:avLst/>
          </a:prstGeom>
          <a:solidFill>
            <a:schemeClr val="accent4"/>
          </a:solidFill>
          <a:ln>
            <a:noFill/>
          </a:ln>
          <a:effectLst/>
        </p:spPr>
        <p:txBody>
          <a:bodyPr vert="horz" wrap="none" lIns="25400" tIns="0" rIns="25400" bIns="0" numCol="1" spcCol="0" rtlCol="0" anchor="ctr"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C760601C-A546-400D-BD7A-39B4BD0714FC}" type="datetime'''''''''''''''''''''''''0'''''''''''''''''''''''''''''''''''">
              <a:rPr kumimoji="0" lang="en-US" altLang="en-US" sz="1400" b="1" i="0" u="none" strike="noStrike" kern="1200" cap="none" spc="0" normalizeH="0" baseline="0" noProof="0" smtClean="0">
                <a:ln>
                  <a:noFill/>
                </a:ln>
                <a:solidFill>
                  <a:schemeClr val="accent4">
                    <a:lumMod val="20000"/>
                    <a:lumOff val="80000"/>
                  </a:schemeClr>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0</a:t>
            </a:fld>
            <a:endParaRPr kumimoji="0" lang="en-US" sz="1400" b="1" i="0" u="none" strike="noStrike" kern="1200" cap="none" spc="0" normalizeH="0" baseline="0" noProof="0">
              <a:ln>
                <a:noFill/>
              </a:ln>
              <a:solidFill>
                <a:schemeClr val="accent4">
                  <a:lumMod val="20000"/>
                  <a:lumOff val="80000"/>
                </a:schemeClr>
              </a:solidFill>
              <a:effectLst/>
              <a:uLnTx/>
              <a:uFillTx/>
              <a:latin typeface="Arial"/>
              <a:ea typeface="+mn-ea"/>
              <a:cs typeface="+mn-cs"/>
            </a:endParaRPr>
          </a:p>
        </p:txBody>
      </p:sp>
      <p:sp>
        <p:nvSpPr>
          <p:cNvPr id="9" name="Text Placeholder 12">
            <a:extLst>
              <a:ext uri="{FF2B5EF4-FFF2-40B4-BE49-F238E27FC236}">
                <a16:creationId xmlns:a16="http://schemas.microsoft.com/office/drawing/2014/main" id="{AE4C045F-E568-4505-9716-8F334954C53C}"/>
              </a:ext>
            </a:extLst>
          </p:cNvPr>
          <p:cNvSpPr>
            <a:spLocks noGrp="1"/>
          </p:cNvSpPr>
          <p:nvPr>
            <p:custDataLst>
              <p:tags r:id="rId33"/>
            </p:custDataLst>
          </p:nvPr>
        </p:nvSpPr>
        <p:spPr bwMode="auto">
          <a:xfrm>
            <a:off x="5747544" y="5112016"/>
            <a:ext cx="731838" cy="511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1530A113-CA2E-4D01-9792-BBF21868AE3B}" type="datetime'''V''''e''h''''''ic''l''''e ''''''''''f''le''e''t tot''''al'">
              <a:rPr kumimoji="0" lang="en-US" altLang="en-US" sz="1300" b="0" i="0" u="none" strike="noStrike" kern="1200" cap="none" spc="0" normalizeH="0" baseline="0" noProof="0" smtClean="0">
                <a:ln>
                  <a:noFill/>
                </a:ln>
                <a:solidFill>
                  <a:schemeClr val="accent3">
                    <a:lumMod val="75000"/>
                  </a:schemeClr>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Vehicle fleet total</a:t>
            </a:fld>
            <a:endParaRPr kumimoji="0" lang="en-US" sz="1300" b="0" i="0" u="none" strike="noStrike" kern="1200" cap="none" spc="0" normalizeH="0" baseline="0" noProof="0">
              <a:ln>
                <a:noFill/>
              </a:ln>
              <a:solidFill>
                <a:schemeClr val="accent3">
                  <a:lumMod val="75000"/>
                </a:schemeClr>
              </a:solidFill>
              <a:effectLst/>
              <a:uLnTx/>
              <a:uFillTx/>
              <a:latin typeface="Arial"/>
              <a:ea typeface="+mn-ea"/>
              <a:cs typeface="+mn-cs"/>
            </a:endParaRPr>
          </a:p>
        </p:txBody>
      </p:sp>
      <p:sp>
        <p:nvSpPr>
          <p:cNvPr id="212" name="Text Placeholder 12">
            <a:extLst>
              <a:ext uri="{FF2B5EF4-FFF2-40B4-BE49-F238E27FC236}">
                <a16:creationId xmlns:a16="http://schemas.microsoft.com/office/drawing/2014/main" id="{36BC26C5-E80C-42D6-93EA-DFC08F23FFCB}"/>
              </a:ext>
            </a:extLst>
          </p:cNvPr>
          <p:cNvSpPr>
            <a:spLocks noGrp="1"/>
          </p:cNvSpPr>
          <p:nvPr>
            <p:custDataLst>
              <p:tags r:id="rId34"/>
            </p:custDataLst>
          </p:nvPr>
        </p:nvSpPr>
        <p:spPr bwMode="gray">
          <a:xfrm>
            <a:off x="9336088" y="1944953"/>
            <a:ext cx="149225" cy="255588"/>
          </a:xfrm>
          <a:prstGeom prst="rect">
            <a:avLst/>
          </a:prstGeom>
          <a:solidFill>
            <a:schemeClr val="accent4"/>
          </a:solidFill>
          <a:ln>
            <a:noFill/>
          </a:ln>
          <a:effectLst/>
        </p:spPr>
        <p:txBody>
          <a:bodyPr vert="horz" wrap="none" lIns="25400" tIns="0" rIns="25400" bIns="0" numCol="1" spcCol="0" rtlCol="0" anchor="ctr"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C7C937EF-D1E2-4FC6-B1A5-ABF9180F92B1}" type="datetime'''''''''''''''0'''''''''''''''''''''''''''''''''''''''''''''">
              <a:rPr kumimoji="0" lang="en-US" altLang="en-US" sz="1400" b="1" i="0" u="none" strike="noStrike" kern="1200" cap="none" spc="0" normalizeH="0" baseline="0" noProof="0" smtClean="0">
                <a:ln>
                  <a:noFill/>
                </a:ln>
                <a:solidFill>
                  <a:schemeClr val="accent4">
                    <a:lumMod val="20000"/>
                    <a:lumOff val="80000"/>
                  </a:schemeClr>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0</a:t>
            </a:fld>
            <a:endParaRPr kumimoji="0" lang="en-US" sz="1400" b="1" i="0" u="none" strike="noStrike" kern="1200" cap="none" spc="0" normalizeH="0" baseline="0" noProof="0">
              <a:ln>
                <a:noFill/>
              </a:ln>
              <a:solidFill>
                <a:schemeClr val="accent4">
                  <a:lumMod val="20000"/>
                  <a:lumOff val="80000"/>
                </a:schemeClr>
              </a:solidFill>
              <a:effectLst/>
              <a:uLnTx/>
              <a:uFillTx/>
              <a:latin typeface="Arial"/>
              <a:ea typeface="+mn-ea"/>
              <a:cs typeface="+mn-cs"/>
            </a:endParaRPr>
          </a:p>
        </p:txBody>
      </p:sp>
      <p:sp>
        <p:nvSpPr>
          <p:cNvPr id="10" name="Text Placeholder 12">
            <a:extLst>
              <a:ext uri="{FF2B5EF4-FFF2-40B4-BE49-F238E27FC236}">
                <a16:creationId xmlns:a16="http://schemas.microsoft.com/office/drawing/2014/main" id="{FC4E0D0B-B31E-434E-8B8A-B2916B79650D}"/>
              </a:ext>
            </a:extLst>
          </p:cNvPr>
          <p:cNvSpPr>
            <a:spLocks noGrp="1"/>
          </p:cNvSpPr>
          <p:nvPr>
            <p:custDataLst>
              <p:tags r:id="rId35"/>
            </p:custDataLst>
          </p:nvPr>
        </p:nvSpPr>
        <p:spPr bwMode="auto">
          <a:xfrm>
            <a:off x="6638925" y="5112016"/>
            <a:ext cx="644525" cy="511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8B843EDA-49D8-443C-9284-FF7BF4C0EC69}" type="datetime'K''O''''N''E ''''fac''il''''''''i''ti''''''''e''''''s'">
              <a:rPr kumimoji="0" lang="en-US" altLang="en-US" sz="1300" b="0" i="0" u="none" strike="noStrike" kern="1200" cap="none" spc="0" normalizeH="0" baseline="0" noProof="0" smtClean="0">
                <a:ln>
                  <a:noFill/>
                </a:ln>
                <a:solidFill>
                  <a:schemeClr val="accent2"/>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KONE facilities</a:t>
            </a:fld>
            <a:endParaRPr kumimoji="0" lang="en-US" sz="1300" b="0" i="0" u="none" strike="noStrike" kern="1200" cap="none" spc="0" normalizeH="0" baseline="0" noProof="0">
              <a:ln>
                <a:noFill/>
              </a:ln>
              <a:solidFill>
                <a:schemeClr val="accent2"/>
              </a:solidFill>
              <a:effectLst/>
              <a:uLnTx/>
              <a:uFillTx/>
              <a:latin typeface="Arial"/>
              <a:ea typeface="+mn-ea"/>
              <a:cs typeface="+mn-cs"/>
            </a:endParaRPr>
          </a:p>
        </p:txBody>
      </p:sp>
      <p:sp>
        <p:nvSpPr>
          <p:cNvPr id="96" name="Text Placeholder 12">
            <a:extLst>
              <a:ext uri="{FF2B5EF4-FFF2-40B4-BE49-F238E27FC236}">
                <a16:creationId xmlns:a16="http://schemas.microsoft.com/office/drawing/2014/main" id="{335EE7CD-5517-4FA5-A9DA-5ED0E26FC921}"/>
              </a:ext>
            </a:extLst>
          </p:cNvPr>
          <p:cNvSpPr>
            <a:spLocks noGrp="1"/>
          </p:cNvSpPr>
          <p:nvPr>
            <p:custDataLst>
              <p:tags r:id="rId36"/>
            </p:custDataLst>
          </p:nvPr>
        </p:nvSpPr>
        <p:spPr bwMode="auto">
          <a:xfrm>
            <a:off x="7466013" y="5112016"/>
            <a:ext cx="623888" cy="2555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841005B3-24C4-46DB-AA1D-4D7BB03ACCD7}" type="datetime'S''e''''''''r''''''''v''''e''''r''''''''''''''s'">
              <a:rPr kumimoji="0" lang="en-US" altLang="en-US" sz="1300" b="0" i="0" u="none" strike="noStrike" kern="1200" cap="none" spc="0" normalizeH="0" baseline="0" noProof="0" smtClean="0">
                <a:ln>
                  <a:noFill/>
                </a:ln>
                <a:solidFill>
                  <a:schemeClr val="accent4">
                    <a:lumMod val="75000"/>
                  </a:schemeClr>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Servers</a:t>
            </a:fld>
            <a:endParaRPr kumimoji="0" lang="en-US" sz="1300" b="0" i="0" u="none" strike="noStrike" kern="1200" cap="none" spc="0" normalizeH="0" baseline="0" noProof="0">
              <a:ln>
                <a:noFill/>
              </a:ln>
              <a:solidFill>
                <a:schemeClr val="accent4">
                  <a:lumMod val="75000"/>
                </a:schemeClr>
              </a:solidFill>
              <a:effectLst/>
              <a:uLnTx/>
              <a:uFillTx/>
              <a:latin typeface="Arial"/>
              <a:ea typeface="+mn-ea"/>
              <a:cs typeface="+mn-cs"/>
            </a:endParaRPr>
          </a:p>
        </p:txBody>
      </p:sp>
      <p:sp>
        <p:nvSpPr>
          <p:cNvPr id="133" name="Rectangle 132">
            <a:extLst>
              <a:ext uri="{FF2B5EF4-FFF2-40B4-BE49-F238E27FC236}">
                <a16:creationId xmlns:a16="http://schemas.microsoft.com/office/drawing/2014/main" id="{85984041-BBC6-43BD-8626-A2328C3136EC}"/>
              </a:ext>
            </a:extLst>
          </p:cNvPr>
          <p:cNvSpPr/>
          <p:nvPr/>
        </p:nvSpPr>
        <p:spPr>
          <a:xfrm>
            <a:off x="749250" y="5815070"/>
            <a:ext cx="3251572" cy="270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accent1"/>
                </a:solidFill>
                <a:effectLst/>
                <a:uLnTx/>
                <a:uFillTx/>
                <a:latin typeface="Arial"/>
                <a:ea typeface="+mn-ea"/>
                <a:cs typeface="+mn-cs"/>
              </a:rPr>
              <a:t>Spare parts</a:t>
            </a:r>
          </a:p>
        </p:txBody>
      </p:sp>
      <p:sp>
        <p:nvSpPr>
          <p:cNvPr id="134" name="Rectangle 133">
            <a:extLst>
              <a:ext uri="{FF2B5EF4-FFF2-40B4-BE49-F238E27FC236}">
                <a16:creationId xmlns:a16="http://schemas.microsoft.com/office/drawing/2014/main" id="{349A9021-54B2-4A55-AC40-2C86BD1AEF0C}"/>
              </a:ext>
            </a:extLst>
          </p:cNvPr>
          <p:cNvSpPr/>
          <p:nvPr/>
        </p:nvSpPr>
        <p:spPr>
          <a:xfrm>
            <a:off x="4270194" y="5821763"/>
            <a:ext cx="2236301" cy="2692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accent3"/>
                </a:solidFill>
                <a:effectLst/>
                <a:uLnTx/>
                <a:uFillTx/>
                <a:latin typeface="Arial"/>
                <a:ea typeface="+mn-ea"/>
                <a:cs typeface="+mn-cs"/>
              </a:rPr>
              <a:t>Vehicle fleet</a:t>
            </a:r>
          </a:p>
        </p:txBody>
      </p:sp>
      <p:sp>
        <p:nvSpPr>
          <p:cNvPr id="136" name="Rectangle 135">
            <a:extLst>
              <a:ext uri="{FF2B5EF4-FFF2-40B4-BE49-F238E27FC236}">
                <a16:creationId xmlns:a16="http://schemas.microsoft.com/office/drawing/2014/main" id="{A867F5E8-93B1-42C3-B385-2CF71148C26B}"/>
              </a:ext>
            </a:extLst>
          </p:cNvPr>
          <p:cNvSpPr/>
          <p:nvPr/>
        </p:nvSpPr>
        <p:spPr>
          <a:xfrm>
            <a:off x="7517080" y="5831949"/>
            <a:ext cx="3166491" cy="270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chemeClr val="accent4"/>
                </a:solidFill>
                <a:effectLst/>
                <a:uLnTx/>
                <a:uFillTx/>
                <a:latin typeface="Arial"/>
                <a:ea typeface="+mn-ea"/>
                <a:cs typeface="+mn-cs"/>
              </a:rPr>
              <a:t>Other</a:t>
            </a:r>
          </a:p>
        </p:txBody>
      </p:sp>
      <p:cxnSp>
        <p:nvCxnSpPr>
          <p:cNvPr id="15" name="Straight Connector 14">
            <a:extLst>
              <a:ext uri="{FF2B5EF4-FFF2-40B4-BE49-F238E27FC236}">
                <a16:creationId xmlns:a16="http://schemas.microsoft.com/office/drawing/2014/main" id="{13BB0A0D-9A7C-4870-8871-46A7C49CCCD1}"/>
              </a:ext>
            </a:extLst>
          </p:cNvPr>
          <p:cNvCxnSpPr/>
          <p:nvPr/>
        </p:nvCxnSpPr>
        <p:spPr>
          <a:xfrm flipV="1">
            <a:off x="4151784" y="1726920"/>
            <a:ext cx="0" cy="4354364"/>
          </a:xfrm>
          <a:prstGeom prst="line">
            <a:avLst/>
          </a:prstGeom>
          <a:ln>
            <a:solidFill>
              <a:schemeClr val="bg1">
                <a:lumMod val="85000"/>
              </a:schemeClr>
            </a:solidFill>
            <a:prstDash val="dash"/>
          </a:ln>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AEF15BF1-1559-4DBA-847E-A560F4ED4FA6}"/>
              </a:ext>
            </a:extLst>
          </p:cNvPr>
          <p:cNvCxnSpPr/>
          <p:nvPr/>
        </p:nvCxnSpPr>
        <p:spPr>
          <a:xfrm flipV="1">
            <a:off x="6495880" y="1726920"/>
            <a:ext cx="0" cy="4354364"/>
          </a:xfrm>
          <a:prstGeom prst="line">
            <a:avLst/>
          </a:prstGeom>
          <a:ln>
            <a:solidFill>
              <a:schemeClr val="bg1">
                <a:lumMod val="85000"/>
              </a:schemeClr>
            </a:solidFill>
            <a:prstDash val="dash"/>
          </a:ln>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D9EEF3CD-6A0A-4FCB-89A8-3ECCFFE71E4D}"/>
              </a:ext>
            </a:extLst>
          </p:cNvPr>
          <p:cNvCxnSpPr/>
          <p:nvPr/>
        </p:nvCxnSpPr>
        <p:spPr>
          <a:xfrm flipV="1">
            <a:off x="7433629" y="1726920"/>
            <a:ext cx="0" cy="4354364"/>
          </a:xfrm>
          <a:prstGeom prst="line">
            <a:avLst/>
          </a:prstGeom>
          <a:ln>
            <a:solidFill>
              <a:schemeClr val="bg1">
                <a:lumMod val="85000"/>
              </a:schemeClr>
            </a:solidFill>
            <a:prstDash val="dash"/>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61909876-D61A-4E32-85A5-97480D5FA7A4}"/>
              </a:ext>
            </a:extLst>
          </p:cNvPr>
          <p:cNvCxnSpPr/>
          <p:nvPr/>
        </p:nvCxnSpPr>
        <p:spPr>
          <a:xfrm flipV="1">
            <a:off x="10744267" y="1726920"/>
            <a:ext cx="0" cy="4354364"/>
          </a:xfrm>
          <a:prstGeom prst="line">
            <a:avLst/>
          </a:prstGeom>
          <a:ln>
            <a:solidFill>
              <a:schemeClr val="bg1">
                <a:lumMod val="85000"/>
              </a:schemeClr>
            </a:solidFill>
            <a:prstDash val="dash"/>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6577017E-5BF3-48D2-945E-52DA9714E8E8}"/>
              </a:ext>
            </a:extLst>
          </p:cNvPr>
          <p:cNvSpPr/>
          <p:nvPr/>
        </p:nvSpPr>
        <p:spPr>
          <a:xfrm rot="546814">
            <a:off x="9472060" y="1009113"/>
            <a:ext cx="2520944" cy="10348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NOTE – This slide should be localized for each country. Please remove this pink textbox after localization</a:t>
            </a:r>
          </a:p>
        </p:txBody>
      </p:sp>
      <p:sp>
        <p:nvSpPr>
          <p:cNvPr id="135" name="Rectangle 134">
            <a:extLst>
              <a:ext uri="{FF2B5EF4-FFF2-40B4-BE49-F238E27FC236}">
                <a16:creationId xmlns:a16="http://schemas.microsoft.com/office/drawing/2014/main" id="{D5A50228-B68D-43D7-8984-76157AE0D5CE}"/>
              </a:ext>
            </a:extLst>
          </p:cNvPr>
          <p:cNvSpPr/>
          <p:nvPr/>
        </p:nvSpPr>
        <p:spPr>
          <a:xfrm>
            <a:off x="6554849" y="5820176"/>
            <a:ext cx="868560" cy="270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accent2"/>
                </a:solidFill>
                <a:effectLst/>
                <a:uLnTx/>
                <a:uFillTx/>
                <a:latin typeface="Arial"/>
                <a:ea typeface="+mn-ea"/>
                <a:cs typeface="+mn-cs"/>
              </a:rPr>
              <a:t>Facilities</a:t>
            </a:r>
          </a:p>
        </p:txBody>
      </p:sp>
      <p:pic>
        <p:nvPicPr>
          <p:cNvPr id="68" name="Graphic 67">
            <a:extLst>
              <a:ext uri="{FF2B5EF4-FFF2-40B4-BE49-F238E27FC236}">
                <a16:creationId xmlns:a16="http://schemas.microsoft.com/office/drawing/2014/main" id="{02A2F2F4-3E37-4480-AA88-BDF62D86E276}"/>
              </a:ext>
            </a:extLst>
          </p:cNvPr>
          <p:cNvPicPr>
            <a:picLocks noChangeAspect="1"/>
          </p:cNvPicPr>
          <p:nvPr/>
        </p:nvPicPr>
        <p:blipFill>
          <a:blip r:embed="rId43">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8968868" y="200466"/>
            <a:ext cx="734439" cy="734439"/>
          </a:xfrm>
          <a:prstGeom prst="rect">
            <a:avLst/>
          </a:prstGeom>
        </p:spPr>
      </p:pic>
      <p:sp>
        <p:nvSpPr>
          <p:cNvPr id="57" name="Freeform 9">
            <a:hlinkClick r:id="rId45" action="ppaction://hlinksldjump"/>
            <a:extLst>
              <a:ext uri="{FF2B5EF4-FFF2-40B4-BE49-F238E27FC236}">
                <a16:creationId xmlns:a16="http://schemas.microsoft.com/office/drawing/2014/main" id="{18E5FA66-B807-48FA-9847-8592F9F98224}"/>
              </a:ext>
            </a:extLst>
          </p:cNvPr>
          <p:cNvSpPr>
            <a:spLocks noChangeAspect="1" noEditPoints="1"/>
          </p:cNvSpPr>
          <p:nvPr/>
        </p:nvSpPr>
        <p:spPr bwMode="auto">
          <a:xfrm rot="10800000" flipV="1">
            <a:off x="191181" y="90916"/>
            <a:ext cx="108000" cy="108000"/>
          </a:xfrm>
          <a:custGeom>
            <a:avLst/>
            <a:gdLst>
              <a:gd name="T0" fmla="*/ 1082 w 2142"/>
              <a:gd name="T1" fmla="*/ 1607 h 2142"/>
              <a:gd name="T2" fmla="*/ 990 w 2142"/>
              <a:gd name="T3" fmla="*/ 1578 h 2142"/>
              <a:gd name="T4" fmla="*/ 494 w 2142"/>
              <a:gd name="T5" fmla="*/ 1025 h 2142"/>
              <a:gd name="T6" fmla="*/ 999 w 2142"/>
              <a:gd name="T7" fmla="*/ 1002 h 2142"/>
              <a:gd name="T8" fmla="*/ 1060 w 2142"/>
              <a:gd name="T9" fmla="*/ 534 h 2142"/>
              <a:gd name="T10" fmla="*/ 1153 w 2142"/>
              <a:gd name="T11" fmla="*/ 564 h 2142"/>
              <a:gd name="T12" fmla="*/ 1666 w 2142"/>
              <a:gd name="T13" fmla="*/ 1064 h 2142"/>
              <a:gd name="T14" fmla="*/ 1641 w 2142"/>
              <a:gd name="T15" fmla="*/ 1124 h 2142"/>
              <a:gd name="T16" fmla="*/ 539 w 2142"/>
              <a:gd name="T17" fmla="*/ 1140 h 2142"/>
              <a:gd name="T18" fmla="*/ 488 w 2142"/>
              <a:gd name="T19" fmla="*/ 1109 h 2142"/>
              <a:gd name="T20" fmla="*/ 988 w 2142"/>
              <a:gd name="T21" fmla="*/ 2139 h 2142"/>
              <a:gd name="T22" fmla="*/ 728 w 2142"/>
              <a:gd name="T23" fmla="*/ 2086 h 2142"/>
              <a:gd name="T24" fmla="*/ 494 w 2142"/>
              <a:gd name="T25" fmla="*/ 1973 h 2142"/>
              <a:gd name="T26" fmla="*/ 296 w 2142"/>
              <a:gd name="T27" fmla="*/ 1810 h 2142"/>
              <a:gd name="T28" fmla="*/ 142 w 2142"/>
              <a:gd name="T29" fmla="*/ 1604 h 2142"/>
              <a:gd name="T30" fmla="*/ 41 w 2142"/>
              <a:gd name="T31" fmla="*/ 1364 h 2142"/>
              <a:gd name="T32" fmla="*/ 0 w 2142"/>
              <a:gd name="T33" fmla="*/ 1098 h 2142"/>
              <a:gd name="T34" fmla="*/ 27 w 2142"/>
              <a:gd name="T35" fmla="*/ 829 h 2142"/>
              <a:gd name="T36" fmla="*/ 117 w 2142"/>
              <a:gd name="T37" fmla="*/ 584 h 2142"/>
              <a:gd name="T38" fmla="*/ 261 w 2142"/>
              <a:gd name="T39" fmla="*/ 370 h 2142"/>
              <a:gd name="T40" fmla="*/ 452 w 2142"/>
              <a:gd name="T41" fmla="*/ 198 h 2142"/>
              <a:gd name="T42" fmla="*/ 679 w 2142"/>
              <a:gd name="T43" fmla="*/ 74 h 2142"/>
              <a:gd name="T44" fmla="*/ 936 w 2142"/>
              <a:gd name="T45" fmla="*/ 8 h 2142"/>
              <a:gd name="T46" fmla="*/ 1208 w 2142"/>
              <a:gd name="T47" fmla="*/ 8 h 2142"/>
              <a:gd name="T48" fmla="*/ 1463 w 2142"/>
              <a:gd name="T49" fmla="*/ 74 h 2142"/>
              <a:gd name="T50" fmla="*/ 1691 w 2142"/>
              <a:gd name="T51" fmla="*/ 198 h 2142"/>
              <a:gd name="T52" fmla="*/ 1881 w 2142"/>
              <a:gd name="T53" fmla="*/ 370 h 2142"/>
              <a:gd name="T54" fmla="*/ 2025 w 2142"/>
              <a:gd name="T55" fmla="*/ 584 h 2142"/>
              <a:gd name="T56" fmla="*/ 2115 w 2142"/>
              <a:gd name="T57" fmla="*/ 829 h 2142"/>
              <a:gd name="T58" fmla="*/ 2142 w 2142"/>
              <a:gd name="T59" fmla="*/ 1098 h 2142"/>
              <a:gd name="T60" fmla="*/ 2101 w 2142"/>
              <a:gd name="T61" fmla="*/ 1364 h 2142"/>
              <a:gd name="T62" fmla="*/ 2000 w 2142"/>
              <a:gd name="T63" fmla="*/ 1604 h 2142"/>
              <a:gd name="T64" fmla="*/ 1846 w 2142"/>
              <a:gd name="T65" fmla="*/ 1810 h 2142"/>
              <a:gd name="T66" fmla="*/ 1648 w 2142"/>
              <a:gd name="T67" fmla="*/ 1973 h 2142"/>
              <a:gd name="T68" fmla="*/ 1414 w 2142"/>
              <a:gd name="T69" fmla="*/ 2086 h 2142"/>
              <a:gd name="T70" fmla="*/ 1154 w 2142"/>
              <a:gd name="T71" fmla="*/ 2139 h 2142"/>
              <a:gd name="T72" fmla="*/ 924 w 2142"/>
              <a:gd name="T73" fmla="*/ 113 h 2142"/>
              <a:gd name="T74" fmla="*/ 695 w 2142"/>
              <a:gd name="T75" fmla="*/ 179 h 2142"/>
              <a:gd name="T76" fmla="*/ 492 w 2142"/>
              <a:gd name="T77" fmla="*/ 296 h 2142"/>
              <a:gd name="T78" fmla="*/ 324 w 2142"/>
              <a:gd name="T79" fmla="*/ 456 h 2142"/>
              <a:gd name="T80" fmla="*/ 200 w 2142"/>
              <a:gd name="T81" fmla="*/ 652 h 2142"/>
              <a:gd name="T82" fmla="*/ 123 w 2142"/>
              <a:gd name="T83" fmla="*/ 876 h 2142"/>
              <a:gd name="T84" fmla="*/ 105 w 2142"/>
              <a:gd name="T85" fmla="*/ 1121 h 2142"/>
              <a:gd name="T86" fmla="*/ 147 w 2142"/>
              <a:gd name="T87" fmla="*/ 1358 h 2142"/>
              <a:gd name="T88" fmla="*/ 243 w 2142"/>
              <a:gd name="T89" fmla="*/ 1572 h 2142"/>
              <a:gd name="T90" fmla="*/ 388 w 2142"/>
              <a:gd name="T91" fmla="*/ 1755 h 2142"/>
              <a:gd name="T92" fmla="*/ 570 w 2142"/>
              <a:gd name="T93" fmla="*/ 1899 h 2142"/>
              <a:gd name="T94" fmla="*/ 784 w 2142"/>
              <a:gd name="T95" fmla="*/ 1996 h 2142"/>
              <a:gd name="T96" fmla="*/ 1021 w 2142"/>
              <a:gd name="T97" fmla="*/ 2037 h 2142"/>
              <a:gd name="T98" fmla="*/ 1266 w 2142"/>
              <a:gd name="T99" fmla="*/ 2019 h 2142"/>
              <a:gd name="T100" fmla="*/ 1490 w 2142"/>
              <a:gd name="T101" fmla="*/ 1943 h 2142"/>
              <a:gd name="T102" fmla="*/ 1686 w 2142"/>
              <a:gd name="T103" fmla="*/ 1818 h 2142"/>
              <a:gd name="T104" fmla="*/ 1846 w 2142"/>
              <a:gd name="T105" fmla="*/ 1650 h 2142"/>
              <a:gd name="T106" fmla="*/ 1963 w 2142"/>
              <a:gd name="T107" fmla="*/ 1447 h 2142"/>
              <a:gd name="T108" fmla="*/ 2028 w 2142"/>
              <a:gd name="T109" fmla="*/ 1218 h 2142"/>
              <a:gd name="T110" fmla="*/ 2034 w 2142"/>
              <a:gd name="T111" fmla="*/ 972 h 2142"/>
              <a:gd name="T112" fmla="*/ 1980 w 2142"/>
              <a:gd name="T113" fmla="*/ 738 h 2142"/>
              <a:gd name="T114" fmla="*/ 1873 w 2142"/>
              <a:gd name="T115" fmla="*/ 530 h 2142"/>
              <a:gd name="T116" fmla="*/ 1721 w 2142"/>
              <a:gd name="T117" fmla="*/ 354 h 2142"/>
              <a:gd name="T118" fmla="*/ 1532 w 2142"/>
              <a:gd name="T119" fmla="*/ 219 h 2142"/>
              <a:gd name="T120" fmla="*/ 1313 w 2142"/>
              <a:gd name="T121" fmla="*/ 134 h 2142"/>
              <a:gd name="T122" fmla="*/ 1072 w 2142"/>
              <a:gd name="T123" fmla="*/ 103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2" h="2142">
                <a:moveTo>
                  <a:pt x="1372" y="1210"/>
                </a:moveTo>
                <a:lnTo>
                  <a:pt x="1565" y="1210"/>
                </a:lnTo>
                <a:lnTo>
                  <a:pt x="1153" y="1578"/>
                </a:lnTo>
                <a:lnTo>
                  <a:pt x="1144" y="1585"/>
                </a:lnTo>
                <a:lnTo>
                  <a:pt x="1135" y="1590"/>
                </a:lnTo>
                <a:lnTo>
                  <a:pt x="1125" y="1596"/>
                </a:lnTo>
                <a:lnTo>
                  <a:pt x="1114" y="1601"/>
                </a:lnTo>
                <a:lnTo>
                  <a:pt x="1104" y="1604"/>
                </a:lnTo>
                <a:lnTo>
                  <a:pt x="1093" y="1606"/>
                </a:lnTo>
                <a:lnTo>
                  <a:pt x="1082" y="1607"/>
                </a:lnTo>
                <a:lnTo>
                  <a:pt x="1072" y="1608"/>
                </a:lnTo>
                <a:lnTo>
                  <a:pt x="1060" y="1607"/>
                </a:lnTo>
                <a:lnTo>
                  <a:pt x="1049" y="1606"/>
                </a:lnTo>
                <a:lnTo>
                  <a:pt x="1039" y="1604"/>
                </a:lnTo>
                <a:lnTo>
                  <a:pt x="1033" y="1603"/>
                </a:lnTo>
                <a:lnTo>
                  <a:pt x="1028" y="1601"/>
                </a:lnTo>
                <a:lnTo>
                  <a:pt x="1018" y="1596"/>
                </a:lnTo>
                <a:lnTo>
                  <a:pt x="1009" y="1590"/>
                </a:lnTo>
                <a:lnTo>
                  <a:pt x="999" y="1585"/>
                </a:lnTo>
                <a:lnTo>
                  <a:pt x="990" y="1578"/>
                </a:lnTo>
                <a:lnTo>
                  <a:pt x="975" y="1564"/>
                </a:lnTo>
                <a:lnTo>
                  <a:pt x="1372" y="1210"/>
                </a:lnTo>
                <a:close/>
                <a:moveTo>
                  <a:pt x="476" y="1070"/>
                </a:moveTo>
                <a:lnTo>
                  <a:pt x="478" y="1064"/>
                </a:lnTo>
                <a:lnTo>
                  <a:pt x="479" y="1056"/>
                </a:lnTo>
                <a:lnTo>
                  <a:pt x="481" y="1049"/>
                </a:lnTo>
                <a:lnTo>
                  <a:pt x="484" y="1042"/>
                </a:lnTo>
                <a:lnTo>
                  <a:pt x="487" y="1035"/>
                </a:lnTo>
                <a:lnTo>
                  <a:pt x="491" y="1030"/>
                </a:lnTo>
                <a:lnTo>
                  <a:pt x="494" y="1025"/>
                </a:lnTo>
                <a:lnTo>
                  <a:pt x="499" y="1020"/>
                </a:lnTo>
                <a:lnTo>
                  <a:pt x="505" y="1016"/>
                </a:lnTo>
                <a:lnTo>
                  <a:pt x="509" y="1012"/>
                </a:lnTo>
                <a:lnTo>
                  <a:pt x="515" y="1008"/>
                </a:lnTo>
                <a:lnTo>
                  <a:pt x="520" y="1006"/>
                </a:lnTo>
                <a:lnTo>
                  <a:pt x="527" y="1004"/>
                </a:lnTo>
                <a:lnTo>
                  <a:pt x="533" y="1003"/>
                </a:lnTo>
                <a:lnTo>
                  <a:pt x="539" y="1002"/>
                </a:lnTo>
                <a:lnTo>
                  <a:pt x="546" y="1002"/>
                </a:lnTo>
                <a:lnTo>
                  <a:pt x="999" y="1002"/>
                </a:lnTo>
                <a:lnTo>
                  <a:pt x="1451" y="1002"/>
                </a:lnTo>
                <a:lnTo>
                  <a:pt x="975" y="577"/>
                </a:lnTo>
                <a:lnTo>
                  <a:pt x="990" y="564"/>
                </a:lnTo>
                <a:lnTo>
                  <a:pt x="999" y="557"/>
                </a:lnTo>
                <a:lnTo>
                  <a:pt x="1009" y="550"/>
                </a:lnTo>
                <a:lnTo>
                  <a:pt x="1018" y="546"/>
                </a:lnTo>
                <a:lnTo>
                  <a:pt x="1028" y="541"/>
                </a:lnTo>
                <a:lnTo>
                  <a:pt x="1039" y="538"/>
                </a:lnTo>
                <a:lnTo>
                  <a:pt x="1049" y="536"/>
                </a:lnTo>
                <a:lnTo>
                  <a:pt x="1060" y="534"/>
                </a:lnTo>
                <a:lnTo>
                  <a:pt x="1072" y="533"/>
                </a:lnTo>
                <a:lnTo>
                  <a:pt x="1082" y="534"/>
                </a:lnTo>
                <a:lnTo>
                  <a:pt x="1093" y="536"/>
                </a:lnTo>
                <a:lnTo>
                  <a:pt x="1104" y="538"/>
                </a:lnTo>
                <a:lnTo>
                  <a:pt x="1109" y="539"/>
                </a:lnTo>
                <a:lnTo>
                  <a:pt x="1114" y="541"/>
                </a:lnTo>
                <a:lnTo>
                  <a:pt x="1125" y="546"/>
                </a:lnTo>
                <a:lnTo>
                  <a:pt x="1135" y="550"/>
                </a:lnTo>
                <a:lnTo>
                  <a:pt x="1144" y="557"/>
                </a:lnTo>
                <a:lnTo>
                  <a:pt x="1153" y="564"/>
                </a:lnTo>
                <a:lnTo>
                  <a:pt x="1629" y="988"/>
                </a:lnTo>
                <a:lnTo>
                  <a:pt x="1637" y="996"/>
                </a:lnTo>
                <a:lnTo>
                  <a:pt x="1643" y="1004"/>
                </a:lnTo>
                <a:lnTo>
                  <a:pt x="1650" y="1013"/>
                </a:lnTo>
                <a:lnTo>
                  <a:pt x="1655" y="1023"/>
                </a:lnTo>
                <a:lnTo>
                  <a:pt x="1657" y="1028"/>
                </a:lnTo>
                <a:lnTo>
                  <a:pt x="1659" y="1032"/>
                </a:lnTo>
                <a:lnTo>
                  <a:pt x="1662" y="1042"/>
                </a:lnTo>
                <a:lnTo>
                  <a:pt x="1665" y="1053"/>
                </a:lnTo>
                <a:lnTo>
                  <a:pt x="1666" y="1064"/>
                </a:lnTo>
                <a:lnTo>
                  <a:pt x="1666" y="1071"/>
                </a:lnTo>
                <a:lnTo>
                  <a:pt x="1665" y="1080"/>
                </a:lnTo>
                <a:lnTo>
                  <a:pt x="1664" y="1087"/>
                </a:lnTo>
                <a:lnTo>
                  <a:pt x="1661" y="1095"/>
                </a:lnTo>
                <a:lnTo>
                  <a:pt x="1658" y="1102"/>
                </a:lnTo>
                <a:lnTo>
                  <a:pt x="1655" y="1109"/>
                </a:lnTo>
                <a:lnTo>
                  <a:pt x="1650" y="1114"/>
                </a:lnTo>
                <a:lnTo>
                  <a:pt x="1646" y="1120"/>
                </a:lnTo>
                <a:lnTo>
                  <a:pt x="1643" y="1122"/>
                </a:lnTo>
                <a:lnTo>
                  <a:pt x="1641" y="1124"/>
                </a:lnTo>
                <a:lnTo>
                  <a:pt x="1635" y="1129"/>
                </a:lnTo>
                <a:lnTo>
                  <a:pt x="1630" y="1132"/>
                </a:lnTo>
                <a:lnTo>
                  <a:pt x="1624" y="1136"/>
                </a:lnTo>
                <a:lnTo>
                  <a:pt x="1617" y="1138"/>
                </a:lnTo>
                <a:lnTo>
                  <a:pt x="1611" y="1139"/>
                </a:lnTo>
                <a:lnTo>
                  <a:pt x="1604" y="1140"/>
                </a:lnTo>
                <a:lnTo>
                  <a:pt x="1596" y="1141"/>
                </a:lnTo>
                <a:lnTo>
                  <a:pt x="1071" y="1141"/>
                </a:lnTo>
                <a:lnTo>
                  <a:pt x="546" y="1141"/>
                </a:lnTo>
                <a:lnTo>
                  <a:pt x="539" y="1140"/>
                </a:lnTo>
                <a:lnTo>
                  <a:pt x="533" y="1139"/>
                </a:lnTo>
                <a:lnTo>
                  <a:pt x="527" y="1138"/>
                </a:lnTo>
                <a:lnTo>
                  <a:pt x="520" y="1136"/>
                </a:lnTo>
                <a:lnTo>
                  <a:pt x="515" y="1133"/>
                </a:lnTo>
                <a:lnTo>
                  <a:pt x="509" y="1130"/>
                </a:lnTo>
                <a:lnTo>
                  <a:pt x="505" y="1127"/>
                </a:lnTo>
                <a:lnTo>
                  <a:pt x="499" y="1122"/>
                </a:lnTo>
                <a:lnTo>
                  <a:pt x="494" y="1118"/>
                </a:lnTo>
                <a:lnTo>
                  <a:pt x="491" y="1113"/>
                </a:lnTo>
                <a:lnTo>
                  <a:pt x="488" y="1109"/>
                </a:lnTo>
                <a:lnTo>
                  <a:pt x="484" y="1103"/>
                </a:lnTo>
                <a:lnTo>
                  <a:pt x="481" y="1097"/>
                </a:lnTo>
                <a:lnTo>
                  <a:pt x="480" y="1091"/>
                </a:lnTo>
                <a:lnTo>
                  <a:pt x="478" y="1085"/>
                </a:lnTo>
                <a:lnTo>
                  <a:pt x="476" y="1078"/>
                </a:lnTo>
                <a:lnTo>
                  <a:pt x="476" y="1070"/>
                </a:lnTo>
                <a:close/>
                <a:moveTo>
                  <a:pt x="1072" y="2142"/>
                </a:moveTo>
                <a:lnTo>
                  <a:pt x="1044" y="2142"/>
                </a:lnTo>
                <a:lnTo>
                  <a:pt x="1017" y="2141"/>
                </a:lnTo>
                <a:lnTo>
                  <a:pt x="988" y="2139"/>
                </a:lnTo>
                <a:lnTo>
                  <a:pt x="961" y="2136"/>
                </a:lnTo>
                <a:lnTo>
                  <a:pt x="936" y="2133"/>
                </a:lnTo>
                <a:lnTo>
                  <a:pt x="909" y="2130"/>
                </a:lnTo>
                <a:lnTo>
                  <a:pt x="882" y="2125"/>
                </a:lnTo>
                <a:lnTo>
                  <a:pt x="856" y="2121"/>
                </a:lnTo>
                <a:lnTo>
                  <a:pt x="830" y="2115"/>
                </a:lnTo>
                <a:lnTo>
                  <a:pt x="804" y="2108"/>
                </a:lnTo>
                <a:lnTo>
                  <a:pt x="778" y="2101"/>
                </a:lnTo>
                <a:lnTo>
                  <a:pt x="753" y="2094"/>
                </a:lnTo>
                <a:lnTo>
                  <a:pt x="728" y="2086"/>
                </a:lnTo>
                <a:lnTo>
                  <a:pt x="704" y="2077"/>
                </a:lnTo>
                <a:lnTo>
                  <a:pt x="679" y="2068"/>
                </a:lnTo>
                <a:lnTo>
                  <a:pt x="654" y="2058"/>
                </a:lnTo>
                <a:lnTo>
                  <a:pt x="631" y="2047"/>
                </a:lnTo>
                <a:lnTo>
                  <a:pt x="607" y="2036"/>
                </a:lnTo>
                <a:lnTo>
                  <a:pt x="584" y="2025"/>
                </a:lnTo>
                <a:lnTo>
                  <a:pt x="561" y="2013"/>
                </a:lnTo>
                <a:lnTo>
                  <a:pt x="538" y="2000"/>
                </a:lnTo>
                <a:lnTo>
                  <a:pt x="516" y="1987"/>
                </a:lnTo>
                <a:lnTo>
                  <a:pt x="494" y="1973"/>
                </a:lnTo>
                <a:lnTo>
                  <a:pt x="473" y="1959"/>
                </a:lnTo>
                <a:lnTo>
                  <a:pt x="452" y="1944"/>
                </a:lnTo>
                <a:lnTo>
                  <a:pt x="431" y="1929"/>
                </a:lnTo>
                <a:lnTo>
                  <a:pt x="410" y="1913"/>
                </a:lnTo>
                <a:lnTo>
                  <a:pt x="391" y="1898"/>
                </a:lnTo>
                <a:lnTo>
                  <a:pt x="371" y="1881"/>
                </a:lnTo>
                <a:lnTo>
                  <a:pt x="351" y="1864"/>
                </a:lnTo>
                <a:lnTo>
                  <a:pt x="332" y="1846"/>
                </a:lnTo>
                <a:lnTo>
                  <a:pt x="314" y="1828"/>
                </a:lnTo>
                <a:lnTo>
                  <a:pt x="296" y="1810"/>
                </a:lnTo>
                <a:lnTo>
                  <a:pt x="278" y="1791"/>
                </a:lnTo>
                <a:lnTo>
                  <a:pt x="261" y="1772"/>
                </a:lnTo>
                <a:lnTo>
                  <a:pt x="245" y="1751"/>
                </a:lnTo>
                <a:lnTo>
                  <a:pt x="229" y="1732"/>
                </a:lnTo>
                <a:lnTo>
                  <a:pt x="213" y="1712"/>
                </a:lnTo>
                <a:lnTo>
                  <a:pt x="198" y="1691"/>
                </a:lnTo>
                <a:lnTo>
                  <a:pt x="184" y="1669"/>
                </a:lnTo>
                <a:lnTo>
                  <a:pt x="169" y="1648"/>
                </a:lnTo>
                <a:lnTo>
                  <a:pt x="156" y="1626"/>
                </a:lnTo>
                <a:lnTo>
                  <a:pt x="142" y="1604"/>
                </a:lnTo>
                <a:lnTo>
                  <a:pt x="130" y="1581"/>
                </a:lnTo>
                <a:lnTo>
                  <a:pt x="117" y="1558"/>
                </a:lnTo>
                <a:lnTo>
                  <a:pt x="106" y="1535"/>
                </a:lnTo>
                <a:lnTo>
                  <a:pt x="95" y="1512"/>
                </a:lnTo>
                <a:lnTo>
                  <a:pt x="85" y="1488"/>
                </a:lnTo>
                <a:lnTo>
                  <a:pt x="75" y="1463"/>
                </a:lnTo>
                <a:lnTo>
                  <a:pt x="66" y="1438"/>
                </a:lnTo>
                <a:lnTo>
                  <a:pt x="57" y="1414"/>
                </a:lnTo>
                <a:lnTo>
                  <a:pt x="49" y="1389"/>
                </a:lnTo>
                <a:lnTo>
                  <a:pt x="41" y="1364"/>
                </a:lnTo>
                <a:lnTo>
                  <a:pt x="34" y="1338"/>
                </a:lnTo>
                <a:lnTo>
                  <a:pt x="27" y="1312"/>
                </a:lnTo>
                <a:lnTo>
                  <a:pt x="22" y="1286"/>
                </a:lnTo>
                <a:lnTo>
                  <a:pt x="17" y="1261"/>
                </a:lnTo>
                <a:lnTo>
                  <a:pt x="13" y="1234"/>
                </a:lnTo>
                <a:lnTo>
                  <a:pt x="9" y="1208"/>
                </a:lnTo>
                <a:lnTo>
                  <a:pt x="6" y="1181"/>
                </a:lnTo>
                <a:lnTo>
                  <a:pt x="4" y="1154"/>
                </a:lnTo>
                <a:lnTo>
                  <a:pt x="2" y="1125"/>
                </a:lnTo>
                <a:lnTo>
                  <a:pt x="0" y="1098"/>
                </a:lnTo>
                <a:lnTo>
                  <a:pt x="0" y="1070"/>
                </a:lnTo>
                <a:lnTo>
                  <a:pt x="0" y="1043"/>
                </a:lnTo>
                <a:lnTo>
                  <a:pt x="2" y="1016"/>
                </a:lnTo>
                <a:lnTo>
                  <a:pt x="4" y="988"/>
                </a:lnTo>
                <a:lnTo>
                  <a:pt x="6" y="961"/>
                </a:lnTo>
                <a:lnTo>
                  <a:pt x="9" y="934"/>
                </a:lnTo>
                <a:lnTo>
                  <a:pt x="13" y="908"/>
                </a:lnTo>
                <a:lnTo>
                  <a:pt x="17" y="881"/>
                </a:lnTo>
                <a:lnTo>
                  <a:pt x="22" y="855"/>
                </a:lnTo>
                <a:lnTo>
                  <a:pt x="27" y="829"/>
                </a:lnTo>
                <a:lnTo>
                  <a:pt x="34" y="803"/>
                </a:lnTo>
                <a:lnTo>
                  <a:pt x="41" y="778"/>
                </a:lnTo>
                <a:lnTo>
                  <a:pt x="49" y="753"/>
                </a:lnTo>
                <a:lnTo>
                  <a:pt x="57" y="728"/>
                </a:lnTo>
                <a:lnTo>
                  <a:pt x="66" y="703"/>
                </a:lnTo>
                <a:lnTo>
                  <a:pt x="75" y="679"/>
                </a:lnTo>
                <a:lnTo>
                  <a:pt x="85" y="654"/>
                </a:lnTo>
                <a:lnTo>
                  <a:pt x="95" y="630"/>
                </a:lnTo>
                <a:lnTo>
                  <a:pt x="106" y="606"/>
                </a:lnTo>
                <a:lnTo>
                  <a:pt x="117" y="584"/>
                </a:lnTo>
                <a:lnTo>
                  <a:pt x="130" y="560"/>
                </a:lnTo>
                <a:lnTo>
                  <a:pt x="142" y="538"/>
                </a:lnTo>
                <a:lnTo>
                  <a:pt x="156" y="515"/>
                </a:lnTo>
                <a:lnTo>
                  <a:pt x="169" y="494"/>
                </a:lnTo>
                <a:lnTo>
                  <a:pt x="184" y="473"/>
                </a:lnTo>
                <a:lnTo>
                  <a:pt x="198" y="451"/>
                </a:lnTo>
                <a:lnTo>
                  <a:pt x="213" y="430"/>
                </a:lnTo>
                <a:lnTo>
                  <a:pt x="229" y="409"/>
                </a:lnTo>
                <a:lnTo>
                  <a:pt x="245" y="389"/>
                </a:lnTo>
                <a:lnTo>
                  <a:pt x="261" y="370"/>
                </a:lnTo>
                <a:lnTo>
                  <a:pt x="278" y="351"/>
                </a:lnTo>
                <a:lnTo>
                  <a:pt x="296" y="332"/>
                </a:lnTo>
                <a:lnTo>
                  <a:pt x="314" y="314"/>
                </a:lnTo>
                <a:lnTo>
                  <a:pt x="332" y="296"/>
                </a:lnTo>
                <a:lnTo>
                  <a:pt x="351" y="278"/>
                </a:lnTo>
                <a:lnTo>
                  <a:pt x="371" y="261"/>
                </a:lnTo>
                <a:lnTo>
                  <a:pt x="391" y="244"/>
                </a:lnTo>
                <a:lnTo>
                  <a:pt x="410" y="228"/>
                </a:lnTo>
                <a:lnTo>
                  <a:pt x="431" y="212"/>
                </a:lnTo>
                <a:lnTo>
                  <a:pt x="452" y="198"/>
                </a:lnTo>
                <a:lnTo>
                  <a:pt x="473" y="183"/>
                </a:lnTo>
                <a:lnTo>
                  <a:pt x="494" y="169"/>
                </a:lnTo>
                <a:lnTo>
                  <a:pt x="516" y="155"/>
                </a:lnTo>
                <a:lnTo>
                  <a:pt x="538" y="142"/>
                </a:lnTo>
                <a:lnTo>
                  <a:pt x="561" y="129"/>
                </a:lnTo>
                <a:lnTo>
                  <a:pt x="584" y="117"/>
                </a:lnTo>
                <a:lnTo>
                  <a:pt x="607" y="106"/>
                </a:lnTo>
                <a:lnTo>
                  <a:pt x="631" y="94"/>
                </a:lnTo>
                <a:lnTo>
                  <a:pt x="654" y="84"/>
                </a:lnTo>
                <a:lnTo>
                  <a:pt x="679" y="74"/>
                </a:lnTo>
                <a:lnTo>
                  <a:pt x="704" y="65"/>
                </a:lnTo>
                <a:lnTo>
                  <a:pt x="728" y="56"/>
                </a:lnTo>
                <a:lnTo>
                  <a:pt x="753" y="48"/>
                </a:lnTo>
                <a:lnTo>
                  <a:pt x="778" y="40"/>
                </a:lnTo>
                <a:lnTo>
                  <a:pt x="804" y="33"/>
                </a:lnTo>
                <a:lnTo>
                  <a:pt x="830" y="27"/>
                </a:lnTo>
                <a:lnTo>
                  <a:pt x="856" y="21"/>
                </a:lnTo>
                <a:lnTo>
                  <a:pt x="882" y="17"/>
                </a:lnTo>
                <a:lnTo>
                  <a:pt x="909" y="12"/>
                </a:lnTo>
                <a:lnTo>
                  <a:pt x="936" y="8"/>
                </a:lnTo>
                <a:lnTo>
                  <a:pt x="961" y="5"/>
                </a:lnTo>
                <a:lnTo>
                  <a:pt x="988" y="3"/>
                </a:lnTo>
                <a:lnTo>
                  <a:pt x="1017" y="1"/>
                </a:lnTo>
                <a:lnTo>
                  <a:pt x="1044" y="0"/>
                </a:lnTo>
                <a:lnTo>
                  <a:pt x="1072" y="0"/>
                </a:lnTo>
                <a:lnTo>
                  <a:pt x="1099" y="0"/>
                </a:lnTo>
                <a:lnTo>
                  <a:pt x="1126" y="1"/>
                </a:lnTo>
                <a:lnTo>
                  <a:pt x="1154" y="3"/>
                </a:lnTo>
                <a:lnTo>
                  <a:pt x="1181" y="5"/>
                </a:lnTo>
                <a:lnTo>
                  <a:pt x="1208" y="8"/>
                </a:lnTo>
                <a:lnTo>
                  <a:pt x="1234" y="12"/>
                </a:lnTo>
                <a:lnTo>
                  <a:pt x="1261" y="17"/>
                </a:lnTo>
                <a:lnTo>
                  <a:pt x="1287" y="21"/>
                </a:lnTo>
                <a:lnTo>
                  <a:pt x="1313" y="27"/>
                </a:lnTo>
                <a:lnTo>
                  <a:pt x="1338" y="33"/>
                </a:lnTo>
                <a:lnTo>
                  <a:pt x="1364" y="40"/>
                </a:lnTo>
                <a:lnTo>
                  <a:pt x="1389" y="48"/>
                </a:lnTo>
                <a:lnTo>
                  <a:pt x="1414" y="56"/>
                </a:lnTo>
                <a:lnTo>
                  <a:pt x="1439" y="65"/>
                </a:lnTo>
                <a:lnTo>
                  <a:pt x="1463" y="74"/>
                </a:lnTo>
                <a:lnTo>
                  <a:pt x="1488" y="84"/>
                </a:lnTo>
                <a:lnTo>
                  <a:pt x="1512" y="94"/>
                </a:lnTo>
                <a:lnTo>
                  <a:pt x="1535" y="106"/>
                </a:lnTo>
                <a:lnTo>
                  <a:pt x="1558" y="117"/>
                </a:lnTo>
                <a:lnTo>
                  <a:pt x="1581" y="129"/>
                </a:lnTo>
                <a:lnTo>
                  <a:pt x="1604" y="142"/>
                </a:lnTo>
                <a:lnTo>
                  <a:pt x="1626" y="155"/>
                </a:lnTo>
                <a:lnTo>
                  <a:pt x="1648" y="169"/>
                </a:lnTo>
                <a:lnTo>
                  <a:pt x="1669" y="183"/>
                </a:lnTo>
                <a:lnTo>
                  <a:pt x="1691" y="198"/>
                </a:lnTo>
                <a:lnTo>
                  <a:pt x="1712" y="212"/>
                </a:lnTo>
                <a:lnTo>
                  <a:pt x="1732" y="228"/>
                </a:lnTo>
                <a:lnTo>
                  <a:pt x="1753" y="244"/>
                </a:lnTo>
                <a:lnTo>
                  <a:pt x="1772" y="261"/>
                </a:lnTo>
                <a:lnTo>
                  <a:pt x="1791" y="278"/>
                </a:lnTo>
                <a:lnTo>
                  <a:pt x="1810" y="296"/>
                </a:lnTo>
                <a:lnTo>
                  <a:pt x="1828" y="314"/>
                </a:lnTo>
                <a:lnTo>
                  <a:pt x="1846" y="332"/>
                </a:lnTo>
                <a:lnTo>
                  <a:pt x="1864" y="351"/>
                </a:lnTo>
                <a:lnTo>
                  <a:pt x="1881" y="370"/>
                </a:lnTo>
                <a:lnTo>
                  <a:pt x="1898" y="389"/>
                </a:lnTo>
                <a:lnTo>
                  <a:pt x="1913" y="409"/>
                </a:lnTo>
                <a:lnTo>
                  <a:pt x="1929" y="430"/>
                </a:lnTo>
                <a:lnTo>
                  <a:pt x="1944" y="451"/>
                </a:lnTo>
                <a:lnTo>
                  <a:pt x="1958" y="473"/>
                </a:lnTo>
                <a:lnTo>
                  <a:pt x="1973" y="494"/>
                </a:lnTo>
                <a:lnTo>
                  <a:pt x="1987" y="515"/>
                </a:lnTo>
                <a:lnTo>
                  <a:pt x="2000" y="538"/>
                </a:lnTo>
                <a:lnTo>
                  <a:pt x="2012" y="560"/>
                </a:lnTo>
                <a:lnTo>
                  <a:pt x="2025" y="584"/>
                </a:lnTo>
                <a:lnTo>
                  <a:pt x="2036" y="606"/>
                </a:lnTo>
                <a:lnTo>
                  <a:pt x="2047" y="630"/>
                </a:lnTo>
                <a:lnTo>
                  <a:pt x="2057" y="654"/>
                </a:lnTo>
                <a:lnTo>
                  <a:pt x="2068" y="679"/>
                </a:lnTo>
                <a:lnTo>
                  <a:pt x="2077" y="703"/>
                </a:lnTo>
                <a:lnTo>
                  <a:pt x="2086" y="728"/>
                </a:lnTo>
                <a:lnTo>
                  <a:pt x="2093" y="753"/>
                </a:lnTo>
                <a:lnTo>
                  <a:pt x="2101" y="778"/>
                </a:lnTo>
                <a:lnTo>
                  <a:pt x="2108" y="803"/>
                </a:lnTo>
                <a:lnTo>
                  <a:pt x="2115" y="829"/>
                </a:lnTo>
                <a:lnTo>
                  <a:pt x="2121" y="855"/>
                </a:lnTo>
                <a:lnTo>
                  <a:pt x="2125" y="881"/>
                </a:lnTo>
                <a:lnTo>
                  <a:pt x="2130" y="908"/>
                </a:lnTo>
                <a:lnTo>
                  <a:pt x="2134" y="934"/>
                </a:lnTo>
                <a:lnTo>
                  <a:pt x="2136" y="961"/>
                </a:lnTo>
                <a:lnTo>
                  <a:pt x="2139" y="988"/>
                </a:lnTo>
                <a:lnTo>
                  <a:pt x="2141" y="1016"/>
                </a:lnTo>
                <a:lnTo>
                  <a:pt x="2142" y="1043"/>
                </a:lnTo>
                <a:lnTo>
                  <a:pt x="2142" y="1070"/>
                </a:lnTo>
                <a:lnTo>
                  <a:pt x="2142" y="1098"/>
                </a:lnTo>
                <a:lnTo>
                  <a:pt x="2141" y="1125"/>
                </a:lnTo>
                <a:lnTo>
                  <a:pt x="2139" y="1154"/>
                </a:lnTo>
                <a:lnTo>
                  <a:pt x="2136" y="1181"/>
                </a:lnTo>
                <a:lnTo>
                  <a:pt x="2134" y="1208"/>
                </a:lnTo>
                <a:lnTo>
                  <a:pt x="2130" y="1234"/>
                </a:lnTo>
                <a:lnTo>
                  <a:pt x="2125" y="1261"/>
                </a:lnTo>
                <a:lnTo>
                  <a:pt x="2121" y="1286"/>
                </a:lnTo>
                <a:lnTo>
                  <a:pt x="2115" y="1312"/>
                </a:lnTo>
                <a:lnTo>
                  <a:pt x="2108" y="1338"/>
                </a:lnTo>
                <a:lnTo>
                  <a:pt x="2101" y="1364"/>
                </a:lnTo>
                <a:lnTo>
                  <a:pt x="2093" y="1389"/>
                </a:lnTo>
                <a:lnTo>
                  <a:pt x="2086" y="1414"/>
                </a:lnTo>
                <a:lnTo>
                  <a:pt x="2077" y="1438"/>
                </a:lnTo>
                <a:lnTo>
                  <a:pt x="2068" y="1463"/>
                </a:lnTo>
                <a:lnTo>
                  <a:pt x="2057" y="1488"/>
                </a:lnTo>
                <a:lnTo>
                  <a:pt x="2047" y="1512"/>
                </a:lnTo>
                <a:lnTo>
                  <a:pt x="2036" y="1535"/>
                </a:lnTo>
                <a:lnTo>
                  <a:pt x="2025" y="1558"/>
                </a:lnTo>
                <a:lnTo>
                  <a:pt x="2012" y="1581"/>
                </a:lnTo>
                <a:lnTo>
                  <a:pt x="2000" y="1604"/>
                </a:lnTo>
                <a:lnTo>
                  <a:pt x="1987" y="1626"/>
                </a:lnTo>
                <a:lnTo>
                  <a:pt x="1973" y="1648"/>
                </a:lnTo>
                <a:lnTo>
                  <a:pt x="1958" y="1669"/>
                </a:lnTo>
                <a:lnTo>
                  <a:pt x="1944" y="1691"/>
                </a:lnTo>
                <a:lnTo>
                  <a:pt x="1929" y="1712"/>
                </a:lnTo>
                <a:lnTo>
                  <a:pt x="1913" y="1732"/>
                </a:lnTo>
                <a:lnTo>
                  <a:pt x="1898" y="1751"/>
                </a:lnTo>
                <a:lnTo>
                  <a:pt x="1881" y="1772"/>
                </a:lnTo>
                <a:lnTo>
                  <a:pt x="1864" y="1791"/>
                </a:lnTo>
                <a:lnTo>
                  <a:pt x="1846" y="1810"/>
                </a:lnTo>
                <a:lnTo>
                  <a:pt x="1828" y="1828"/>
                </a:lnTo>
                <a:lnTo>
                  <a:pt x="1810" y="1846"/>
                </a:lnTo>
                <a:lnTo>
                  <a:pt x="1791" y="1864"/>
                </a:lnTo>
                <a:lnTo>
                  <a:pt x="1772" y="1881"/>
                </a:lnTo>
                <a:lnTo>
                  <a:pt x="1753" y="1898"/>
                </a:lnTo>
                <a:lnTo>
                  <a:pt x="1732" y="1913"/>
                </a:lnTo>
                <a:lnTo>
                  <a:pt x="1712" y="1929"/>
                </a:lnTo>
                <a:lnTo>
                  <a:pt x="1691" y="1944"/>
                </a:lnTo>
                <a:lnTo>
                  <a:pt x="1669" y="1959"/>
                </a:lnTo>
                <a:lnTo>
                  <a:pt x="1648" y="1973"/>
                </a:lnTo>
                <a:lnTo>
                  <a:pt x="1626" y="1987"/>
                </a:lnTo>
                <a:lnTo>
                  <a:pt x="1604" y="2000"/>
                </a:lnTo>
                <a:lnTo>
                  <a:pt x="1581" y="2013"/>
                </a:lnTo>
                <a:lnTo>
                  <a:pt x="1558" y="2025"/>
                </a:lnTo>
                <a:lnTo>
                  <a:pt x="1535" y="2036"/>
                </a:lnTo>
                <a:lnTo>
                  <a:pt x="1512" y="2047"/>
                </a:lnTo>
                <a:lnTo>
                  <a:pt x="1488" y="2058"/>
                </a:lnTo>
                <a:lnTo>
                  <a:pt x="1463" y="2068"/>
                </a:lnTo>
                <a:lnTo>
                  <a:pt x="1439" y="2077"/>
                </a:lnTo>
                <a:lnTo>
                  <a:pt x="1414" y="2086"/>
                </a:lnTo>
                <a:lnTo>
                  <a:pt x="1389" y="2094"/>
                </a:lnTo>
                <a:lnTo>
                  <a:pt x="1364" y="2101"/>
                </a:lnTo>
                <a:lnTo>
                  <a:pt x="1338" y="2108"/>
                </a:lnTo>
                <a:lnTo>
                  <a:pt x="1313" y="2115"/>
                </a:lnTo>
                <a:lnTo>
                  <a:pt x="1287" y="2121"/>
                </a:lnTo>
                <a:lnTo>
                  <a:pt x="1261" y="2125"/>
                </a:lnTo>
                <a:lnTo>
                  <a:pt x="1234" y="2130"/>
                </a:lnTo>
                <a:lnTo>
                  <a:pt x="1208" y="2133"/>
                </a:lnTo>
                <a:lnTo>
                  <a:pt x="1181" y="2136"/>
                </a:lnTo>
                <a:lnTo>
                  <a:pt x="1154" y="2139"/>
                </a:lnTo>
                <a:lnTo>
                  <a:pt x="1126" y="2141"/>
                </a:lnTo>
                <a:lnTo>
                  <a:pt x="1099" y="2142"/>
                </a:lnTo>
                <a:lnTo>
                  <a:pt x="1072" y="2142"/>
                </a:lnTo>
                <a:close/>
                <a:moveTo>
                  <a:pt x="1072" y="103"/>
                </a:moveTo>
                <a:lnTo>
                  <a:pt x="1046" y="103"/>
                </a:lnTo>
                <a:lnTo>
                  <a:pt x="1021" y="104"/>
                </a:lnTo>
                <a:lnTo>
                  <a:pt x="997" y="106"/>
                </a:lnTo>
                <a:lnTo>
                  <a:pt x="973" y="108"/>
                </a:lnTo>
                <a:lnTo>
                  <a:pt x="948" y="110"/>
                </a:lnTo>
                <a:lnTo>
                  <a:pt x="924" y="113"/>
                </a:lnTo>
                <a:lnTo>
                  <a:pt x="901" y="118"/>
                </a:lnTo>
                <a:lnTo>
                  <a:pt x="876" y="122"/>
                </a:lnTo>
                <a:lnTo>
                  <a:pt x="853" y="128"/>
                </a:lnTo>
                <a:lnTo>
                  <a:pt x="830" y="134"/>
                </a:lnTo>
                <a:lnTo>
                  <a:pt x="806" y="139"/>
                </a:lnTo>
                <a:lnTo>
                  <a:pt x="784" y="146"/>
                </a:lnTo>
                <a:lnTo>
                  <a:pt x="761" y="154"/>
                </a:lnTo>
                <a:lnTo>
                  <a:pt x="739" y="162"/>
                </a:lnTo>
                <a:lnTo>
                  <a:pt x="717" y="170"/>
                </a:lnTo>
                <a:lnTo>
                  <a:pt x="695" y="179"/>
                </a:lnTo>
                <a:lnTo>
                  <a:pt x="673" y="189"/>
                </a:lnTo>
                <a:lnTo>
                  <a:pt x="652" y="198"/>
                </a:lnTo>
                <a:lnTo>
                  <a:pt x="631" y="209"/>
                </a:lnTo>
                <a:lnTo>
                  <a:pt x="610" y="219"/>
                </a:lnTo>
                <a:lnTo>
                  <a:pt x="590" y="232"/>
                </a:lnTo>
                <a:lnTo>
                  <a:pt x="570" y="243"/>
                </a:lnTo>
                <a:lnTo>
                  <a:pt x="550" y="255"/>
                </a:lnTo>
                <a:lnTo>
                  <a:pt x="530" y="269"/>
                </a:lnTo>
                <a:lnTo>
                  <a:pt x="511" y="281"/>
                </a:lnTo>
                <a:lnTo>
                  <a:pt x="492" y="296"/>
                </a:lnTo>
                <a:lnTo>
                  <a:pt x="474" y="309"/>
                </a:lnTo>
                <a:lnTo>
                  <a:pt x="456" y="324"/>
                </a:lnTo>
                <a:lnTo>
                  <a:pt x="438" y="340"/>
                </a:lnTo>
                <a:lnTo>
                  <a:pt x="421" y="354"/>
                </a:lnTo>
                <a:lnTo>
                  <a:pt x="404" y="370"/>
                </a:lnTo>
                <a:lnTo>
                  <a:pt x="388" y="387"/>
                </a:lnTo>
                <a:lnTo>
                  <a:pt x="371" y="403"/>
                </a:lnTo>
                <a:lnTo>
                  <a:pt x="355" y="421"/>
                </a:lnTo>
                <a:lnTo>
                  <a:pt x="340" y="438"/>
                </a:lnTo>
                <a:lnTo>
                  <a:pt x="324" y="456"/>
                </a:lnTo>
                <a:lnTo>
                  <a:pt x="310" y="474"/>
                </a:lnTo>
                <a:lnTo>
                  <a:pt x="296" y="492"/>
                </a:lnTo>
                <a:lnTo>
                  <a:pt x="283" y="511"/>
                </a:lnTo>
                <a:lnTo>
                  <a:pt x="269" y="530"/>
                </a:lnTo>
                <a:lnTo>
                  <a:pt x="256" y="549"/>
                </a:lnTo>
                <a:lnTo>
                  <a:pt x="243" y="569"/>
                </a:lnTo>
                <a:lnTo>
                  <a:pt x="232" y="590"/>
                </a:lnTo>
                <a:lnTo>
                  <a:pt x="221" y="610"/>
                </a:lnTo>
                <a:lnTo>
                  <a:pt x="210" y="630"/>
                </a:lnTo>
                <a:lnTo>
                  <a:pt x="200" y="652"/>
                </a:lnTo>
                <a:lnTo>
                  <a:pt x="189" y="673"/>
                </a:lnTo>
                <a:lnTo>
                  <a:pt x="179" y="694"/>
                </a:lnTo>
                <a:lnTo>
                  <a:pt x="170" y="716"/>
                </a:lnTo>
                <a:lnTo>
                  <a:pt x="162" y="738"/>
                </a:lnTo>
                <a:lnTo>
                  <a:pt x="155" y="761"/>
                </a:lnTo>
                <a:lnTo>
                  <a:pt x="147" y="783"/>
                </a:lnTo>
                <a:lnTo>
                  <a:pt x="140" y="806"/>
                </a:lnTo>
                <a:lnTo>
                  <a:pt x="134" y="829"/>
                </a:lnTo>
                <a:lnTo>
                  <a:pt x="129" y="853"/>
                </a:lnTo>
                <a:lnTo>
                  <a:pt x="123" y="876"/>
                </a:lnTo>
                <a:lnTo>
                  <a:pt x="119" y="899"/>
                </a:lnTo>
                <a:lnTo>
                  <a:pt x="115" y="924"/>
                </a:lnTo>
                <a:lnTo>
                  <a:pt x="112" y="948"/>
                </a:lnTo>
                <a:lnTo>
                  <a:pt x="108" y="972"/>
                </a:lnTo>
                <a:lnTo>
                  <a:pt x="106" y="996"/>
                </a:lnTo>
                <a:lnTo>
                  <a:pt x="105" y="1021"/>
                </a:lnTo>
                <a:lnTo>
                  <a:pt x="104" y="1046"/>
                </a:lnTo>
                <a:lnTo>
                  <a:pt x="104" y="1070"/>
                </a:lnTo>
                <a:lnTo>
                  <a:pt x="104" y="1096"/>
                </a:lnTo>
                <a:lnTo>
                  <a:pt x="105" y="1121"/>
                </a:lnTo>
                <a:lnTo>
                  <a:pt x="106" y="1146"/>
                </a:lnTo>
                <a:lnTo>
                  <a:pt x="108" y="1169"/>
                </a:lnTo>
                <a:lnTo>
                  <a:pt x="112" y="1194"/>
                </a:lnTo>
                <a:lnTo>
                  <a:pt x="115" y="1218"/>
                </a:lnTo>
                <a:lnTo>
                  <a:pt x="119" y="1241"/>
                </a:lnTo>
                <a:lnTo>
                  <a:pt x="123" y="1266"/>
                </a:lnTo>
                <a:lnTo>
                  <a:pt x="129" y="1289"/>
                </a:lnTo>
                <a:lnTo>
                  <a:pt x="134" y="1312"/>
                </a:lnTo>
                <a:lnTo>
                  <a:pt x="140" y="1336"/>
                </a:lnTo>
                <a:lnTo>
                  <a:pt x="147" y="1358"/>
                </a:lnTo>
                <a:lnTo>
                  <a:pt x="155" y="1381"/>
                </a:lnTo>
                <a:lnTo>
                  <a:pt x="162" y="1404"/>
                </a:lnTo>
                <a:lnTo>
                  <a:pt x="170" y="1425"/>
                </a:lnTo>
                <a:lnTo>
                  <a:pt x="179" y="1447"/>
                </a:lnTo>
                <a:lnTo>
                  <a:pt x="189" y="1469"/>
                </a:lnTo>
                <a:lnTo>
                  <a:pt x="200" y="1490"/>
                </a:lnTo>
                <a:lnTo>
                  <a:pt x="210" y="1512"/>
                </a:lnTo>
                <a:lnTo>
                  <a:pt x="221" y="1532"/>
                </a:lnTo>
                <a:lnTo>
                  <a:pt x="232" y="1552"/>
                </a:lnTo>
                <a:lnTo>
                  <a:pt x="243" y="1572"/>
                </a:lnTo>
                <a:lnTo>
                  <a:pt x="256" y="1593"/>
                </a:lnTo>
                <a:lnTo>
                  <a:pt x="269" y="1612"/>
                </a:lnTo>
                <a:lnTo>
                  <a:pt x="283" y="1631"/>
                </a:lnTo>
                <a:lnTo>
                  <a:pt x="296" y="1650"/>
                </a:lnTo>
                <a:lnTo>
                  <a:pt x="310" y="1668"/>
                </a:lnTo>
                <a:lnTo>
                  <a:pt x="324" y="1686"/>
                </a:lnTo>
                <a:lnTo>
                  <a:pt x="340" y="1704"/>
                </a:lnTo>
                <a:lnTo>
                  <a:pt x="355" y="1721"/>
                </a:lnTo>
                <a:lnTo>
                  <a:pt x="371" y="1738"/>
                </a:lnTo>
                <a:lnTo>
                  <a:pt x="388" y="1755"/>
                </a:lnTo>
                <a:lnTo>
                  <a:pt x="404" y="1772"/>
                </a:lnTo>
                <a:lnTo>
                  <a:pt x="421" y="1787"/>
                </a:lnTo>
                <a:lnTo>
                  <a:pt x="438" y="1802"/>
                </a:lnTo>
                <a:lnTo>
                  <a:pt x="456" y="1818"/>
                </a:lnTo>
                <a:lnTo>
                  <a:pt x="474" y="1832"/>
                </a:lnTo>
                <a:lnTo>
                  <a:pt x="492" y="1846"/>
                </a:lnTo>
                <a:lnTo>
                  <a:pt x="511" y="1859"/>
                </a:lnTo>
                <a:lnTo>
                  <a:pt x="530" y="1873"/>
                </a:lnTo>
                <a:lnTo>
                  <a:pt x="550" y="1886"/>
                </a:lnTo>
                <a:lnTo>
                  <a:pt x="570" y="1899"/>
                </a:lnTo>
                <a:lnTo>
                  <a:pt x="590" y="1910"/>
                </a:lnTo>
                <a:lnTo>
                  <a:pt x="610" y="1921"/>
                </a:lnTo>
                <a:lnTo>
                  <a:pt x="631" y="1933"/>
                </a:lnTo>
                <a:lnTo>
                  <a:pt x="652" y="1943"/>
                </a:lnTo>
                <a:lnTo>
                  <a:pt x="673" y="1953"/>
                </a:lnTo>
                <a:lnTo>
                  <a:pt x="695" y="1963"/>
                </a:lnTo>
                <a:lnTo>
                  <a:pt x="717" y="1972"/>
                </a:lnTo>
                <a:lnTo>
                  <a:pt x="739" y="1980"/>
                </a:lnTo>
                <a:lnTo>
                  <a:pt x="761" y="1988"/>
                </a:lnTo>
                <a:lnTo>
                  <a:pt x="784" y="1996"/>
                </a:lnTo>
                <a:lnTo>
                  <a:pt x="806" y="2002"/>
                </a:lnTo>
                <a:lnTo>
                  <a:pt x="830" y="2008"/>
                </a:lnTo>
                <a:lnTo>
                  <a:pt x="853" y="2014"/>
                </a:lnTo>
                <a:lnTo>
                  <a:pt x="876" y="2019"/>
                </a:lnTo>
                <a:lnTo>
                  <a:pt x="901" y="2024"/>
                </a:lnTo>
                <a:lnTo>
                  <a:pt x="924" y="2027"/>
                </a:lnTo>
                <a:lnTo>
                  <a:pt x="948" y="2031"/>
                </a:lnTo>
                <a:lnTo>
                  <a:pt x="973" y="2034"/>
                </a:lnTo>
                <a:lnTo>
                  <a:pt x="997" y="2036"/>
                </a:lnTo>
                <a:lnTo>
                  <a:pt x="1021" y="2037"/>
                </a:lnTo>
                <a:lnTo>
                  <a:pt x="1046" y="2038"/>
                </a:lnTo>
                <a:lnTo>
                  <a:pt x="1072" y="2038"/>
                </a:lnTo>
                <a:lnTo>
                  <a:pt x="1096" y="2038"/>
                </a:lnTo>
                <a:lnTo>
                  <a:pt x="1121" y="2037"/>
                </a:lnTo>
                <a:lnTo>
                  <a:pt x="1146" y="2036"/>
                </a:lnTo>
                <a:lnTo>
                  <a:pt x="1170" y="2034"/>
                </a:lnTo>
                <a:lnTo>
                  <a:pt x="1194" y="2031"/>
                </a:lnTo>
                <a:lnTo>
                  <a:pt x="1218" y="2027"/>
                </a:lnTo>
                <a:lnTo>
                  <a:pt x="1243" y="2024"/>
                </a:lnTo>
                <a:lnTo>
                  <a:pt x="1266" y="2019"/>
                </a:lnTo>
                <a:lnTo>
                  <a:pt x="1290" y="2014"/>
                </a:lnTo>
                <a:lnTo>
                  <a:pt x="1313" y="2008"/>
                </a:lnTo>
                <a:lnTo>
                  <a:pt x="1336" y="2002"/>
                </a:lnTo>
                <a:lnTo>
                  <a:pt x="1359" y="1996"/>
                </a:lnTo>
                <a:lnTo>
                  <a:pt x="1381" y="1988"/>
                </a:lnTo>
                <a:lnTo>
                  <a:pt x="1404" y="1980"/>
                </a:lnTo>
                <a:lnTo>
                  <a:pt x="1426" y="1972"/>
                </a:lnTo>
                <a:lnTo>
                  <a:pt x="1448" y="1963"/>
                </a:lnTo>
                <a:lnTo>
                  <a:pt x="1469" y="1953"/>
                </a:lnTo>
                <a:lnTo>
                  <a:pt x="1490" y="1943"/>
                </a:lnTo>
                <a:lnTo>
                  <a:pt x="1512" y="1933"/>
                </a:lnTo>
                <a:lnTo>
                  <a:pt x="1532" y="1921"/>
                </a:lnTo>
                <a:lnTo>
                  <a:pt x="1552" y="1910"/>
                </a:lnTo>
                <a:lnTo>
                  <a:pt x="1572" y="1899"/>
                </a:lnTo>
                <a:lnTo>
                  <a:pt x="1593" y="1886"/>
                </a:lnTo>
                <a:lnTo>
                  <a:pt x="1612" y="1873"/>
                </a:lnTo>
                <a:lnTo>
                  <a:pt x="1631" y="1859"/>
                </a:lnTo>
                <a:lnTo>
                  <a:pt x="1650" y="1846"/>
                </a:lnTo>
                <a:lnTo>
                  <a:pt x="1668" y="1832"/>
                </a:lnTo>
                <a:lnTo>
                  <a:pt x="1686" y="1818"/>
                </a:lnTo>
                <a:lnTo>
                  <a:pt x="1704" y="1802"/>
                </a:lnTo>
                <a:lnTo>
                  <a:pt x="1721" y="1787"/>
                </a:lnTo>
                <a:lnTo>
                  <a:pt x="1739" y="1772"/>
                </a:lnTo>
                <a:lnTo>
                  <a:pt x="1755" y="1755"/>
                </a:lnTo>
                <a:lnTo>
                  <a:pt x="1772" y="1738"/>
                </a:lnTo>
                <a:lnTo>
                  <a:pt x="1787" y="1721"/>
                </a:lnTo>
                <a:lnTo>
                  <a:pt x="1803" y="1704"/>
                </a:lnTo>
                <a:lnTo>
                  <a:pt x="1818" y="1686"/>
                </a:lnTo>
                <a:lnTo>
                  <a:pt x="1832" y="1668"/>
                </a:lnTo>
                <a:lnTo>
                  <a:pt x="1846" y="1650"/>
                </a:lnTo>
                <a:lnTo>
                  <a:pt x="1861" y="1631"/>
                </a:lnTo>
                <a:lnTo>
                  <a:pt x="1873" y="1612"/>
                </a:lnTo>
                <a:lnTo>
                  <a:pt x="1886" y="1593"/>
                </a:lnTo>
                <a:lnTo>
                  <a:pt x="1899" y="1572"/>
                </a:lnTo>
                <a:lnTo>
                  <a:pt x="1910" y="1552"/>
                </a:lnTo>
                <a:lnTo>
                  <a:pt x="1922" y="1532"/>
                </a:lnTo>
                <a:lnTo>
                  <a:pt x="1933" y="1512"/>
                </a:lnTo>
                <a:lnTo>
                  <a:pt x="1944" y="1490"/>
                </a:lnTo>
                <a:lnTo>
                  <a:pt x="1953" y="1469"/>
                </a:lnTo>
                <a:lnTo>
                  <a:pt x="1963" y="1447"/>
                </a:lnTo>
                <a:lnTo>
                  <a:pt x="1972" y="1425"/>
                </a:lnTo>
                <a:lnTo>
                  <a:pt x="1980" y="1404"/>
                </a:lnTo>
                <a:lnTo>
                  <a:pt x="1988" y="1381"/>
                </a:lnTo>
                <a:lnTo>
                  <a:pt x="1996" y="1358"/>
                </a:lnTo>
                <a:lnTo>
                  <a:pt x="2002" y="1336"/>
                </a:lnTo>
                <a:lnTo>
                  <a:pt x="2008" y="1312"/>
                </a:lnTo>
                <a:lnTo>
                  <a:pt x="2014" y="1289"/>
                </a:lnTo>
                <a:lnTo>
                  <a:pt x="2019" y="1266"/>
                </a:lnTo>
                <a:lnTo>
                  <a:pt x="2024" y="1241"/>
                </a:lnTo>
                <a:lnTo>
                  <a:pt x="2028" y="1218"/>
                </a:lnTo>
                <a:lnTo>
                  <a:pt x="2032" y="1194"/>
                </a:lnTo>
                <a:lnTo>
                  <a:pt x="2034" y="1169"/>
                </a:lnTo>
                <a:lnTo>
                  <a:pt x="2036" y="1146"/>
                </a:lnTo>
                <a:lnTo>
                  <a:pt x="2037" y="1121"/>
                </a:lnTo>
                <a:lnTo>
                  <a:pt x="2038" y="1096"/>
                </a:lnTo>
                <a:lnTo>
                  <a:pt x="2038" y="1070"/>
                </a:lnTo>
                <a:lnTo>
                  <a:pt x="2038" y="1046"/>
                </a:lnTo>
                <a:lnTo>
                  <a:pt x="2037" y="1021"/>
                </a:lnTo>
                <a:lnTo>
                  <a:pt x="2036" y="996"/>
                </a:lnTo>
                <a:lnTo>
                  <a:pt x="2034" y="972"/>
                </a:lnTo>
                <a:lnTo>
                  <a:pt x="2032" y="948"/>
                </a:lnTo>
                <a:lnTo>
                  <a:pt x="2028" y="924"/>
                </a:lnTo>
                <a:lnTo>
                  <a:pt x="2024" y="899"/>
                </a:lnTo>
                <a:lnTo>
                  <a:pt x="2019" y="876"/>
                </a:lnTo>
                <a:lnTo>
                  <a:pt x="2014" y="853"/>
                </a:lnTo>
                <a:lnTo>
                  <a:pt x="2008" y="829"/>
                </a:lnTo>
                <a:lnTo>
                  <a:pt x="2002" y="806"/>
                </a:lnTo>
                <a:lnTo>
                  <a:pt x="1996" y="783"/>
                </a:lnTo>
                <a:lnTo>
                  <a:pt x="1988" y="761"/>
                </a:lnTo>
                <a:lnTo>
                  <a:pt x="1980" y="738"/>
                </a:lnTo>
                <a:lnTo>
                  <a:pt x="1972" y="716"/>
                </a:lnTo>
                <a:lnTo>
                  <a:pt x="1963" y="694"/>
                </a:lnTo>
                <a:lnTo>
                  <a:pt x="1953" y="673"/>
                </a:lnTo>
                <a:lnTo>
                  <a:pt x="1944" y="652"/>
                </a:lnTo>
                <a:lnTo>
                  <a:pt x="1933" y="630"/>
                </a:lnTo>
                <a:lnTo>
                  <a:pt x="1922" y="610"/>
                </a:lnTo>
                <a:lnTo>
                  <a:pt x="1910" y="590"/>
                </a:lnTo>
                <a:lnTo>
                  <a:pt x="1899" y="569"/>
                </a:lnTo>
                <a:lnTo>
                  <a:pt x="1886" y="549"/>
                </a:lnTo>
                <a:lnTo>
                  <a:pt x="1873" y="530"/>
                </a:lnTo>
                <a:lnTo>
                  <a:pt x="1861" y="511"/>
                </a:lnTo>
                <a:lnTo>
                  <a:pt x="1846" y="492"/>
                </a:lnTo>
                <a:lnTo>
                  <a:pt x="1832" y="474"/>
                </a:lnTo>
                <a:lnTo>
                  <a:pt x="1818" y="456"/>
                </a:lnTo>
                <a:lnTo>
                  <a:pt x="1803" y="438"/>
                </a:lnTo>
                <a:lnTo>
                  <a:pt x="1787" y="421"/>
                </a:lnTo>
                <a:lnTo>
                  <a:pt x="1772" y="403"/>
                </a:lnTo>
                <a:lnTo>
                  <a:pt x="1755" y="387"/>
                </a:lnTo>
                <a:lnTo>
                  <a:pt x="1739" y="370"/>
                </a:lnTo>
                <a:lnTo>
                  <a:pt x="1721" y="354"/>
                </a:lnTo>
                <a:lnTo>
                  <a:pt x="1704" y="340"/>
                </a:lnTo>
                <a:lnTo>
                  <a:pt x="1686" y="324"/>
                </a:lnTo>
                <a:lnTo>
                  <a:pt x="1668" y="309"/>
                </a:lnTo>
                <a:lnTo>
                  <a:pt x="1650" y="296"/>
                </a:lnTo>
                <a:lnTo>
                  <a:pt x="1631" y="281"/>
                </a:lnTo>
                <a:lnTo>
                  <a:pt x="1612" y="269"/>
                </a:lnTo>
                <a:lnTo>
                  <a:pt x="1593" y="255"/>
                </a:lnTo>
                <a:lnTo>
                  <a:pt x="1572" y="243"/>
                </a:lnTo>
                <a:lnTo>
                  <a:pt x="1552" y="232"/>
                </a:lnTo>
                <a:lnTo>
                  <a:pt x="1532" y="219"/>
                </a:lnTo>
                <a:lnTo>
                  <a:pt x="1512" y="209"/>
                </a:lnTo>
                <a:lnTo>
                  <a:pt x="1490" y="198"/>
                </a:lnTo>
                <a:lnTo>
                  <a:pt x="1469" y="189"/>
                </a:lnTo>
                <a:lnTo>
                  <a:pt x="1448" y="179"/>
                </a:lnTo>
                <a:lnTo>
                  <a:pt x="1426" y="170"/>
                </a:lnTo>
                <a:lnTo>
                  <a:pt x="1404" y="162"/>
                </a:lnTo>
                <a:lnTo>
                  <a:pt x="1381" y="154"/>
                </a:lnTo>
                <a:lnTo>
                  <a:pt x="1359" y="146"/>
                </a:lnTo>
                <a:lnTo>
                  <a:pt x="1336" y="139"/>
                </a:lnTo>
                <a:lnTo>
                  <a:pt x="1313" y="134"/>
                </a:lnTo>
                <a:lnTo>
                  <a:pt x="1290" y="128"/>
                </a:lnTo>
                <a:lnTo>
                  <a:pt x="1266" y="122"/>
                </a:lnTo>
                <a:lnTo>
                  <a:pt x="1243" y="118"/>
                </a:lnTo>
                <a:lnTo>
                  <a:pt x="1218" y="113"/>
                </a:lnTo>
                <a:lnTo>
                  <a:pt x="1194" y="110"/>
                </a:lnTo>
                <a:lnTo>
                  <a:pt x="1170" y="108"/>
                </a:lnTo>
                <a:lnTo>
                  <a:pt x="1146" y="106"/>
                </a:lnTo>
                <a:lnTo>
                  <a:pt x="1121" y="104"/>
                </a:lnTo>
                <a:lnTo>
                  <a:pt x="1096" y="103"/>
                </a:lnTo>
                <a:lnTo>
                  <a:pt x="1072" y="103"/>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58" name="Oval 57">
            <a:hlinkClick r:id="" action="ppaction://noaction"/>
            <a:extLst>
              <a:ext uri="{FF2B5EF4-FFF2-40B4-BE49-F238E27FC236}">
                <a16:creationId xmlns:a16="http://schemas.microsoft.com/office/drawing/2014/main" id="{048BBA61-F990-4ADF-9C8E-B58F85E2DAE0}"/>
              </a:ext>
            </a:extLst>
          </p:cNvPr>
          <p:cNvSpPr>
            <a:spLocks noChangeAspect="1"/>
          </p:cNvSpPr>
          <p:nvPr/>
        </p:nvSpPr>
        <p:spPr>
          <a:xfrm>
            <a:off x="40721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9" name="Oval 58">
            <a:hlinkClick r:id="" action="ppaction://noaction"/>
            <a:extLst>
              <a:ext uri="{FF2B5EF4-FFF2-40B4-BE49-F238E27FC236}">
                <a16:creationId xmlns:a16="http://schemas.microsoft.com/office/drawing/2014/main" id="{4254BD53-2591-48E2-886B-F18DAA6B0450}"/>
              </a:ext>
            </a:extLst>
          </p:cNvPr>
          <p:cNvSpPr>
            <a:spLocks noChangeAspect="1"/>
          </p:cNvSpPr>
          <p:nvPr/>
        </p:nvSpPr>
        <p:spPr>
          <a:xfrm>
            <a:off x="55123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Oval 59">
            <a:hlinkClick r:id="" action="ppaction://noaction"/>
            <a:extLst>
              <a:ext uri="{FF2B5EF4-FFF2-40B4-BE49-F238E27FC236}">
                <a16:creationId xmlns:a16="http://schemas.microsoft.com/office/drawing/2014/main" id="{CEB4D499-4A98-435B-B6CA-A2779EDC4CC2}"/>
              </a:ext>
            </a:extLst>
          </p:cNvPr>
          <p:cNvSpPr>
            <a:spLocks noChangeAspect="1"/>
          </p:cNvSpPr>
          <p:nvPr/>
        </p:nvSpPr>
        <p:spPr>
          <a:xfrm>
            <a:off x="69525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2" name="Oval 61">
            <a:hlinkClick r:id="" action="ppaction://noaction"/>
            <a:extLst>
              <a:ext uri="{FF2B5EF4-FFF2-40B4-BE49-F238E27FC236}">
                <a16:creationId xmlns:a16="http://schemas.microsoft.com/office/drawing/2014/main" id="{151A6A94-4582-435D-8D8E-88BB7AFA470A}"/>
              </a:ext>
            </a:extLst>
          </p:cNvPr>
          <p:cNvSpPr>
            <a:spLocks noChangeAspect="1"/>
          </p:cNvSpPr>
          <p:nvPr/>
        </p:nvSpPr>
        <p:spPr>
          <a:xfrm>
            <a:off x="839270" y="89377"/>
            <a:ext cx="108000" cy="108000"/>
          </a:xfrm>
          <a:prstGeom prst="ellipse">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3" name="Oval 62">
            <a:hlinkClick r:id="" action="ppaction://noaction"/>
            <a:extLst>
              <a:ext uri="{FF2B5EF4-FFF2-40B4-BE49-F238E27FC236}">
                <a16:creationId xmlns:a16="http://schemas.microsoft.com/office/drawing/2014/main" id="{AFB0A1DF-5F9D-41D2-B409-7C87F96208C4}"/>
              </a:ext>
            </a:extLst>
          </p:cNvPr>
          <p:cNvSpPr>
            <a:spLocks noChangeAspect="1"/>
          </p:cNvSpPr>
          <p:nvPr/>
        </p:nvSpPr>
        <p:spPr>
          <a:xfrm>
            <a:off x="98329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3A0FBDAD-80A4-42A0-A296-5DEA8662D9E1}"/>
              </a:ext>
            </a:extLst>
          </p:cNvPr>
          <p:cNvCxnSpPr/>
          <p:nvPr/>
        </p:nvCxnSpPr>
        <p:spPr>
          <a:xfrm>
            <a:off x="947270" y="5816906"/>
            <a:ext cx="297703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333DC01-70A3-4BB8-A619-37FBAAC02B4F}"/>
              </a:ext>
            </a:extLst>
          </p:cNvPr>
          <p:cNvCxnSpPr>
            <a:cxnSpLocks/>
          </p:cNvCxnSpPr>
          <p:nvPr/>
        </p:nvCxnSpPr>
        <p:spPr>
          <a:xfrm>
            <a:off x="4286250" y="5816906"/>
            <a:ext cx="2085975" cy="0"/>
          </a:xfrm>
          <a:prstGeom prst="line">
            <a:avLst/>
          </a:prstGeom>
        </p:spPr>
        <p:style>
          <a:lnRef idx="1">
            <a:schemeClr val="accent3"/>
          </a:lnRef>
          <a:fillRef idx="0">
            <a:schemeClr val="accent3"/>
          </a:fillRef>
          <a:effectRef idx="0">
            <a:schemeClr val="accent3"/>
          </a:effectRef>
          <a:fontRef idx="minor">
            <a:schemeClr val="tx1"/>
          </a:fontRef>
        </p:style>
      </p:cxnSp>
      <p:cxnSp>
        <p:nvCxnSpPr>
          <p:cNvPr id="66" name="Straight Connector 65">
            <a:extLst>
              <a:ext uri="{FF2B5EF4-FFF2-40B4-BE49-F238E27FC236}">
                <a16:creationId xmlns:a16="http://schemas.microsoft.com/office/drawing/2014/main" id="{9F77DBD1-25AE-4020-BF6F-07E0414123F8}"/>
              </a:ext>
            </a:extLst>
          </p:cNvPr>
          <p:cNvCxnSpPr>
            <a:cxnSpLocks/>
          </p:cNvCxnSpPr>
          <p:nvPr/>
        </p:nvCxnSpPr>
        <p:spPr>
          <a:xfrm>
            <a:off x="6638925" y="5816906"/>
            <a:ext cx="644525"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67" name="Straight Connector 66">
            <a:extLst>
              <a:ext uri="{FF2B5EF4-FFF2-40B4-BE49-F238E27FC236}">
                <a16:creationId xmlns:a16="http://schemas.microsoft.com/office/drawing/2014/main" id="{F2B2C0A2-4F92-41C4-9ED1-24CFF28B459D}"/>
              </a:ext>
            </a:extLst>
          </p:cNvPr>
          <p:cNvCxnSpPr>
            <a:cxnSpLocks/>
          </p:cNvCxnSpPr>
          <p:nvPr/>
        </p:nvCxnSpPr>
        <p:spPr>
          <a:xfrm>
            <a:off x="7550150" y="5815070"/>
            <a:ext cx="3048000" cy="1836"/>
          </a:xfrm>
          <a:prstGeom prst="line">
            <a:avLst/>
          </a:prstGeom>
        </p:spPr>
        <p:style>
          <a:lnRef idx="1">
            <a:schemeClr val="accent4"/>
          </a:lnRef>
          <a:fillRef idx="0">
            <a:schemeClr val="accent4"/>
          </a:fillRef>
          <a:effectRef idx="0">
            <a:schemeClr val="accent4"/>
          </a:effectRef>
          <a:fontRef idx="minor">
            <a:schemeClr val="tx1"/>
          </a:fontRef>
        </p:style>
      </p:cxnSp>
      <p:cxnSp>
        <p:nvCxnSpPr>
          <p:cNvPr id="69" name="Straight Connector 68">
            <a:extLst>
              <a:ext uri="{FF2B5EF4-FFF2-40B4-BE49-F238E27FC236}">
                <a16:creationId xmlns:a16="http://schemas.microsoft.com/office/drawing/2014/main" id="{BCD135FB-F860-40F3-9F4A-C180EF82E52C}"/>
              </a:ext>
            </a:extLst>
          </p:cNvPr>
          <p:cNvCxnSpPr>
            <a:cxnSpLocks/>
          </p:cNvCxnSpPr>
          <p:nvPr/>
        </p:nvCxnSpPr>
        <p:spPr>
          <a:xfrm>
            <a:off x="10848975" y="5815070"/>
            <a:ext cx="859549" cy="0"/>
          </a:xfrm>
          <a:prstGeom prst="line">
            <a:avLst/>
          </a:prstGeom>
        </p:spPr>
        <p:style>
          <a:lnRef idx="1">
            <a:schemeClr val="dk1"/>
          </a:lnRef>
          <a:fillRef idx="0">
            <a:schemeClr val="dk1"/>
          </a:fillRef>
          <a:effectRef idx="0">
            <a:schemeClr val="dk1"/>
          </a:effectRef>
          <a:fontRef idx="minor">
            <a:schemeClr val="tx1"/>
          </a:fontRef>
        </p:style>
      </p:cxnSp>
      <p:sp>
        <p:nvSpPr>
          <p:cNvPr id="70" name="Text Placeholder 12">
            <a:extLst>
              <a:ext uri="{FF2B5EF4-FFF2-40B4-BE49-F238E27FC236}">
                <a16:creationId xmlns:a16="http://schemas.microsoft.com/office/drawing/2014/main" id="{B25214F6-730E-40C0-BC8E-5922776143C1}"/>
              </a:ext>
            </a:extLst>
          </p:cNvPr>
          <p:cNvSpPr>
            <a:spLocks noGrp="1"/>
          </p:cNvSpPr>
          <p:nvPr>
            <p:custDataLst>
              <p:tags r:id="rId37"/>
            </p:custDataLst>
          </p:nvPr>
        </p:nvSpPr>
        <p:spPr bwMode="auto">
          <a:xfrm>
            <a:off x="10842437" y="5876092"/>
            <a:ext cx="943163" cy="472151"/>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fld id="{CF76C817-B9CF-483E-B69B-431315C6089B}" type="datetime'''''''''''''''''T''''''''''''''''''''''''''''''ot''''''''''al'">
              <a:rPr kumimoji="0" lang="en-US" altLang="en-US" sz="1500" b="1" i="0" u="none" strike="noStrike" kern="1200" cap="none" spc="0" normalizeH="0" baseline="0" noProof="0" smtClean="0">
                <a:ln>
                  <a:noFill/>
                </a:ln>
                <a:solidFill>
                  <a:schemeClr val="bg2">
                    <a:lumMod val="75000"/>
                  </a:schemeClr>
                </a:solidFill>
                <a:effectLst/>
                <a:uLnTx/>
                <a:uFillTx/>
                <a:latin typeface="Arial"/>
                <a:ea typeface="+mn-ea"/>
                <a:cs typeface="+mn-cs"/>
              </a:rPr>
              <a:pPr marL="0" marR="0" lvl="0" indent="0" algn="ctr" defTabSz="914400" rtl="0" eaLnBrk="1" fontAlgn="auto" latinLnBrk="0" hangingPunct="1">
                <a:lnSpc>
                  <a:spcPct val="120000"/>
                </a:lnSpc>
                <a:spcBef>
                  <a:spcPct val="0"/>
                </a:spcBef>
                <a:spcAft>
                  <a:spcPct val="0"/>
                </a:spcAft>
                <a:buClr>
                  <a:srgbClr val="0071B9"/>
                </a:buClr>
                <a:buSzTx/>
                <a:buFont typeface="Wingdings" panose="05000000000000000000" pitchFamily="2" charset="2"/>
                <a:buNone/>
                <a:tabLst/>
                <a:defRPr/>
              </a:pPr>
              <a:t>Total</a:t>
            </a:fld>
            <a:r>
              <a:rPr kumimoji="0" lang="en-US" altLang="en-US" sz="1500" b="1" i="0" u="none" strike="noStrike" kern="1200" cap="none" spc="0" normalizeH="0" baseline="0" noProof="0" dirty="0">
                <a:ln>
                  <a:noFill/>
                </a:ln>
                <a:solidFill>
                  <a:schemeClr val="bg2">
                    <a:lumMod val="75000"/>
                  </a:schemeClr>
                </a:solidFill>
                <a:effectLst/>
                <a:uLnTx/>
                <a:uFillTx/>
                <a:latin typeface="Arial"/>
                <a:ea typeface="+mn-ea"/>
                <a:cs typeface="+mn-cs"/>
              </a:rPr>
              <a:t> </a:t>
            </a:r>
            <a:br>
              <a:rPr kumimoji="0" lang="en-US" altLang="en-US" sz="1500" b="1" i="0" u="none" strike="noStrike" kern="1200" cap="none" spc="0" normalizeH="0" baseline="0" noProof="0" dirty="0">
                <a:ln>
                  <a:noFill/>
                </a:ln>
                <a:solidFill>
                  <a:schemeClr val="bg2">
                    <a:lumMod val="75000"/>
                  </a:schemeClr>
                </a:solidFill>
                <a:effectLst/>
                <a:uLnTx/>
                <a:uFillTx/>
                <a:latin typeface="Arial"/>
                <a:ea typeface="+mn-ea"/>
                <a:cs typeface="+mn-cs"/>
              </a:rPr>
            </a:br>
            <a:r>
              <a:rPr kumimoji="0" lang="en-US" altLang="en-US" sz="1500" b="1" i="0" u="none" strike="noStrike" kern="1200" cap="none" spc="0" normalizeH="0" baseline="0" noProof="0" dirty="0">
                <a:ln>
                  <a:noFill/>
                </a:ln>
                <a:solidFill>
                  <a:schemeClr val="bg2">
                    <a:lumMod val="75000"/>
                  </a:schemeClr>
                </a:solidFill>
                <a:effectLst/>
                <a:uLnTx/>
                <a:uFillTx/>
                <a:latin typeface="Arial"/>
                <a:ea typeface="+mn-ea"/>
                <a:cs typeface="+mn-cs"/>
              </a:rPr>
              <a:t>compensation</a:t>
            </a:r>
            <a:endParaRPr kumimoji="0" lang="en-US" sz="1500" b="1" i="0" u="none" strike="noStrike" kern="1200" cap="none" spc="0" normalizeH="0" baseline="0" noProof="0" dirty="0">
              <a:ln>
                <a:noFill/>
              </a:ln>
              <a:solidFill>
                <a:schemeClr val="bg2">
                  <a:lumMod val="75000"/>
                </a:schemeClr>
              </a:solidFill>
              <a:effectLst/>
              <a:uLnTx/>
              <a:uFillTx/>
              <a:latin typeface="Arial"/>
              <a:ea typeface="+mn-ea"/>
              <a:cs typeface="+mn-cs"/>
            </a:endParaRPr>
          </a:p>
        </p:txBody>
      </p:sp>
    </p:spTree>
    <p:extLst>
      <p:ext uri="{BB962C8B-B14F-4D97-AF65-F5344CB8AC3E}">
        <p14:creationId xmlns:p14="http://schemas.microsoft.com/office/powerpoint/2010/main" val="14645852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A9BBE5F-74A6-EC40-B4CE-913273A7AFD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092042" y="0"/>
            <a:ext cx="6099958" cy="6858000"/>
          </a:xfrm>
          <a:prstGeom prst="rect">
            <a:avLst/>
          </a:prstGeom>
        </p:spPr>
      </p:pic>
      <p:sp>
        <p:nvSpPr>
          <p:cNvPr id="2" name="Date Placeholder 1">
            <a:extLst>
              <a:ext uri="{FF2B5EF4-FFF2-40B4-BE49-F238E27FC236}">
                <a16:creationId xmlns:a16="http://schemas.microsoft.com/office/drawing/2014/main" id="{1A9C5DE3-A82E-4A1C-91D4-888FA5D45290}"/>
              </a:ext>
            </a:extLst>
          </p:cNvPr>
          <p:cNvSpPr>
            <a:spLocks noGrp="1"/>
          </p:cNvSpPr>
          <p:nvPr>
            <p:ph type="dt" sz="half" idx="10"/>
          </p:nvPr>
        </p:nvSpPr>
        <p:spPr/>
        <p:txBody>
          <a:bodyPr/>
          <a:lstStyle/>
          <a:p>
            <a:fld id="{79E9087F-8D29-4365-A1D1-C2092CC6B701}" type="datetime3">
              <a:rPr lang="en-US" noProof="0" smtClean="0"/>
              <a:t>13 April 2022</a:t>
            </a:fld>
            <a:endParaRPr lang="en-US" noProof="0"/>
          </a:p>
        </p:txBody>
      </p:sp>
      <p:sp>
        <p:nvSpPr>
          <p:cNvPr id="3" name="Footer Placeholder 2">
            <a:extLst>
              <a:ext uri="{FF2B5EF4-FFF2-40B4-BE49-F238E27FC236}">
                <a16:creationId xmlns:a16="http://schemas.microsoft.com/office/drawing/2014/main" id="{ECF69EFF-57E5-49A4-AC02-C59A4C7E184A}"/>
              </a:ext>
            </a:extLst>
          </p:cNvPr>
          <p:cNvSpPr>
            <a:spLocks noGrp="1"/>
          </p:cNvSpPr>
          <p:nvPr>
            <p:ph type="ftr" sz="quarter" idx="11"/>
          </p:nvPr>
        </p:nvSpPr>
        <p:spPr/>
        <p:txBody>
          <a:bodyPr/>
          <a:lstStyle/>
          <a:p>
            <a:r>
              <a:rPr lang="en-US" noProof="0">
                <a:solidFill>
                  <a:schemeClr val="bg1"/>
                </a:solidFill>
              </a:rPr>
              <a:t>Confidential  |  © KONE Corporation</a:t>
            </a:r>
          </a:p>
        </p:txBody>
      </p:sp>
      <p:sp>
        <p:nvSpPr>
          <p:cNvPr id="4" name="Slide Number Placeholder 3">
            <a:extLst>
              <a:ext uri="{FF2B5EF4-FFF2-40B4-BE49-F238E27FC236}">
                <a16:creationId xmlns:a16="http://schemas.microsoft.com/office/drawing/2014/main" id="{B209A3C4-6D6A-4562-BE01-FC5A9F74A5A6}"/>
              </a:ext>
            </a:extLst>
          </p:cNvPr>
          <p:cNvSpPr>
            <a:spLocks noGrp="1"/>
          </p:cNvSpPr>
          <p:nvPr>
            <p:ph type="sldNum" sz="quarter" idx="12"/>
          </p:nvPr>
        </p:nvSpPr>
        <p:spPr/>
        <p:txBody>
          <a:bodyPr/>
          <a:lstStyle/>
          <a:p>
            <a:fld id="{604FC64F-66B6-486E-8EFE-9FD96A66D16B}" type="slidenum">
              <a:rPr lang="en-US" noProof="0" smtClean="0"/>
              <a:pPr/>
              <a:t>15</a:t>
            </a:fld>
            <a:endParaRPr lang="en-US" noProof="0"/>
          </a:p>
        </p:txBody>
      </p:sp>
      <p:sp>
        <p:nvSpPr>
          <p:cNvPr id="5" name="Content Placeholder 4">
            <a:extLst>
              <a:ext uri="{FF2B5EF4-FFF2-40B4-BE49-F238E27FC236}">
                <a16:creationId xmlns:a16="http://schemas.microsoft.com/office/drawing/2014/main" id="{0E0EA915-A505-4C2A-B6F1-BC2990945D02}"/>
              </a:ext>
            </a:extLst>
          </p:cNvPr>
          <p:cNvSpPr>
            <a:spLocks noGrp="1"/>
          </p:cNvSpPr>
          <p:nvPr>
            <p:ph sz="quarter" idx="13"/>
          </p:nvPr>
        </p:nvSpPr>
        <p:spPr>
          <a:xfrm>
            <a:off x="407988" y="1809018"/>
            <a:ext cx="5149664" cy="2784163"/>
          </a:xfrm>
        </p:spPr>
        <p:txBody>
          <a:bodyPr vert="horz" lIns="0" tIns="0" rIns="0" bIns="0" rtlCol="0" anchor="t">
            <a:noAutofit/>
          </a:bodyPr>
          <a:lstStyle/>
          <a:p>
            <a:pPr marL="0" indent="0">
              <a:lnSpc>
                <a:spcPct val="100000"/>
              </a:lnSpc>
              <a:spcBef>
                <a:spcPts val="1200"/>
              </a:spcBef>
              <a:buNone/>
            </a:pPr>
            <a:r>
              <a:rPr lang="en-US" sz="1500">
                <a:cs typeface="Arial"/>
              </a:rPr>
              <a:t>Delight and inspire with hand-picked digital services that can be easily activated and scaled to boost user experiences in your building. KONE Care™ DX is the smartest way to leverage the power of connectivity and seamlessly evolve your KONE DX elevator as you go – so you can stay ahead of the curve, both now and in the future. Online health reports in real-time </a:t>
            </a:r>
          </a:p>
          <a:p>
            <a:pPr marL="177800" indent="-177800">
              <a:lnSpc>
                <a:spcPct val="100000"/>
              </a:lnSpc>
              <a:spcBef>
                <a:spcPts val="1200"/>
              </a:spcBef>
            </a:pPr>
            <a:r>
              <a:rPr lang="en-US" sz="1500">
                <a:cs typeface="Arial"/>
              </a:rPr>
              <a:t>Tailor-made experiences </a:t>
            </a:r>
          </a:p>
          <a:p>
            <a:pPr marL="177800" indent="-177800">
              <a:lnSpc>
                <a:spcPct val="100000"/>
              </a:lnSpc>
              <a:spcBef>
                <a:spcPts val="1200"/>
              </a:spcBef>
            </a:pPr>
            <a:r>
              <a:rPr lang="en-US" sz="1500">
                <a:cs typeface="Arial"/>
              </a:rPr>
              <a:t>Easy integration of new digital services </a:t>
            </a:r>
          </a:p>
          <a:p>
            <a:pPr marL="177800" indent="-177800">
              <a:lnSpc>
                <a:spcPct val="100000"/>
              </a:lnSpc>
              <a:spcBef>
                <a:spcPts val="1200"/>
              </a:spcBef>
            </a:pPr>
            <a:r>
              <a:rPr lang="en-US" sz="1500">
                <a:cs typeface="Arial"/>
              </a:rPr>
              <a:t>No need to retrofit to upgrade your elevator </a:t>
            </a:r>
          </a:p>
          <a:p>
            <a:pPr marL="177800" indent="-177800">
              <a:lnSpc>
                <a:spcPct val="100000"/>
              </a:lnSpc>
              <a:spcBef>
                <a:spcPts val="1200"/>
              </a:spcBef>
            </a:pPr>
            <a:r>
              <a:rPr lang="en-US" sz="1500">
                <a:cs typeface="Arial"/>
              </a:rPr>
              <a:t>It's adaptable and scalable</a:t>
            </a:r>
          </a:p>
        </p:txBody>
      </p:sp>
      <p:sp>
        <p:nvSpPr>
          <p:cNvPr id="6" name="Title 5">
            <a:extLst>
              <a:ext uri="{FF2B5EF4-FFF2-40B4-BE49-F238E27FC236}">
                <a16:creationId xmlns:a16="http://schemas.microsoft.com/office/drawing/2014/main" id="{5B651ECF-CA61-43C9-B8A5-F5EC7D586EBE}"/>
              </a:ext>
            </a:extLst>
          </p:cNvPr>
          <p:cNvSpPr>
            <a:spLocks noGrp="1"/>
          </p:cNvSpPr>
          <p:nvPr>
            <p:ph type="title"/>
          </p:nvPr>
        </p:nvSpPr>
        <p:spPr>
          <a:xfrm>
            <a:off x="407988" y="725445"/>
            <a:ext cx="5161539" cy="863601"/>
          </a:xfrm>
        </p:spPr>
        <p:txBody>
          <a:bodyPr/>
          <a:lstStyle/>
          <a:p>
            <a:r>
              <a:rPr lang="en-US">
                <a:cs typeface="Arial"/>
              </a:rPr>
              <a:t>It enables tailor-made experiences</a:t>
            </a:r>
          </a:p>
        </p:txBody>
      </p:sp>
      <p:grpSp>
        <p:nvGrpSpPr>
          <p:cNvPr id="10" name="Group 9">
            <a:extLst>
              <a:ext uri="{FF2B5EF4-FFF2-40B4-BE49-F238E27FC236}">
                <a16:creationId xmlns:a16="http://schemas.microsoft.com/office/drawing/2014/main" id="{F61DB673-FAF5-8F4D-BE5C-DC51985E4695}"/>
              </a:ext>
            </a:extLst>
          </p:cNvPr>
          <p:cNvGrpSpPr>
            <a:grpSpLocks noChangeAspect="1"/>
          </p:cNvGrpSpPr>
          <p:nvPr/>
        </p:nvGrpSpPr>
        <p:grpSpPr>
          <a:xfrm>
            <a:off x="11064013" y="404664"/>
            <a:ext cx="720000" cy="364398"/>
            <a:chOff x="3498850" y="2112963"/>
            <a:chExt cx="5197475" cy="2630487"/>
          </a:xfrm>
        </p:grpSpPr>
        <p:sp>
          <p:nvSpPr>
            <p:cNvPr id="11" name="Freeform 6">
              <a:extLst>
                <a:ext uri="{FF2B5EF4-FFF2-40B4-BE49-F238E27FC236}">
                  <a16:creationId xmlns:a16="http://schemas.microsoft.com/office/drawing/2014/main" id="{17D0A6AF-0189-6443-9DAE-08757B33F218}"/>
                </a:ext>
              </a:extLst>
            </p:cNvPr>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2" name="Freeform 7">
              <a:extLst>
                <a:ext uri="{FF2B5EF4-FFF2-40B4-BE49-F238E27FC236}">
                  <a16:creationId xmlns:a16="http://schemas.microsoft.com/office/drawing/2014/main" id="{AAC806EE-5015-964B-8BF1-BB88CA7D2E10}"/>
                </a:ext>
              </a:extLst>
            </p:cNvPr>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3" name="Title 5">
            <a:extLst>
              <a:ext uri="{FF2B5EF4-FFF2-40B4-BE49-F238E27FC236}">
                <a16:creationId xmlns:a16="http://schemas.microsoft.com/office/drawing/2014/main" id="{1055F4B9-3810-0242-8FF6-2D65C0D680BC}"/>
              </a:ext>
            </a:extLst>
          </p:cNvPr>
          <p:cNvSpPr txBox="1">
            <a:spLocks/>
          </p:cNvSpPr>
          <p:nvPr/>
        </p:nvSpPr>
        <p:spPr>
          <a:xfrm>
            <a:off x="443614" y="404812"/>
            <a:ext cx="4175887" cy="86360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a:lstStyle>
          <a:p>
            <a:r>
              <a:rPr lang="en-GB" sz="1600">
                <a:cs typeface="Arial"/>
              </a:rPr>
              <a:t>WHAT ARE THE BENEFITS?</a:t>
            </a:r>
          </a:p>
        </p:txBody>
      </p:sp>
      <p:sp>
        <p:nvSpPr>
          <p:cNvPr id="14" name="Content Placeholder 4">
            <a:extLst>
              <a:ext uri="{FF2B5EF4-FFF2-40B4-BE49-F238E27FC236}">
                <a16:creationId xmlns:a16="http://schemas.microsoft.com/office/drawing/2014/main" id="{6968790C-CB57-B146-B8FA-EAB7E1415E39}"/>
              </a:ext>
            </a:extLst>
          </p:cNvPr>
          <p:cNvSpPr txBox="1">
            <a:spLocks/>
          </p:cNvSpPr>
          <p:nvPr/>
        </p:nvSpPr>
        <p:spPr>
          <a:xfrm>
            <a:off x="1050966" y="5390410"/>
            <a:ext cx="4102925" cy="630382"/>
          </a:xfrm>
          <a:prstGeom prst="rect">
            <a:avLst/>
          </a:prstGeom>
        </p:spPr>
        <p:txBody>
          <a:bodyPr vert="horz" lIns="0" tIns="0" rIns="0" bIns="0" rtlCol="0" anchor="ctr">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indent="0">
              <a:lnSpc>
                <a:spcPct val="100000"/>
              </a:lnSpc>
              <a:spcBef>
                <a:spcPts val="1200"/>
              </a:spcBef>
              <a:buNone/>
            </a:pPr>
            <a:r>
              <a:rPr lang="en-GB" sz="1600" b="1">
                <a:solidFill>
                  <a:schemeClr val="tx2"/>
                </a:solidFill>
                <a:cs typeface="Arial"/>
              </a:rPr>
              <a:t>Connectivity brings smoother </a:t>
            </a:r>
            <a:br>
              <a:rPr lang="en-GB" sz="1600" b="1">
                <a:solidFill>
                  <a:schemeClr val="tx2"/>
                </a:solidFill>
                <a:cs typeface="Arial"/>
              </a:rPr>
            </a:br>
            <a:r>
              <a:rPr lang="en-GB" sz="1600" b="1">
                <a:solidFill>
                  <a:schemeClr val="tx2"/>
                </a:solidFill>
                <a:cs typeface="Arial"/>
              </a:rPr>
              <a:t>and safer people flow</a:t>
            </a:r>
          </a:p>
        </p:txBody>
      </p:sp>
      <p:cxnSp>
        <p:nvCxnSpPr>
          <p:cNvPr id="16" name="Straight Connector 15">
            <a:extLst>
              <a:ext uri="{FF2B5EF4-FFF2-40B4-BE49-F238E27FC236}">
                <a16:creationId xmlns:a16="http://schemas.microsoft.com/office/drawing/2014/main" id="{8BC922D7-3716-2A45-A8FC-21C29858ABA9}"/>
              </a:ext>
            </a:extLst>
          </p:cNvPr>
          <p:cNvCxnSpPr/>
          <p:nvPr/>
        </p:nvCxnSpPr>
        <p:spPr>
          <a:xfrm>
            <a:off x="415636" y="5332021"/>
            <a:ext cx="44057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E7F67FB-8BE2-9F48-84EC-BA921EDE6EC8}"/>
              </a:ext>
            </a:extLst>
          </p:cNvPr>
          <p:cNvCxnSpPr/>
          <p:nvPr/>
        </p:nvCxnSpPr>
        <p:spPr>
          <a:xfrm>
            <a:off x="418605" y="6097979"/>
            <a:ext cx="44057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CD63810-4689-0D48-B1CA-8ED9A543F95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5636" y="5463639"/>
            <a:ext cx="486888" cy="486888"/>
          </a:xfrm>
          <a:prstGeom prst="rect">
            <a:avLst/>
          </a:prstGeom>
        </p:spPr>
      </p:pic>
      <p:sp>
        <p:nvSpPr>
          <p:cNvPr id="18" name="Freeform 9">
            <a:hlinkClick r:id="rId4" action="ppaction://hlinksldjump"/>
            <a:extLst>
              <a:ext uri="{FF2B5EF4-FFF2-40B4-BE49-F238E27FC236}">
                <a16:creationId xmlns:a16="http://schemas.microsoft.com/office/drawing/2014/main" id="{0D6DE9E9-4C81-411D-AD9A-E4B70204A65C}"/>
              </a:ext>
            </a:extLst>
          </p:cNvPr>
          <p:cNvSpPr>
            <a:spLocks noChangeAspect="1" noEditPoints="1"/>
          </p:cNvSpPr>
          <p:nvPr/>
        </p:nvSpPr>
        <p:spPr bwMode="auto">
          <a:xfrm rot="10800000" flipV="1">
            <a:off x="191181" y="90916"/>
            <a:ext cx="108000" cy="108000"/>
          </a:xfrm>
          <a:custGeom>
            <a:avLst/>
            <a:gdLst>
              <a:gd name="T0" fmla="*/ 1082 w 2142"/>
              <a:gd name="T1" fmla="*/ 1607 h 2142"/>
              <a:gd name="T2" fmla="*/ 990 w 2142"/>
              <a:gd name="T3" fmla="*/ 1578 h 2142"/>
              <a:gd name="T4" fmla="*/ 494 w 2142"/>
              <a:gd name="T5" fmla="*/ 1025 h 2142"/>
              <a:gd name="T6" fmla="*/ 999 w 2142"/>
              <a:gd name="T7" fmla="*/ 1002 h 2142"/>
              <a:gd name="T8" fmla="*/ 1060 w 2142"/>
              <a:gd name="T9" fmla="*/ 534 h 2142"/>
              <a:gd name="T10" fmla="*/ 1153 w 2142"/>
              <a:gd name="T11" fmla="*/ 564 h 2142"/>
              <a:gd name="T12" fmla="*/ 1666 w 2142"/>
              <a:gd name="T13" fmla="*/ 1064 h 2142"/>
              <a:gd name="T14" fmla="*/ 1641 w 2142"/>
              <a:gd name="T15" fmla="*/ 1124 h 2142"/>
              <a:gd name="T16" fmla="*/ 539 w 2142"/>
              <a:gd name="T17" fmla="*/ 1140 h 2142"/>
              <a:gd name="T18" fmla="*/ 488 w 2142"/>
              <a:gd name="T19" fmla="*/ 1109 h 2142"/>
              <a:gd name="T20" fmla="*/ 988 w 2142"/>
              <a:gd name="T21" fmla="*/ 2139 h 2142"/>
              <a:gd name="T22" fmla="*/ 728 w 2142"/>
              <a:gd name="T23" fmla="*/ 2086 h 2142"/>
              <a:gd name="T24" fmla="*/ 494 w 2142"/>
              <a:gd name="T25" fmla="*/ 1973 h 2142"/>
              <a:gd name="T26" fmla="*/ 296 w 2142"/>
              <a:gd name="T27" fmla="*/ 1810 h 2142"/>
              <a:gd name="T28" fmla="*/ 142 w 2142"/>
              <a:gd name="T29" fmla="*/ 1604 h 2142"/>
              <a:gd name="T30" fmla="*/ 41 w 2142"/>
              <a:gd name="T31" fmla="*/ 1364 h 2142"/>
              <a:gd name="T32" fmla="*/ 0 w 2142"/>
              <a:gd name="T33" fmla="*/ 1098 h 2142"/>
              <a:gd name="T34" fmla="*/ 27 w 2142"/>
              <a:gd name="T35" fmla="*/ 829 h 2142"/>
              <a:gd name="T36" fmla="*/ 117 w 2142"/>
              <a:gd name="T37" fmla="*/ 584 h 2142"/>
              <a:gd name="T38" fmla="*/ 261 w 2142"/>
              <a:gd name="T39" fmla="*/ 370 h 2142"/>
              <a:gd name="T40" fmla="*/ 452 w 2142"/>
              <a:gd name="T41" fmla="*/ 198 h 2142"/>
              <a:gd name="T42" fmla="*/ 679 w 2142"/>
              <a:gd name="T43" fmla="*/ 74 h 2142"/>
              <a:gd name="T44" fmla="*/ 936 w 2142"/>
              <a:gd name="T45" fmla="*/ 8 h 2142"/>
              <a:gd name="T46" fmla="*/ 1208 w 2142"/>
              <a:gd name="T47" fmla="*/ 8 h 2142"/>
              <a:gd name="T48" fmla="*/ 1463 w 2142"/>
              <a:gd name="T49" fmla="*/ 74 h 2142"/>
              <a:gd name="T50" fmla="*/ 1691 w 2142"/>
              <a:gd name="T51" fmla="*/ 198 h 2142"/>
              <a:gd name="T52" fmla="*/ 1881 w 2142"/>
              <a:gd name="T53" fmla="*/ 370 h 2142"/>
              <a:gd name="T54" fmla="*/ 2025 w 2142"/>
              <a:gd name="T55" fmla="*/ 584 h 2142"/>
              <a:gd name="T56" fmla="*/ 2115 w 2142"/>
              <a:gd name="T57" fmla="*/ 829 h 2142"/>
              <a:gd name="T58" fmla="*/ 2142 w 2142"/>
              <a:gd name="T59" fmla="*/ 1098 h 2142"/>
              <a:gd name="T60" fmla="*/ 2101 w 2142"/>
              <a:gd name="T61" fmla="*/ 1364 h 2142"/>
              <a:gd name="T62" fmla="*/ 2000 w 2142"/>
              <a:gd name="T63" fmla="*/ 1604 h 2142"/>
              <a:gd name="T64" fmla="*/ 1846 w 2142"/>
              <a:gd name="T65" fmla="*/ 1810 h 2142"/>
              <a:gd name="T66" fmla="*/ 1648 w 2142"/>
              <a:gd name="T67" fmla="*/ 1973 h 2142"/>
              <a:gd name="T68" fmla="*/ 1414 w 2142"/>
              <a:gd name="T69" fmla="*/ 2086 h 2142"/>
              <a:gd name="T70" fmla="*/ 1154 w 2142"/>
              <a:gd name="T71" fmla="*/ 2139 h 2142"/>
              <a:gd name="T72" fmla="*/ 924 w 2142"/>
              <a:gd name="T73" fmla="*/ 113 h 2142"/>
              <a:gd name="T74" fmla="*/ 695 w 2142"/>
              <a:gd name="T75" fmla="*/ 179 h 2142"/>
              <a:gd name="T76" fmla="*/ 492 w 2142"/>
              <a:gd name="T77" fmla="*/ 296 h 2142"/>
              <a:gd name="T78" fmla="*/ 324 w 2142"/>
              <a:gd name="T79" fmla="*/ 456 h 2142"/>
              <a:gd name="T80" fmla="*/ 200 w 2142"/>
              <a:gd name="T81" fmla="*/ 652 h 2142"/>
              <a:gd name="T82" fmla="*/ 123 w 2142"/>
              <a:gd name="T83" fmla="*/ 876 h 2142"/>
              <a:gd name="T84" fmla="*/ 105 w 2142"/>
              <a:gd name="T85" fmla="*/ 1121 h 2142"/>
              <a:gd name="T86" fmla="*/ 147 w 2142"/>
              <a:gd name="T87" fmla="*/ 1358 h 2142"/>
              <a:gd name="T88" fmla="*/ 243 w 2142"/>
              <a:gd name="T89" fmla="*/ 1572 h 2142"/>
              <a:gd name="T90" fmla="*/ 388 w 2142"/>
              <a:gd name="T91" fmla="*/ 1755 h 2142"/>
              <a:gd name="T92" fmla="*/ 570 w 2142"/>
              <a:gd name="T93" fmla="*/ 1899 h 2142"/>
              <a:gd name="T94" fmla="*/ 784 w 2142"/>
              <a:gd name="T95" fmla="*/ 1996 h 2142"/>
              <a:gd name="T96" fmla="*/ 1021 w 2142"/>
              <a:gd name="T97" fmla="*/ 2037 h 2142"/>
              <a:gd name="T98" fmla="*/ 1266 w 2142"/>
              <a:gd name="T99" fmla="*/ 2019 h 2142"/>
              <a:gd name="T100" fmla="*/ 1490 w 2142"/>
              <a:gd name="T101" fmla="*/ 1943 h 2142"/>
              <a:gd name="T102" fmla="*/ 1686 w 2142"/>
              <a:gd name="T103" fmla="*/ 1818 h 2142"/>
              <a:gd name="T104" fmla="*/ 1846 w 2142"/>
              <a:gd name="T105" fmla="*/ 1650 h 2142"/>
              <a:gd name="T106" fmla="*/ 1963 w 2142"/>
              <a:gd name="T107" fmla="*/ 1447 h 2142"/>
              <a:gd name="T108" fmla="*/ 2028 w 2142"/>
              <a:gd name="T109" fmla="*/ 1218 h 2142"/>
              <a:gd name="T110" fmla="*/ 2034 w 2142"/>
              <a:gd name="T111" fmla="*/ 972 h 2142"/>
              <a:gd name="T112" fmla="*/ 1980 w 2142"/>
              <a:gd name="T113" fmla="*/ 738 h 2142"/>
              <a:gd name="T114" fmla="*/ 1873 w 2142"/>
              <a:gd name="T115" fmla="*/ 530 h 2142"/>
              <a:gd name="T116" fmla="*/ 1721 w 2142"/>
              <a:gd name="T117" fmla="*/ 354 h 2142"/>
              <a:gd name="T118" fmla="*/ 1532 w 2142"/>
              <a:gd name="T119" fmla="*/ 219 h 2142"/>
              <a:gd name="T120" fmla="*/ 1313 w 2142"/>
              <a:gd name="T121" fmla="*/ 134 h 2142"/>
              <a:gd name="T122" fmla="*/ 1072 w 2142"/>
              <a:gd name="T123" fmla="*/ 103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2" h="2142">
                <a:moveTo>
                  <a:pt x="1372" y="1210"/>
                </a:moveTo>
                <a:lnTo>
                  <a:pt x="1565" y="1210"/>
                </a:lnTo>
                <a:lnTo>
                  <a:pt x="1153" y="1578"/>
                </a:lnTo>
                <a:lnTo>
                  <a:pt x="1144" y="1585"/>
                </a:lnTo>
                <a:lnTo>
                  <a:pt x="1135" y="1590"/>
                </a:lnTo>
                <a:lnTo>
                  <a:pt x="1125" y="1596"/>
                </a:lnTo>
                <a:lnTo>
                  <a:pt x="1114" y="1601"/>
                </a:lnTo>
                <a:lnTo>
                  <a:pt x="1104" y="1604"/>
                </a:lnTo>
                <a:lnTo>
                  <a:pt x="1093" y="1606"/>
                </a:lnTo>
                <a:lnTo>
                  <a:pt x="1082" y="1607"/>
                </a:lnTo>
                <a:lnTo>
                  <a:pt x="1072" y="1608"/>
                </a:lnTo>
                <a:lnTo>
                  <a:pt x="1060" y="1607"/>
                </a:lnTo>
                <a:lnTo>
                  <a:pt x="1049" y="1606"/>
                </a:lnTo>
                <a:lnTo>
                  <a:pt x="1039" y="1604"/>
                </a:lnTo>
                <a:lnTo>
                  <a:pt x="1033" y="1603"/>
                </a:lnTo>
                <a:lnTo>
                  <a:pt x="1028" y="1601"/>
                </a:lnTo>
                <a:lnTo>
                  <a:pt x="1018" y="1596"/>
                </a:lnTo>
                <a:lnTo>
                  <a:pt x="1009" y="1590"/>
                </a:lnTo>
                <a:lnTo>
                  <a:pt x="999" y="1585"/>
                </a:lnTo>
                <a:lnTo>
                  <a:pt x="990" y="1578"/>
                </a:lnTo>
                <a:lnTo>
                  <a:pt x="975" y="1564"/>
                </a:lnTo>
                <a:lnTo>
                  <a:pt x="1372" y="1210"/>
                </a:lnTo>
                <a:close/>
                <a:moveTo>
                  <a:pt x="476" y="1070"/>
                </a:moveTo>
                <a:lnTo>
                  <a:pt x="478" y="1064"/>
                </a:lnTo>
                <a:lnTo>
                  <a:pt x="479" y="1056"/>
                </a:lnTo>
                <a:lnTo>
                  <a:pt x="481" y="1049"/>
                </a:lnTo>
                <a:lnTo>
                  <a:pt x="484" y="1042"/>
                </a:lnTo>
                <a:lnTo>
                  <a:pt x="487" y="1035"/>
                </a:lnTo>
                <a:lnTo>
                  <a:pt x="491" y="1030"/>
                </a:lnTo>
                <a:lnTo>
                  <a:pt x="494" y="1025"/>
                </a:lnTo>
                <a:lnTo>
                  <a:pt x="499" y="1020"/>
                </a:lnTo>
                <a:lnTo>
                  <a:pt x="505" y="1016"/>
                </a:lnTo>
                <a:lnTo>
                  <a:pt x="509" y="1012"/>
                </a:lnTo>
                <a:lnTo>
                  <a:pt x="515" y="1008"/>
                </a:lnTo>
                <a:lnTo>
                  <a:pt x="520" y="1006"/>
                </a:lnTo>
                <a:lnTo>
                  <a:pt x="527" y="1004"/>
                </a:lnTo>
                <a:lnTo>
                  <a:pt x="533" y="1003"/>
                </a:lnTo>
                <a:lnTo>
                  <a:pt x="539" y="1002"/>
                </a:lnTo>
                <a:lnTo>
                  <a:pt x="546" y="1002"/>
                </a:lnTo>
                <a:lnTo>
                  <a:pt x="999" y="1002"/>
                </a:lnTo>
                <a:lnTo>
                  <a:pt x="1451" y="1002"/>
                </a:lnTo>
                <a:lnTo>
                  <a:pt x="975" y="577"/>
                </a:lnTo>
                <a:lnTo>
                  <a:pt x="990" y="564"/>
                </a:lnTo>
                <a:lnTo>
                  <a:pt x="999" y="557"/>
                </a:lnTo>
                <a:lnTo>
                  <a:pt x="1009" y="550"/>
                </a:lnTo>
                <a:lnTo>
                  <a:pt x="1018" y="546"/>
                </a:lnTo>
                <a:lnTo>
                  <a:pt x="1028" y="541"/>
                </a:lnTo>
                <a:lnTo>
                  <a:pt x="1039" y="538"/>
                </a:lnTo>
                <a:lnTo>
                  <a:pt x="1049" y="536"/>
                </a:lnTo>
                <a:lnTo>
                  <a:pt x="1060" y="534"/>
                </a:lnTo>
                <a:lnTo>
                  <a:pt x="1072" y="533"/>
                </a:lnTo>
                <a:lnTo>
                  <a:pt x="1082" y="534"/>
                </a:lnTo>
                <a:lnTo>
                  <a:pt x="1093" y="536"/>
                </a:lnTo>
                <a:lnTo>
                  <a:pt x="1104" y="538"/>
                </a:lnTo>
                <a:lnTo>
                  <a:pt x="1109" y="539"/>
                </a:lnTo>
                <a:lnTo>
                  <a:pt x="1114" y="541"/>
                </a:lnTo>
                <a:lnTo>
                  <a:pt x="1125" y="546"/>
                </a:lnTo>
                <a:lnTo>
                  <a:pt x="1135" y="550"/>
                </a:lnTo>
                <a:lnTo>
                  <a:pt x="1144" y="557"/>
                </a:lnTo>
                <a:lnTo>
                  <a:pt x="1153" y="564"/>
                </a:lnTo>
                <a:lnTo>
                  <a:pt x="1629" y="988"/>
                </a:lnTo>
                <a:lnTo>
                  <a:pt x="1637" y="996"/>
                </a:lnTo>
                <a:lnTo>
                  <a:pt x="1643" y="1004"/>
                </a:lnTo>
                <a:lnTo>
                  <a:pt x="1650" y="1013"/>
                </a:lnTo>
                <a:lnTo>
                  <a:pt x="1655" y="1023"/>
                </a:lnTo>
                <a:lnTo>
                  <a:pt x="1657" y="1028"/>
                </a:lnTo>
                <a:lnTo>
                  <a:pt x="1659" y="1032"/>
                </a:lnTo>
                <a:lnTo>
                  <a:pt x="1662" y="1042"/>
                </a:lnTo>
                <a:lnTo>
                  <a:pt x="1665" y="1053"/>
                </a:lnTo>
                <a:lnTo>
                  <a:pt x="1666" y="1064"/>
                </a:lnTo>
                <a:lnTo>
                  <a:pt x="1666" y="1071"/>
                </a:lnTo>
                <a:lnTo>
                  <a:pt x="1665" y="1080"/>
                </a:lnTo>
                <a:lnTo>
                  <a:pt x="1664" y="1087"/>
                </a:lnTo>
                <a:lnTo>
                  <a:pt x="1661" y="1095"/>
                </a:lnTo>
                <a:lnTo>
                  <a:pt x="1658" y="1102"/>
                </a:lnTo>
                <a:lnTo>
                  <a:pt x="1655" y="1109"/>
                </a:lnTo>
                <a:lnTo>
                  <a:pt x="1650" y="1114"/>
                </a:lnTo>
                <a:lnTo>
                  <a:pt x="1646" y="1120"/>
                </a:lnTo>
                <a:lnTo>
                  <a:pt x="1643" y="1122"/>
                </a:lnTo>
                <a:lnTo>
                  <a:pt x="1641" y="1124"/>
                </a:lnTo>
                <a:lnTo>
                  <a:pt x="1635" y="1129"/>
                </a:lnTo>
                <a:lnTo>
                  <a:pt x="1630" y="1132"/>
                </a:lnTo>
                <a:lnTo>
                  <a:pt x="1624" y="1136"/>
                </a:lnTo>
                <a:lnTo>
                  <a:pt x="1617" y="1138"/>
                </a:lnTo>
                <a:lnTo>
                  <a:pt x="1611" y="1139"/>
                </a:lnTo>
                <a:lnTo>
                  <a:pt x="1604" y="1140"/>
                </a:lnTo>
                <a:lnTo>
                  <a:pt x="1596" y="1141"/>
                </a:lnTo>
                <a:lnTo>
                  <a:pt x="1071" y="1141"/>
                </a:lnTo>
                <a:lnTo>
                  <a:pt x="546" y="1141"/>
                </a:lnTo>
                <a:lnTo>
                  <a:pt x="539" y="1140"/>
                </a:lnTo>
                <a:lnTo>
                  <a:pt x="533" y="1139"/>
                </a:lnTo>
                <a:lnTo>
                  <a:pt x="527" y="1138"/>
                </a:lnTo>
                <a:lnTo>
                  <a:pt x="520" y="1136"/>
                </a:lnTo>
                <a:lnTo>
                  <a:pt x="515" y="1133"/>
                </a:lnTo>
                <a:lnTo>
                  <a:pt x="509" y="1130"/>
                </a:lnTo>
                <a:lnTo>
                  <a:pt x="505" y="1127"/>
                </a:lnTo>
                <a:lnTo>
                  <a:pt x="499" y="1122"/>
                </a:lnTo>
                <a:lnTo>
                  <a:pt x="494" y="1118"/>
                </a:lnTo>
                <a:lnTo>
                  <a:pt x="491" y="1113"/>
                </a:lnTo>
                <a:lnTo>
                  <a:pt x="488" y="1109"/>
                </a:lnTo>
                <a:lnTo>
                  <a:pt x="484" y="1103"/>
                </a:lnTo>
                <a:lnTo>
                  <a:pt x="481" y="1097"/>
                </a:lnTo>
                <a:lnTo>
                  <a:pt x="480" y="1091"/>
                </a:lnTo>
                <a:lnTo>
                  <a:pt x="478" y="1085"/>
                </a:lnTo>
                <a:lnTo>
                  <a:pt x="476" y="1078"/>
                </a:lnTo>
                <a:lnTo>
                  <a:pt x="476" y="1070"/>
                </a:lnTo>
                <a:close/>
                <a:moveTo>
                  <a:pt x="1072" y="2142"/>
                </a:moveTo>
                <a:lnTo>
                  <a:pt x="1044" y="2142"/>
                </a:lnTo>
                <a:lnTo>
                  <a:pt x="1017" y="2141"/>
                </a:lnTo>
                <a:lnTo>
                  <a:pt x="988" y="2139"/>
                </a:lnTo>
                <a:lnTo>
                  <a:pt x="961" y="2136"/>
                </a:lnTo>
                <a:lnTo>
                  <a:pt x="936" y="2133"/>
                </a:lnTo>
                <a:lnTo>
                  <a:pt x="909" y="2130"/>
                </a:lnTo>
                <a:lnTo>
                  <a:pt x="882" y="2125"/>
                </a:lnTo>
                <a:lnTo>
                  <a:pt x="856" y="2121"/>
                </a:lnTo>
                <a:lnTo>
                  <a:pt x="830" y="2115"/>
                </a:lnTo>
                <a:lnTo>
                  <a:pt x="804" y="2108"/>
                </a:lnTo>
                <a:lnTo>
                  <a:pt x="778" y="2101"/>
                </a:lnTo>
                <a:lnTo>
                  <a:pt x="753" y="2094"/>
                </a:lnTo>
                <a:lnTo>
                  <a:pt x="728" y="2086"/>
                </a:lnTo>
                <a:lnTo>
                  <a:pt x="704" y="2077"/>
                </a:lnTo>
                <a:lnTo>
                  <a:pt x="679" y="2068"/>
                </a:lnTo>
                <a:lnTo>
                  <a:pt x="654" y="2058"/>
                </a:lnTo>
                <a:lnTo>
                  <a:pt x="631" y="2047"/>
                </a:lnTo>
                <a:lnTo>
                  <a:pt x="607" y="2036"/>
                </a:lnTo>
                <a:lnTo>
                  <a:pt x="584" y="2025"/>
                </a:lnTo>
                <a:lnTo>
                  <a:pt x="561" y="2013"/>
                </a:lnTo>
                <a:lnTo>
                  <a:pt x="538" y="2000"/>
                </a:lnTo>
                <a:lnTo>
                  <a:pt x="516" y="1987"/>
                </a:lnTo>
                <a:lnTo>
                  <a:pt x="494" y="1973"/>
                </a:lnTo>
                <a:lnTo>
                  <a:pt x="473" y="1959"/>
                </a:lnTo>
                <a:lnTo>
                  <a:pt x="452" y="1944"/>
                </a:lnTo>
                <a:lnTo>
                  <a:pt x="431" y="1929"/>
                </a:lnTo>
                <a:lnTo>
                  <a:pt x="410" y="1913"/>
                </a:lnTo>
                <a:lnTo>
                  <a:pt x="391" y="1898"/>
                </a:lnTo>
                <a:lnTo>
                  <a:pt x="371" y="1881"/>
                </a:lnTo>
                <a:lnTo>
                  <a:pt x="351" y="1864"/>
                </a:lnTo>
                <a:lnTo>
                  <a:pt x="332" y="1846"/>
                </a:lnTo>
                <a:lnTo>
                  <a:pt x="314" y="1828"/>
                </a:lnTo>
                <a:lnTo>
                  <a:pt x="296" y="1810"/>
                </a:lnTo>
                <a:lnTo>
                  <a:pt x="278" y="1791"/>
                </a:lnTo>
                <a:lnTo>
                  <a:pt x="261" y="1772"/>
                </a:lnTo>
                <a:lnTo>
                  <a:pt x="245" y="1751"/>
                </a:lnTo>
                <a:lnTo>
                  <a:pt x="229" y="1732"/>
                </a:lnTo>
                <a:lnTo>
                  <a:pt x="213" y="1712"/>
                </a:lnTo>
                <a:lnTo>
                  <a:pt x="198" y="1691"/>
                </a:lnTo>
                <a:lnTo>
                  <a:pt x="184" y="1669"/>
                </a:lnTo>
                <a:lnTo>
                  <a:pt x="169" y="1648"/>
                </a:lnTo>
                <a:lnTo>
                  <a:pt x="156" y="1626"/>
                </a:lnTo>
                <a:lnTo>
                  <a:pt x="142" y="1604"/>
                </a:lnTo>
                <a:lnTo>
                  <a:pt x="130" y="1581"/>
                </a:lnTo>
                <a:lnTo>
                  <a:pt x="117" y="1558"/>
                </a:lnTo>
                <a:lnTo>
                  <a:pt x="106" y="1535"/>
                </a:lnTo>
                <a:lnTo>
                  <a:pt x="95" y="1512"/>
                </a:lnTo>
                <a:lnTo>
                  <a:pt x="85" y="1488"/>
                </a:lnTo>
                <a:lnTo>
                  <a:pt x="75" y="1463"/>
                </a:lnTo>
                <a:lnTo>
                  <a:pt x="66" y="1438"/>
                </a:lnTo>
                <a:lnTo>
                  <a:pt x="57" y="1414"/>
                </a:lnTo>
                <a:lnTo>
                  <a:pt x="49" y="1389"/>
                </a:lnTo>
                <a:lnTo>
                  <a:pt x="41" y="1364"/>
                </a:lnTo>
                <a:lnTo>
                  <a:pt x="34" y="1338"/>
                </a:lnTo>
                <a:lnTo>
                  <a:pt x="27" y="1312"/>
                </a:lnTo>
                <a:lnTo>
                  <a:pt x="22" y="1286"/>
                </a:lnTo>
                <a:lnTo>
                  <a:pt x="17" y="1261"/>
                </a:lnTo>
                <a:lnTo>
                  <a:pt x="13" y="1234"/>
                </a:lnTo>
                <a:lnTo>
                  <a:pt x="9" y="1208"/>
                </a:lnTo>
                <a:lnTo>
                  <a:pt x="6" y="1181"/>
                </a:lnTo>
                <a:lnTo>
                  <a:pt x="4" y="1154"/>
                </a:lnTo>
                <a:lnTo>
                  <a:pt x="2" y="1125"/>
                </a:lnTo>
                <a:lnTo>
                  <a:pt x="0" y="1098"/>
                </a:lnTo>
                <a:lnTo>
                  <a:pt x="0" y="1070"/>
                </a:lnTo>
                <a:lnTo>
                  <a:pt x="0" y="1043"/>
                </a:lnTo>
                <a:lnTo>
                  <a:pt x="2" y="1016"/>
                </a:lnTo>
                <a:lnTo>
                  <a:pt x="4" y="988"/>
                </a:lnTo>
                <a:lnTo>
                  <a:pt x="6" y="961"/>
                </a:lnTo>
                <a:lnTo>
                  <a:pt x="9" y="934"/>
                </a:lnTo>
                <a:lnTo>
                  <a:pt x="13" y="908"/>
                </a:lnTo>
                <a:lnTo>
                  <a:pt x="17" y="881"/>
                </a:lnTo>
                <a:lnTo>
                  <a:pt x="22" y="855"/>
                </a:lnTo>
                <a:lnTo>
                  <a:pt x="27" y="829"/>
                </a:lnTo>
                <a:lnTo>
                  <a:pt x="34" y="803"/>
                </a:lnTo>
                <a:lnTo>
                  <a:pt x="41" y="778"/>
                </a:lnTo>
                <a:lnTo>
                  <a:pt x="49" y="753"/>
                </a:lnTo>
                <a:lnTo>
                  <a:pt x="57" y="728"/>
                </a:lnTo>
                <a:lnTo>
                  <a:pt x="66" y="703"/>
                </a:lnTo>
                <a:lnTo>
                  <a:pt x="75" y="679"/>
                </a:lnTo>
                <a:lnTo>
                  <a:pt x="85" y="654"/>
                </a:lnTo>
                <a:lnTo>
                  <a:pt x="95" y="630"/>
                </a:lnTo>
                <a:lnTo>
                  <a:pt x="106" y="606"/>
                </a:lnTo>
                <a:lnTo>
                  <a:pt x="117" y="584"/>
                </a:lnTo>
                <a:lnTo>
                  <a:pt x="130" y="560"/>
                </a:lnTo>
                <a:lnTo>
                  <a:pt x="142" y="538"/>
                </a:lnTo>
                <a:lnTo>
                  <a:pt x="156" y="515"/>
                </a:lnTo>
                <a:lnTo>
                  <a:pt x="169" y="494"/>
                </a:lnTo>
                <a:lnTo>
                  <a:pt x="184" y="473"/>
                </a:lnTo>
                <a:lnTo>
                  <a:pt x="198" y="451"/>
                </a:lnTo>
                <a:lnTo>
                  <a:pt x="213" y="430"/>
                </a:lnTo>
                <a:lnTo>
                  <a:pt x="229" y="409"/>
                </a:lnTo>
                <a:lnTo>
                  <a:pt x="245" y="389"/>
                </a:lnTo>
                <a:lnTo>
                  <a:pt x="261" y="370"/>
                </a:lnTo>
                <a:lnTo>
                  <a:pt x="278" y="351"/>
                </a:lnTo>
                <a:lnTo>
                  <a:pt x="296" y="332"/>
                </a:lnTo>
                <a:lnTo>
                  <a:pt x="314" y="314"/>
                </a:lnTo>
                <a:lnTo>
                  <a:pt x="332" y="296"/>
                </a:lnTo>
                <a:lnTo>
                  <a:pt x="351" y="278"/>
                </a:lnTo>
                <a:lnTo>
                  <a:pt x="371" y="261"/>
                </a:lnTo>
                <a:lnTo>
                  <a:pt x="391" y="244"/>
                </a:lnTo>
                <a:lnTo>
                  <a:pt x="410" y="228"/>
                </a:lnTo>
                <a:lnTo>
                  <a:pt x="431" y="212"/>
                </a:lnTo>
                <a:lnTo>
                  <a:pt x="452" y="198"/>
                </a:lnTo>
                <a:lnTo>
                  <a:pt x="473" y="183"/>
                </a:lnTo>
                <a:lnTo>
                  <a:pt x="494" y="169"/>
                </a:lnTo>
                <a:lnTo>
                  <a:pt x="516" y="155"/>
                </a:lnTo>
                <a:lnTo>
                  <a:pt x="538" y="142"/>
                </a:lnTo>
                <a:lnTo>
                  <a:pt x="561" y="129"/>
                </a:lnTo>
                <a:lnTo>
                  <a:pt x="584" y="117"/>
                </a:lnTo>
                <a:lnTo>
                  <a:pt x="607" y="106"/>
                </a:lnTo>
                <a:lnTo>
                  <a:pt x="631" y="94"/>
                </a:lnTo>
                <a:lnTo>
                  <a:pt x="654" y="84"/>
                </a:lnTo>
                <a:lnTo>
                  <a:pt x="679" y="74"/>
                </a:lnTo>
                <a:lnTo>
                  <a:pt x="704" y="65"/>
                </a:lnTo>
                <a:lnTo>
                  <a:pt x="728" y="56"/>
                </a:lnTo>
                <a:lnTo>
                  <a:pt x="753" y="48"/>
                </a:lnTo>
                <a:lnTo>
                  <a:pt x="778" y="40"/>
                </a:lnTo>
                <a:lnTo>
                  <a:pt x="804" y="33"/>
                </a:lnTo>
                <a:lnTo>
                  <a:pt x="830" y="27"/>
                </a:lnTo>
                <a:lnTo>
                  <a:pt x="856" y="21"/>
                </a:lnTo>
                <a:lnTo>
                  <a:pt x="882" y="17"/>
                </a:lnTo>
                <a:lnTo>
                  <a:pt x="909" y="12"/>
                </a:lnTo>
                <a:lnTo>
                  <a:pt x="936" y="8"/>
                </a:lnTo>
                <a:lnTo>
                  <a:pt x="961" y="5"/>
                </a:lnTo>
                <a:lnTo>
                  <a:pt x="988" y="3"/>
                </a:lnTo>
                <a:lnTo>
                  <a:pt x="1017" y="1"/>
                </a:lnTo>
                <a:lnTo>
                  <a:pt x="1044" y="0"/>
                </a:lnTo>
                <a:lnTo>
                  <a:pt x="1072" y="0"/>
                </a:lnTo>
                <a:lnTo>
                  <a:pt x="1099" y="0"/>
                </a:lnTo>
                <a:lnTo>
                  <a:pt x="1126" y="1"/>
                </a:lnTo>
                <a:lnTo>
                  <a:pt x="1154" y="3"/>
                </a:lnTo>
                <a:lnTo>
                  <a:pt x="1181" y="5"/>
                </a:lnTo>
                <a:lnTo>
                  <a:pt x="1208" y="8"/>
                </a:lnTo>
                <a:lnTo>
                  <a:pt x="1234" y="12"/>
                </a:lnTo>
                <a:lnTo>
                  <a:pt x="1261" y="17"/>
                </a:lnTo>
                <a:lnTo>
                  <a:pt x="1287" y="21"/>
                </a:lnTo>
                <a:lnTo>
                  <a:pt x="1313" y="27"/>
                </a:lnTo>
                <a:lnTo>
                  <a:pt x="1338" y="33"/>
                </a:lnTo>
                <a:lnTo>
                  <a:pt x="1364" y="40"/>
                </a:lnTo>
                <a:lnTo>
                  <a:pt x="1389" y="48"/>
                </a:lnTo>
                <a:lnTo>
                  <a:pt x="1414" y="56"/>
                </a:lnTo>
                <a:lnTo>
                  <a:pt x="1439" y="65"/>
                </a:lnTo>
                <a:lnTo>
                  <a:pt x="1463" y="74"/>
                </a:lnTo>
                <a:lnTo>
                  <a:pt x="1488" y="84"/>
                </a:lnTo>
                <a:lnTo>
                  <a:pt x="1512" y="94"/>
                </a:lnTo>
                <a:lnTo>
                  <a:pt x="1535" y="106"/>
                </a:lnTo>
                <a:lnTo>
                  <a:pt x="1558" y="117"/>
                </a:lnTo>
                <a:lnTo>
                  <a:pt x="1581" y="129"/>
                </a:lnTo>
                <a:lnTo>
                  <a:pt x="1604" y="142"/>
                </a:lnTo>
                <a:lnTo>
                  <a:pt x="1626" y="155"/>
                </a:lnTo>
                <a:lnTo>
                  <a:pt x="1648" y="169"/>
                </a:lnTo>
                <a:lnTo>
                  <a:pt x="1669" y="183"/>
                </a:lnTo>
                <a:lnTo>
                  <a:pt x="1691" y="198"/>
                </a:lnTo>
                <a:lnTo>
                  <a:pt x="1712" y="212"/>
                </a:lnTo>
                <a:lnTo>
                  <a:pt x="1732" y="228"/>
                </a:lnTo>
                <a:lnTo>
                  <a:pt x="1753" y="244"/>
                </a:lnTo>
                <a:lnTo>
                  <a:pt x="1772" y="261"/>
                </a:lnTo>
                <a:lnTo>
                  <a:pt x="1791" y="278"/>
                </a:lnTo>
                <a:lnTo>
                  <a:pt x="1810" y="296"/>
                </a:lnTo>
                <a:lnTo>
                  <a:pt x="1828" y="314"/>
                </a:lnTo>
                <a:lnTo>
                  <a:pt x="1846" y="332"/>
                </a:lnTo>
                <a:lnTo>
                  <a:pt x="1864" y="351"/>
                </a:lnTo>
                <a:lnTo>
                  <a:pt x="1881" y="370"/>
                </a:lnTo>
                <a:lnTo>
                  <a:pt x="1898" y="389"/>
                </a:lnTo>
                <a:lnTo>
                  <a:pt x="1913" y="409"/>
                </a:lnTo>
                <a:lnTo>
                  <a:pt x="1929" y="430"/>
                </a:lnTo>
                <a:lnTo>
                  <a:pt x="1944" y="451"/>
                </a:lnTo>
                <a:lnTo>
                  <a:pt x="1958" y="473"/>
                </a:lnTo>
                <a:lnTo>
                  <a:pt x="1973" y="494"/>
                </a:lnTo>
                <a:lnTo>
                  <a:pt x="1987" y="515"/>
                </a:lnTo>
                <a:lnTo>
                  <a:pt x="2000" y="538"/>
                </a:lnTo>
                <a:lnTo>
                  <a:pt x="2012" y="560"/>
                </a:lnTo>
                <a:lnTo>
                  <a:pt x="2025" y="584"/>
                </a:lnTo>
                <a:lnTo>
                  <a:pt x="2036" y="606"/>
                </a:lnTo>
                <a:lnTo>
                  <a:pt x="2047" y="630"/>
                </a:lnTo>
                <a:lnTo>
                  <a:pt x="2057" y="654"/>
                </a:lnTo>
                <a:lnTo>
                  <a:pt x="2068" y="679"/>
                </a:lnTo>
                <a:lnTo>
                  <a:pt x="2077" y="703"/>
                </a:lnTo>
                <a:lnTo>
                  <a:pt x="2086" y="728"/>
                </a:lnTo>
                <a:lnTo>
                  <a:pt x="2093" y="753"/>
                </a:lnTo>
                <a:lnTo>
                  <a:pt x="2101" y="778"/>
                </a:lnTo>
                <a:lnTo>
                  <a:pt x="2108" y="803"/>
                </a:lnTo>
                <a:lnTo>
                  <a:pt x="2115" y="829"/>
                </a:lnTo>
                <a:lnTo>
                  <a:pt x="2121" y="855"/>
                </a:lnTo>
                <a:lnTo>
                  <a:pt x="2125" y="881"/>
                </a:lnTo>
                <a:lnTo>
                  <a:pt x="2130" y="908"/>
                </a:lnTo>
                <a:lnTo>
                  <a:pt x="2134" y="934"/>
                </a:lnTo>
                <a:lnTo>
                  <a:pt x="2136" y="961"/>
                </a:lnTo>
                <a:lnTo>
                  <a:pt x="2139" y="988"/>
                </a:lnTo>
                <a:lnTo>
                  <a:pt x="2141" y="1016"/>
                </a:lnTo>
                <a:lnTo>
                  <a:pt x="2142" y="1043"/>
                </a:lnTo>
                <a:lnTo>
                  <a:pt x="2142" y="1070"/>
                </a:lnTo>
                <a:lnTo>
                  <a:pt x="2142" y="1098"/>
                </a:lnTo>
                <a:lnTo>
                  <a:pt x="2141" y="1125"/>
                </a:lnTo>
                <a:lnTo>
                  <a:pt x="2139" y="1154"/>
                </a:lnTo>
                <a:lnTo>
                  <a:pt x="2136" y="1181"/>
                </a:lnTo>
                <a:lnTo>
                  <a:pt x="2134" y="1208"/>
                </a:lnTo>
                <a:lnTo>
                  <a:pt x="2130" y="1234"/>
                </a:lnTo>
                <a:lnTo>
                  <a:pt x="2125" y="1261"/>
                </a:lnTo>
                <a:lnTo>
                  <a:pt x="2121" y="1286"/>
                </a:lnTo>
                <a:lnTo>
                  <a:pt x="2115" y="1312"/>
                </a:lnTo>
                <a:lnTo>
                  <a:pt x="2108" y="1338"/>
                </a:lnTo>
                <a:lnTo>
                  <a:pt x="2101" y="1364"/>
                </a:lnTo>
                <a:lnTo>
                  <a:pt x="2093" y="1389"/>
                </a:lnTo>
                <a:lnTo>
                  <a:pt x="2086" y="1414"/>
                </a:lnTo>
                <a:lnTo>
                  <a:pt x="2077" y="1438"/>
                </a:lnTo>
                <a:lnTo>
                  <a:pt x="2068" y="1463"/>
                </a:lnTo>
                <a:lnTo>
                  <a:pt x="2057" y="1488"/>
                </a:lnTo>
                <a:lnTo>
                  <a:pt x="2047" y="1512"/>
                </a:lnTo>
                <a:lnTo>
                  <a:pt x="2036" y="1535"/>
                </a:lnTo>
                <a:lnTo>
                  <a:pt x="2025" y="1558"/>
                </a:lnTo>
                <a:lnTo>
                  <a:pt x="2012" y="1581"/>
                </a:lnTo>
                <a:lnTo>
                  <a:pt x="2000" y="1604"/>
                </a:lnTo>
                <a:lnTo>
                  <a:pt x="1987" y="1626"/>
                </a:lnTo>
                <a:lnTo>
                  <a:pt x="1973" y="1648"/>
                </a:lnTo>
                <a:lnTo>
                  <a:pt x="1958" y="1669"/>
                </a:lnTo>
                <a:lnTo>
                  <a:pt x="1944" y="1691"/>
                </a:lnTo>
                <a:lnTo>
                  <a:pt x="1929" y="1712"/>
                </a:lnTo>
                <a:lnTo>
                  <a:pt x="1913" y="1732"/>
                </a:lnTo>
                <a:lnTo>
                  <a:pt x="1898" y="1751"/>
                </a:lnTo>
                <a:lnTo>
                  <a:pt x="1881" y="1772"/>
                </a:lnTo>
                <a:lnTo>
                  <a:pt x="1864" y="1791"/>
                </a:lnTo>
                <a:lnTo>
                  <a:pt x="1846" y="1810"/>
                </a:lnTo>
                <a:lnTo>
                  <a:pt x="1828" y="1828"/>
                </a:lnTo>
                <a:lnTo>
                  <a:pt x="1810" y="1846"/>
                </a:lnTo>
                <a:lnTo>
                  <a:pt x="1791" y="1864"/>
                </a:lnTo>
                <a:lnTo>
                  <a:pt x="1772" y="1881"/>
                </a:lnTo>
                <a:lnTo>
                  <a:pt x="1753" y="1898"/>
                </a:lnTo>
                <a:lnTo>
                  <a:pt x="1732" y="1913"/>
                </a:lnTo>
                <a:lnTo>
                  <a:pt x="1712" y="1929"/>
                </a:lnTo>
                <a:lnTo>
                  <a:pt x="1691" y="1944"/>
                </a:lnTo>
                <a:lnTo>
                  <a:pt x="1669" y="1959"/>
                </a:lnTo>
                <a:lnTo>
                  <a:pt x="1648" y="1973"/>
                </a:lnTo>
                <a:lnTo>
                  <a:pt x="1626" y="1987"/>
                </a:lnTo>
                <a:lnTo>
                  <a:pt x="1604" y="2000"/>
                </a:lnTo>
                <a:lnTo>
                  <a:pt x="1581" y="2013"/>
                </a:lnTo>
                <a:lnTo>
                  <a:pt x="1558" y="2025"/>
                </a:lnTo>
                <a:lnTo>
                  <a:pt x="1535" y="2036"/>
                </a:lnTo>
                <a:lnTo>
                  <a:pt x="1512" y="2047"/>
                </a:lnTo>
                <a:lnTo>
                  <a:pt x="1488" y="2058"/>
                </a:lnTo>
                <a:lnTo>
                  <a:pt x="1463" y="2068"/>
                </a:lnTo>
                <a:lnTo>
                  <a:pt x="1439" y="2077"/>
                </a:lnTo>
                <a:lnTo>
                  <a:pt x="1414" y="2086"/>
                </a:lnTo>
                <a:lnTo>
                  <a:pt x="1389" y="2094"/>
                </a:lnTo>
                <a:lnTo>
                  <a:pt x="1364" y="2101"/>
                </a:lnTo>
                <a:lnTo>
                  <a:pt x="1338" y="2108"/>
                </a:lnTo>
                <a:lnTo>
                  <a:pt x="1313" y="2115"/>
                </a:lnTo>
                <a:lnTo>
                  <a:pt x="1287" y="2121"/>
                </a:lnTo>
                <a:lnTo>
                  <a:pt x="1261" y="2125"/>
                </a:lnTo>
                <a:lnTo>
                  <a:pt x="1234" y="2130"/>
                </a:lnTo>
                <a:lnTo>
                  <a:pt x="1208" y="2133"/>
                </a:lnTo>
                <a:lnTo>
                  <a:pt x="1181" y="2136"/>
                </a:lnTo>
                <a:lnTo>
                  <a:pt x="1154" y="2139"/>
                </a:lnTo>
                <a:lnTo>
                  <a:pt x="1126" y="2141"/>
                </a:lnTo>
                <a:lnTo>
                  <a:pt x="1099" y="2142"/>
                </a:lnTo>
                <a:lnTo>
                  <a:pt x="1072" y="2142"/>
                </a:lnTo>
                <a:close/>
                <a:moveTo>
                  <a:pt x="1072" y="103"/>
                </a:moveTo>
                <a:lnTo>
                  <a:pt x="1046" y="103"/>
                </a:lnTo>
                <a:lnTo>
                  <a:pt x="1021" y="104"/>
                </a:lnTo>
                <a:lnTo>
                  <a:pt x="997" y="106"/>
                </a:lnTo>
                <a:lnTo>
                  <a:pt x="973" y="108"/>
                </a:lnTo>
                <a:lnTo>
                  <a:pt x="948" y="110"/>
                </a:lnTo>
                <a:lnTo>
                  <a:pt x="924" y="113"/>
                </a:lnTo>
                <a:lnTo>
                  <a:pt x="901" y="118"/>
                </a:lnTo>
                <a:lnTo>
                  <a:pt x="876" y="122"/>
                </a:lnTo>
                <a:lnTo>
                  <a:pt x="853" y="128"/>
                </a:lnTo>
                <a:lnTo>
                  <a:pt x="830" y="134"/>
                </a:lnTo>
                <a:lnTo>
                  <a:pt x="806" y="139"/>
                </a:lnTo>
                <a:lnTo>
                  <a:pt x="784" y="146"/>
                </a:lnTo>
                <a:lnTo>
                  <a:pt x="761" y="154"/>
                </a:lnTo>
                <a:lnTo>
                  <a:pt x="739" y="162"/>
                </a:lnTo>
                <a:lnTo>
                  <a:pt x="717" y="170"/>
                </a:lnTo>
                <a:lnTo>
                  <a:pt x="695" y="179"/>
                </a:lnTo>
                <a:lnTo>
                  <a:pt x="673" y="189"/>
                </a:lnTo>
                <a:lnTo>
                  <a:pt x="652" y="198"/>
                </a:lnTo>
                <a:lnTo>
                  <a:pt x="631" y="209"/>
                </a:lnTo>
                <a:lnTo>
                  <a:pt x="610" y="219"/>
                </a:lnTo>
                <a:lnTo>
                  <a:pt x="590" y="232"/>
                </a:lnTo>
                <a:lnTo>
                  <a:pt x="570" y="243"/>
                </a:lnTo>
                <a:lnTo>
                  <a:pt x="550" y="255"/>
                </a:lnTo>
                <a:lnTo>
                  <a:pt x="530" y="269"/>
                </a:lnTo>
                <a:lnTo>
                  <a:pt x="511" y="281"/>
                </a:lnTo>
                <a:lnTo>
                  <a:pt x="492" y="296"/>
                </a:lnTo>
                <a:lnTo>
                  <a:pt x="474" y="309"/>
                </a:lnTo>
                <a:lnTo>
                  <a:pt x="456" y="324"/>
                </a:lnTo>
                <a:lnTo>
                  <a:pt x="438" y="340"/>
                </a:lnTo>
                <a:lnTo>
                  <a:pt x="421" y="354"/>
                </a:lnTo>
                <a:lnTo>
                  <a:pt x="404" y="370"/>
                </a:lnTo>
                <a:lnTo>
                  <a:pt x="388" y="387"/>
                </a:lnTo>
                <a:lnTo>
                  <a:pt x="371" y="403"/>
                </a:lnTo>
                <a:lnTo>
                  <a:pt x="355" y="421"/>
                </a:lnTo>
                <a:lnTo>
                  <a:pt x="340" y="438"/>
                </a:lnTo>
                <a:lnTo>
                  <a:pt x="324" y="456"/>
                </a:lnTo>
                <a:lnTo>
                  <a:pt x="310" y="474"/>
                </a:lnTo>
                <a:lnTo>
                  <a:pt x="296" y="492"/>
                </a:lnTo>
                <a:lnTo>
                  <a:pt x="283" y="511"/>
                </a:lnTo>
                <a:lnTo>
                  <a:pt x="269" y="530"/>
                </a:lnTo>
                <a:lnTo>
                  <a:pt x="256" y="549"/>
                </a:lnTo>
                <a:lnTo>
                  <a:pt x="243" y="569"/>
                </a:lnTo>
                <a:lnTo>
                  <a:pt x="232" y="590"/>
                </a:lnTo>
                <a:lnTo>
                  <a:pt x="221" y="610"/>
                </a:lnTo>
                <a:lnTo>
                  <a:pt x="210" y="630"/>
                </a:lnTo>
                <a:lnTo>
                  <a:pt x="200" y="652"/>
                </a:lnTo>
                <a:lnTo>
                  <a:pt x="189" y="673"/>
                </a:lnTo>
                <a:lnTo>
                  <a:pt x="179" y="694"/>
                </a:lnTo>
                <a:lnTo>
                  <a:pt x="170" y="716"/>
                </a:lnTo>
                <a:lnTo>
                  <a:pt x="162" y="738"/>
                </a:lnTo>
                <a:lnTo>
                  <a:pt x="155" y="761"/>
                </a:lnTo>
                <a:lnTo>
                  <a:pt x="147" y="783"/>
                </a:lnTo>
                <a:lnTo>
                  <a:pt x="140" y="806"/>
                </a:lnTo>
                <a:lnTo>
                  <a:pt x="134" y="829"/>
                </a:lnTo>
                <a:lnTo>
                  <a:pt x="129" y="853"/>
                </a:lnTo>
                <a:lnTo>
                  <a:pt x="123" y="876"/>
                </a:lnTo>
                <a:lnTo>
                  <a:pt x="119" y="899"/>
                </a:lnTo>
                <a:lnTo>
                  <a:pt x="115" y="924"/>
                </a:lnTo>
                <a:lnTo>
                  <a:pt x="112" y="948"/>
                </a:lnTo>
                <a:lnTo>
                  <a:pt x="108" y="972"/>
                </a:lnTo>
                <a:lnTo>
                  <a:pt x="106" y="996"/>
                </a:lnTo>
                <a:lnTo>
                  <a:pt x="105" y="1021"/>
                </a:lnTo>
                <a:lnTo>
                  <a:pt x="104" y="1046"/>
                </a:lnTo>
                <a:lnTo>
                  <a:pt x="104" y="1070"/>
                </a:lnTo>
                <a:lnTo>
                  <a:pt x="104" y="1096"/>
                </a:lnTo>
                <a:lnTo>
                  <a:pt x="105" y="1121"/>
                </a:lnTo>
                <a:lnTo>
                  <a:pt x="106" y="1146"/>
                </a:lnTo>
                <a:lnTo>
                  <a:pt x="108" y="1169"/>
                </a:lnTo>
                <a:lnTo>
                  <a:pt x="112" y="1194"/>
                </a:lnTo>
                <a:lnTo>
                  <a:pt x="115" y="1218"/>
                </a:lnTo>
                <a:lnTo>
                  <a:pt x="119" y="1241"/>
                </a:lnTo>
                <a:lnTo>
                  <a:pt x="123" y="1266"/>
                </a:lnTo>
                <a:lnTo>
                  <a:pt x="129" y="1289"/>
                </a:lnTo>
                <a:lnTo>
                  <a:pt x="134" y="1312"/>
                </a:lnTo>
                <a:lnTo>
                  <a:pt x="140" y="1336"/>
                </a:lnTo>
                <a:lnTo>
                  <a:pt x="147" y="1358"/>
                </a:lnTo>
                <a:lnTo>
                  <a:pt x="155" y="1381"/>
                </a:lnTo>
                <a:lnTo>
                  <a:pt x="162" y="1404"/>
                </a:lnTo>
                <a:lnTo>
                  <a:pt x="170" y="1425"/>
                </a:lnTo>
                <a:lnTo>
                  <a:pt x="179" y="1447"/>
                </a:lnTo>
                <a:lnTo>
                  <a:pt x="189" y="1469"/>
                </a:lnTo>
                <a:lnTo>
                  <a:pt x="200" y="1490"/>
                </a:lnTo>
                <a:lnTo>
                  <a:pt x="210" y="1512"/>
                </a:lnTo>
                <a:lnTo>
                  <a:pt x="221" y="1532"/>
                </a:lnTo>
                <a:lnTo>
                  <a:pt x="232" y="1552"/>
                </a:lnTo>
                <a:lnTo>
                  <a:pt x="243" y="1572"/>
                </a:lnTo>
                <a:lnTo>
                  <a:pt x="256" y="1593"/>
                </a:lnTo>
                <a:lnTo>
                  <a:pt x="269" y="1612"/>
                </a:lnTo>
                <a:lnTo>
                  <a:pt x="283" y="1631"/>
                </a:lnTo>
                <a:lnTo>
                  <a:pt x="296" y="1650"/>
                </a:lnTo>
                <a:lnTo>
                  <a:pt x="310" y="1668"/>
                </a:lnTo>
                <a:lnTo>
                  <a:pt x="324" y="1686"/>
                </a:lnTo>
                <a:lnTo>
                  <a:pt x="340" y="1704"/>
                </a:lnTo>
                <a:lnTo>
                  <a:pt x="355" y="1721"/>
                </a:lnTo>
                <a:lnTo>
                  <a:pt x="371" y="1738"/>
                </a:lnTo>
                <a:lnTo>
                  <a:pt x="388" y="1755"/>
                </a:lnTo>
                <a:lnTo>
                  <a:pt x="404" y="1772"/>
                </a:lnTo>
                <a:lnTo>
                  <a:pt x="421" y="1787"/>
                </a:lnTo>
                <a:lnTo>
                  <a:pt x="438" y="1802"/>
                </a:lnTo>
                <a:lnTo>
                  <a:pt x="456" y="1818"/>
                </a:lnTo>
                <a:lnTo>
                  <a:pt x="474" y="1832"/>
                </a:lnTo>
                <a:lnTo>
                  <a:pt x="492" y="1846"/>
                </a:lnTo>
                <a:lnTo>
                  <a:pt x="511" y="1859"/>
                </a:lnTo>
                <a:lnTo>
                  <a:pt x="530" y="1873"/>
                </a:lnTo>
                <a:lnTo>
                  <a:pt x="550" y="1886"/>
                </a:lnTo>
                <a:lnTo>
                  <a:pt x="570" y="1899"/>
                </a:lnTo>
                <a:lnTo>
                  <a:pt x="590" y="1910"/>
                </a:lnTo>
                <a:lnTo>
                  <a:pt x="610" y="1921"/>
                </a:lnTo>
                <a:lnTo>
                  <a:pt x="631" y="1933"/>
                </a:lnTo>
                <a:lnTo>
                  <a:pt x="652" y="1943"/>
                </a:lnTo>
                <a:lnTo>
                  <a:pt x="673" y="1953"/>
                </a:lnTo>
                <a:lnTo>
                  <a:pt x="695" y="1963"/>
                </a:lnTo>
                <a:lnTo>
                  <a:pt x="717" y="1972"/>
                </a:lnTo>
                <a:lnTo>
                  <a:pt x="739" y="1980"/>
                </a:lnTo>
                <a:lnTo>
                  <a:pt x="761" y="1988"/>
                </a:lnTo>
                <a:lnTo>
                  <a:pt x="784" y="1996"/>
                </a:lnTo>
                <a:lnTo>
                  <a:pt x="806" y="2002"/>
                </a:lnTo>
                <a:lnTo>
                  <a:pt x="830" y="2008"/>
                </a:lnTo>
                <a:lnTo>
                  <a:pt x="853" y="2014"/>
                </a:lnTo>
                <a:lnTo>
                  <a:pt x="876" y="2019"/>
                </a:lnTo>
                <a:lnTo>
                  <a:pt x="901" y="2024"/>
                </a:lnTo>
                <a:lnTo>
                  <a:pt x="924" y="2027"/>
                </a:lnTo>
                <a:lnTo>
                  <a:pt x="948" y="2031"/>
                </a:lnTo>
                <a:lnTo>
                  <a:pt x="973" y="2034"/>
                </a:lnTo>
                <a:lnTo>
                  <a:pt x="997" y="2036"/>
                </a:lnTo>
                <a:lnTo>
                  <a:pt x="1021" y="2037"/>
                </a:lnTo>
                <a:lnTo>
                  <a:pt x="1046" y="2038"/>
                </a:lnTo>
                <a:lnTo>
                  <a:pt x="1072" y="2038"/>
                </a:lnTo>
                <a:lnTo>
                  <a:pt x="1096" y="2038"/>
                </a:lnTo>
                <a:lnTo>
                  <a:pt x="1121" y="2037"/>
                </a:lnTo>
                <a:lnTo>
                  <a:pt x="1146" y="2036"/>
                </a:lnTo>
                <a:lnTo>
                  <a:pt x="1170" y="2034"/>
                </a:lnTo>
                <a:lnTo>
                  <a:pt x="1194" y="2031"/>
                </a:lnTo>
                <a:lnTo>
                  <a:pt x="1218" y="2027"/>
                </a:lnTo>
                <a:lnTo>
                  <a:pt x="1243" y="2024"/>
                </a:lnTo>
                <a:lnTo>
                  <a:pt x="1266" y="2019"/>
                </a:lnTo>
                <a:lnTo>
                  <a:pt x="1290" y="2014"/>
                </a:lnTo>
                <a:lnTo>
                  <a:pt x="1313" y="2008"/>
                </a:lnTo>
                <a:lnTo>
                  <a:pt x="1336" y="2002"/>
                </a:lnTo>
                <a:lnTo>
                  <a:pt x="1359" y="1996"/>
                </a:lnTo>
                <a:lnTo>
                  <a:pt x="1381" y="1988"/>
                </a:lnTo>
                <a:lnTo>
                  <a:pt x="1404" y="1980"/>
                </a:lnTo>
                <a:lnTo>
                  <a:pt x="1426" y="1972"/>
                </a:lnTo>
                <a:lnTo>
                  <a:pt x="1448" y="1963"/>
                </a:lnTo>
                <a:lnTo>
                  <a:pt x="1469" y="1953"/>
                </a:lnTo>
                <a:lnTo>
                  <a:pt x="1490" y="1943"/>
                </a:lnTo>
                <a:lnTo>
                  <a:pt x="1512" y="1933"/>
                </a:lnTo>
                <a:lnTo>
                  <a:pt x="1532" y="1921"/>
                </a:lnTo>
                <a:lnTo>
                  <a:pt x="1552" y="1910"/>
                </a:lnTo>
                <a:lnTo>
                  <a:pt x="1572" y="1899"/>
                </a:lnTo>
                <a:lnTo>
                  <a:pt x="1593" y="1886"/>
                </a:lnTo>
                <a:lnTo>
                  <a:pt x="1612" y="1873"/>
                </a:lnTo>
                <a:lnTo>
                  <a:pt x="1631" y="1859"/>
                </a:lnTo>
                <a:lnTo>
                  <a:pt x="1650" y="1846"/>
                </a:lnTo>
                <a:lnTo>
                  <a:pt x="1668" y="1832"/>
                </a:lnTo>
                <a:lnTo>
                  <a:pt x="1686" y="1818"/>
                </a:lnTo>
                <a:lnTo>
                  <a:pt x="1704" y="1802"/>
                </a:lnTo>
                <a:lnTo>
                  <a:pt x="1721" y="1787"/>
                </a:lnTo>
                <a:lnTo>
                  <a:pt x="1739" y="1772"/>
                </a:lnTo>
                <a:lnTo>
                  <a:pt x="1755" y="1755"/>
                </a:lnTo>
                <a:lnTo>
                  <a:pt x="1772" y="1738"/>
                </a:lnTo>
                <a:lnTo>
                  <a:pt x="1787" y="1721"/>
                </a:lnTo>
                <a:lnTo>
                  <a:pt x="1803" y="1704"/>
                </a:lnTo>
                <a:lnTo>
                  <a:pt x="1818" y="1686"/>
                </a:lnTo>
                <a:lnTo>
                  <a:pt x="1832" y="1668"/>
                </a:lnTo>
                <a:lnTo>
                  <a:pt x="1846" y="1650"/>
                </a:lnTo>
                <a:lnTo>
                  <a:pt x="1861" y="1631"/>
                </a:lnTo>
                <a:lnTo>
                  <a:pt x="1873" y="1612"/>
                </a:lnTo>
                <a:lnTo>
                  <a:pt x="1886" y="1593"/>
                </a:lnTo>
                <a:lnTo>
                  <a:pt x="1899" y="1572"/>
                </a:lnTo>
                <a:lnTo>
                  <a:pt x="1910" y="1552"/>
                </a:lnTo>
                <a:lnTo>
                  <a:pt x="1922" y="1532"/>
                </a:lnTo>
                <a:lnTo>
                  <a:pt x="1933" y="1512"/>
                </a:lnTo>
                <a:lnTo>
                  <a:pt x="1944" y="1490"/>
                </a:lnTo>
                <a:lnTo>
                  <a:pt x="1953" y="1469"/>
                </a:lnTo>
                <a:lnTo>
                  <a:pt x="1963" y="1447"/>
                </a:lnTo>
                <a:lnTo>
                  <a:pt x="1972" y="1425"/>
                </a:lnTo>
                <a:lnTo>
                  <a:pt x="1980" y="1404"/>
                </a:lnTo>
                <a:lnTo>
                  <a:pt x="1988" y="1381"/>
                </a:lnTo>
                <a:lnTo>
                  <a:pt x="1996" y="1358"/>
                </a:lnTo>
                <a:lnTo>
                  <a:pt x="2002" y="1336"/>
                </a:lnTo>
                <a:lnTo>
                  <a:pt x="2008" y="1312"/>
                </a:lnTo>
                <a:lnTo>
                  <a:pt x="2014" y="1289"/>
                </a:lnTo>
                <a:lnTo>
                  <a:pt x="2019" y="1266"/>
                </a:lnTo>
                <a:lnTo>
                  <a:pt x="2024" y="1241"/>
                </a:lnTo>
                <a:lnTo>
                  <a:pt x="2028" y="1218"/>
                </a:lnTo>
                <a:lnTo>
                  <a:pt x="2032" y="1194"/>
                </a:lnTo>
                <a:lnTo>
                  <a:pt x="2034" y="1169"/>
                </a:lnTo>
                <a:lnTo>
                  <a:pt x="2036" y="1146"/>
                </a:lnTo>
                <a:lnTo>
                  <a:pt x="2037" y="1121"/>
                </a:lnTo>
                <a:lnTo>
                  <a:pt x="2038" y="1096"/>
                </a:lnTo>
                <a:lnTo>
                  <a:pt x="2038" y="1070"/>
                </a:lnTo>
                <a:lnTo>
                  <a:pt x="2038" y="1046"/>
                </a:lnTo>
                <a:lnTo>
                  <a:pt x="2037" y="1021"/>
                </a:lnTo>
                <a:lnTo>
                  <a:pt x="2036" y="996"/>
                </a:lnTo>
                <a:lnTo>
                  <a:pt x="2034" y="972"/>
                </a:lnTo>
                <a:lnTo>
                  <a:pt x="2032" y="948"/>
                </a:lnTo>
                <a:lnTo>
                  <a:pt x="2028" y="924"/>
                </a:lnTo>
                <a:lnTo>
                  <a:pt x="2024" y="899"/>
                </a:lnTo>
                <a:lnTo>
                  <a:pt x="2019" y="876"/>
                </a:lnTo>
                <a:lnTo>
                  <a:pt x="2014" y="853"/>
                </a:lnTo>
                <a:lnTo>
                  <a:pt x="2008" y="829"/>
                </a:lnTo>
                <a:lnTo>
                  <a:pt x="2002" y="806"/>
                </a:lnTo>
                <a:lnTo>
                  <a:pt x="1996" y="783"/>
                </a:lnTo>
                <a:lnTo>
                  <a:pt x="1988" y="761"/>
                </a:lnTo>
                <a:lnTo>
                  <a:pt x="1980" y="738"/>
                </a:lnTo>
                <a:lnTo>
                  <a:pt x="1972" y="716"/>
                </a:lnTo>
                <a:lnTo>
                  <a:pt x="1963" y="694"/>
                </a:lnTo>
                <a:lnTo>
                  <a:pt x="1953" y="673"/>
                </a:lnTo>
                <a:lnTo>
                  <a:pt x="1944" y="652"/>
                </a:lnTo>
                <a:lnTo>
                  <a:pt x="1933" y="630"/>
                </a:lnTo>
                <a:lnTo>
                  <a:pt x="1922" y="610"/>
                </a:lnTo>
                <a:lnTo>
                  <a:pt x="1910" y="590"/>
                </a:lnTo>
                <a:lnTo>
                  <a:pt x="1899" y="569"/>
                </a:lnTo>
                <a:lnTo>
                  <a:pt x="1886" y="549"/>
                </a:lnTo>
                <a:lnTo>
                  <a:pt x="1873" y="530"/>
                </a:lnTo>
                <a:lnTo>
                  <a:pt x="1861" y="511"/>
                </a:lnTo>
                <a:lnTo>
                  <a:pt x="1846" y="492"/>
                </a:lnTo>
                <a:lnTo>
                  <a:pt x="1832" y="474"/>
                </a:lnTo>
                <a:lnTo>
                  <a:pt x="1818" y="456"/>
                </a:lnTo>
                <a:lnTo>
                  <a:pt x="1803" y="438"/>
                </a:lnTo>
                <a:lnTo>
                  <a:pt x="1787" y="421"/>
                </a:lnTo>
                <a:lnTo>
                  <a:pt x="1772" y="403"/>
                </a:lnTo>
                <a:lnTo>
                  <a:pt x="1755" y="387"/>
                </a:lnTo>
                <a:lnTo>
                  <a:pt x="1739" y="370"/>
                </a:lnTo>
                <a:lnTo>
                  <a:pt x="1721" y="354"/>
                </a:lnTo>
                <a:lnTo>
                  <a:pt x="1704" y="340"/>
                </a:lnTo>
                <a:lnTo>
                  <a:pt x="1686" y="324"/>
                </a:lnTo>
                <a:lnTo>
                  <a:pt x="1668" y="309"/>
                </a:lnTo>
                <a:lnTo>
                  <a:pt x="1650" y="296"/>
                </a:lnTo>
                <a:lnTo>
                  <a:pt x="1631" y="281"/>
                </a:lnTo>
                <a:lnTo>
                  <a:pt x="1612" y="269"/>
                </a:lnTo>
                <a:lnTo>
                  <a:pt x="1593" y="255"/>
                </a:lnTo>
                <a:lnTo>
                  <a:pt x="1572" y="243"/>
                </a:lnTo>
                <a:lnTo>
                  <a:pt x="1552" y="232"/>
                </a:lnTo>
                <a:lnTo>
                  <a:pt x="1532" y="219"/>
                </a:lnTo>
                <a:lnTo>
                  <a:pt x="1512" y="209"/>
                </a:lnTo>
                <a:lnTo>
                  <a:pt x="1490" y="198"/>
                </a:lnTo>
                <a:lnTo>
                  <a:pt x="1469" y="189"/>
                </a:lnTo>
                <a:lnTo>
                  <a:pt x="1448" y="179"/>
                </a:lnTo>
                <a:lnTo>
                  <a:pt x="1426" y="170"/>
                </a:lnTo>
                <a:lnTo>
                  <a:pt x="1404" y="162"/>
                </a:lnTo>
                <a:lnTo>
                  <a:pt x="1381" y="154"/>
                </a:lnTo>
                <a:lnTo>
                  <a:pt x="1359" y="146"/>
                </a:lnTo>
                <a:lnTo>
                  <a:pt x="1336" y="139"/>
                </a:lnTo>
                <a:lnTo>
                  <a:pt x="1313" y="134"/>
                </a:lnTo>
                <a:lnTo>
                  <a:pt x="1290" y="128"/>
                </a:lnTo>
                <a:lnTo>
                  <a:pt x="1266" y="122"/>
                </a:lnTo>
                <a:lnTo>
                  <a:pt x="1243" y="118"/>
                </a:lnTo>
                <a:lnTo>
                  <a:pt x="1218" y="113"/>
                </a:lnTo>
                <a:lnTo>
                  <a:pt x="1194" y="110"/>
                </a:lnTo>
                <a:lnTo>
                  <a:pt x="1170" y="108"/>
                </a:lnTo>
                <a:lnTo>
                  <a:pt x="1146" y="106"/>
                </a:lnTo>
                <a:lnTo>
                  <a:pt x="1121" y="104"/>
                </a:lnTo>
                <a:lnTo>
                  <a:pt x="1096" y="103"/>
                </a:lnTo>
                <a:lnTo>
                  <a:pt x="1072" y="103"/>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19" name="Oval 18">
            <a:hlinkClick r:id="" action="ppaction://noaction"/>
            <a:extLst>
              <a:ext uri="{FF2B5EF4-FFF2-40B4-BE49-F238E27FC236}">
                <a16:creationId xmlns:a16="http://schemas.microsoft.com/office/drawing/2014/main" id="{EC265F4B-4CE3-463E-BDF3-364776291606}"/>
              </a:ext>
            </a:extLst>
          </p:cNvPr>
          <p:cNvSpPr>
            <a:spLocks noChangeAspect="1"/>
          </p:cNvSpPr>
          <p:nvPr/>
        </p:nvSpPr>
        <p:spPr>
          <a:xfrm>
            <a:off x="40721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Oval 19">
            <a:hlinkClick r:id="" action="ppaction://noaction"/>
            <a:extLst>
              <a:ext uri="{FF2B5EF4-FFF2-40B4-BE49-F238E27FC236}">
                <a16:creationId xmlns:a16="http://schemas.microsoft.com/office/drawing/2014/main" id="{6165A1BC-8DDB-46CC-9270-8232889AB6B4}"/>
              </a:ext>
            </a:extLst>
          </p:cNvPr>
          <p:cNvSpPr>
            <a:spLocks noChangeAspect="1"/>
          </p:cNvSpPr>
          <p:nvPr/>
        </p:nvSpPr>
        <p:spPr>
          <a:xfrm>
            <a:off x="55123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Oval 20">
            <a:hlinkClick r:id="" action="ppaction://noaction"/>
            <a:extLst>
              <a:ext uri="{FF2B5EF4-FFF2-40B4-BE49-F238E27FC236}">
                <a16:creationId xmlns:a16="http://schemas.microsoft.com/office/drawing/2014/main" id="{93143B35-5146-440B-BBB9-2ADBCDB87E40}"/>
              </a:ext>
            </a:extLst>
          </p:cNvPr>
          <p:cNvSpPr>
            <a:spLocks noChangeAspect="1"/>
          </p:cNvSpPr>
          <p:nvPr/>
        </p:nvSpPr>
        <p:spPr>
          <a:xfrm>
            <a:off x="69525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Oval 21">
            <a:hlinkClick r:id="" action="ppaction://noaction"/>
            <a:extLst>
              <a:ext uri="{FF2B5EF4-FFF2-40B4-BE49-F238E27FC236}">
                <a16:creationId xmlns:a16="http://schemas.microsoft.com/office/drawing/2014/main" id="{AF57327C-17B4-456F-B914-B5F5EC1CF50A}"/>
              </a:ext>
            </a:extLst>
          </p:cNvPr>
          <p:cNvSpPr>
            <a:spLocks noChangeAspect="1"/>
          </p:cNvSpPr>
          <p:nvPr/>
        </p:nvSpPr>
        <p:spPr>
          <a:xfrm>
            <a:off x="83927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Oval 22">
            <a:hlinkClick r:id="" action="ppaction://noaction"/>
            <a:extLst>
              <a:ext uri="{FF2B5EF4-FFF2-40B4-BE49-F238E27FC236}">
                <a16:creationId xmlns:a16="http://schemas.microsoft.com/office/drawing/2014/main" id="{70633E7B-835E-4AD5-8980-BA1EADD5DA13}"/>
              </a:ext>
            </a:extLst>
          </p:cNvPr>
          <p:cNvSpPr>
            <a:spLocks noChangeAspect="1"/>
          </p:cNvSpPr>
          <p:nvPr/>
        </p:nvSpPr>
        <p:spPr>
          <a:xfrm>
            <a:off x="983290" y="89377"/>
            <a:ext cx="108000" cy="108000"/>
          </a:xfrm>
          <a:prstGeom prst="ellipse">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41991927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E0EA915-A505-4C2A-B6F1-BC2990945D02}"/>
              </a:ext>
            </a:extLst>
          </p:cNvPr>
          <p:cNvSpPr>
            <a:spLocks noGrp="1"/>
          </p:cNvSpPr>
          <p:nvPr>
            <p:ph sz="quarter" idx="13"/>
          </p:nvPr>
        </p:nvSpPr>
        <p:spPr>
          <a:xfrm>
            <a:off x="407988" y="867990"/>
            <a:ext cx="10195701" cy="603842"/>
          </a:xfrm>
        </p:spPr>
        <p:txBody>
          <a:bodyPr vert="horz" lIns="0" tIns="0" rIns="0" bIns="0" rtlCol="0" anchor="t">
            <a:noAutofit/>
          </a:bodyPr>
          <a:lstStyle/>
          <a:p>
            <a:pPr marL="0" indent="0">
              <a:lnSpc>
                <a:spcPct val="100000"/>
              </a:lnSpc>
              <a:spcBef>
                <a:spcPts val="600"/>
              </a:spcBef>
              <a:buNone/>
            </a:pPr>
            <a:r>
              <a:rPr lang="en-US" sz="1600">
                <a:solidFill>
                  <a:schemeClr val="tx2"/>
                </a:solidFill>
                <a:cs typeface="Arial"/>
              </a:rPr>
              <a:t>Increase the value and attractiveness of your building by maximizing the potential of your elevators</a:t>
            </a:r>
          </a:p>
        </p:txBody>
      </p:sp>
      <p:sp>
        <p:nvSpPr>
          <p:cNvPr id="6" name="Title 5">
            <a:extLst>
              <a:ext uri="{FF2B5EF4-FFF2-40B4-BE49-F238E27FC236}">
                <a16:creationId xmlns:a16="http://schemas.microsoft.com/office/drawing/2014/main" id="{5B651ECF-CA61-43C9-B8A5-F5EC7D586EBE}"/>
              </a:ext>
            </a:extLst>
          </p:cNvPr>
          <p:cNvSpPr>
            <a:spLocks noGrp="1"/>
          </p:cNvSpPr>
          <p:nvPr>
            <p:ph type="title"/>
          </p:nvPr>
        </p:nvSpPr>
        <p:spPr>
          <a:xfrm>
            <a:off x="407988" y="404812"/>
            <a:ext cx="10367962" cy="429115"/>
          </a:xfrm>
        </p:spPr>
        <p:txBody>
          <a:bodyPr/>
          <a:lstStyle/>
          <a:p>
            <a:r>
              <a:rPr lang="en-US"/>
              <a:t>KONE Digital Services</a:t>
            </a:r>
          </a:p>
        </p:txBody>
      </p:sp>
      <p:pic>
        <p:nvPicPr>
          <p:cNvPr id="10" name="Picture Placeholder 10" descr="A picture containing person, indoor&#10;&#10;Description automatically generated">
            <a:extLst>
              <a:ext uri="{FF2B5EF4-FFF2-40B4-BE49-F238E27FC236}">
                <a16:creationId xmlns:a16="http://schemas.microsoft.com/office/drawing/2014/main" id="{11DA1207-5583-394B-A77B-EEE67571738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247"/>
          <a:stretch/>
        </p:blipFill>
        <p:spPr>
          <a:xfrm>
            <a:off x="4294144" y="1448902"/>
            <a:ext cx="3602885" cy="5000536"/>
          </a:xfrm>
          <a:prstGeom prst="rect">
            <a:avLst/>
          </a:prstGeom>
        </p:spPr>
      </p:pic>
      <p:pic>
        <p:nvPicPr>
          <p:cNvPr id="12" name="Picture Placeholder 10">
            <a:extLst>
              <a:ext uri="{FF2B5EF4-FFF2-40B4-BE49-F238E27FC236}">
                <a16:creationId xmlns:a16="http://schemas.microsoft.com/office/drawing/2014/main" id="{1BD4BD29-6337-C44B-993B-C63BF248020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10402" y="1448902"/>
            <a:ext cx="3598617" cy="5000531"/>
          </a:xfrm>
          <a:prstGeom prst="rect">
            <a:avLst/>
          </a:prstGeom>
        </p:spPr>
      </p:pic>
      <p:pic>
        <p:nvPicPr>
          <p:cNvPr id="13" name="Google Shape;563;p80">
            <a:extLst>
              <a:ext uri="{FF2B5EF4-FFF2-40B4-BE49-F238E27FC236}">
                <a16:creationId xmlns:a16="http://schemas.microsoft.com/office/drawing/2014/main" id="{77FAA57D-76AE-4C49-8FCB-C998B3D8C2EA}"/>
              </a:ext>
            </a:extLst>
          </p:cNvPr>
          <p:cNvPicPr preferRelativeResize="0">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187282" y="1448902"/>
            <a:ext cx="3605622" cy="4992116"/>
          </a:xfrm>
          <a:prstGeom prst="rect">
            <a:avLst/>
          </a:prstGeom>
          <a:noFill/>
          <a:ln>
            <a:noFill/>
          </a:ln>
        </p:spPr>
      </p:pic>
      <p:sp>
        <p:nvSpPr>
          <p:cNvPr id="14" name="Rectangle 13">
            <a:extLst>
              <a:ext uri="{FF2B5EF4-FFF2-40B4-BE49-F238E27FC236}">
                <a16:creationId xmlns:a16="http://schemas.microsoft.com/office/drawing/2014/main" id="{5DA10EA0-EFF1-304C-A2C4-1F6BDA166C99}"/>
              </a:ext>
            </a:extLst>
          </p:cNvPr>
          <p:cNvSpPr/>
          <p:nvPr/>
        </p:nvSpPr>
        <p:spPr>
          <a:xfrm>
            <a:off x="406952" y="5058073"/>
            <a:ext cx="3600000" cy="1395205"/>
          </a:xfrm>
          <a:prstGeom prst="rect">
            <a:avLst/>
          </a:prstGeom>
          <a:gradFill>
            <a:gsLst>
              <a:gs pos="0">
                <a:schemeClr val="tx1">
                  <a:lumMod val="50000"/>
                  <a:alpha val="0"/>
                </a:schemeClr>
              </a:gs>
              <a:gs pos="100000">
                <a:schemeClr val="tx1">
                  <a:lumMod val="50000"/>
                  <a:alpha val="75000"/>
                </a:schemeClr>
              </a:gs>
            </a:gsLst>
            <a:lin ang="5400000" scaled="0"/>
          </a:gradFill>
          <a:ln w="25400" cap="flat" cmpd="sng" algn="ctr">
            <a:noFill/>
            <a:prstDash val="solid"/>
          </a:ln>
          <a:effectLst/>
        </p:spPr>
        <p:txBody>
          <a:bodyPr lIns="108000" tIns="108000" rIns="108000" bIns="108000" rtlCol="0" anchor="b" anchorCtr="0"/>
          <a:lstStyle/>
          <a:p>
            <a:pPr marL="0" marR="0" lvl="0" indent="0" algn="ctr" defTabSz="948219" rtl="0" eaLnBrk="1" fontAlgn="auto" latinLnBrk="0" hangingPunct="1">
              <a:lnSpc>
                <a:spcPct val="90000"/>
              </a:lnSpc>
              <a:spcBef>
                <a:spcPct val="0"/>
              </a:spcBef>
              <a:spcAft>
                <a:spcPts val="533"/>
              </a:spcAft>
              <a:buClrTx/>
              <a:buSzTx/>
              <a:buFontTx/>
              <a:buNone/>
              <a:tabLst/>
              <a:defRPr/>
            </a:pPr>
            <a:endParaRPr kumimoji="0" lang="en-GB" sz="1100" b="1" i="0" u="none" strike="noStrike" kern="0" cap="none" spc="0" normalizeH="0" baseline="0" noProof="0">
              <a:ln>
                <a:noFill/>
              </a:ln>
              <a:solidFill>
                <a:srgbClr val="FFFFFF"/>
              </a:solidFill>
              <a:effectLst/>
              <a:uLnTx/>
              <a:uFillTx/>
              <a:latin typeface="Arial"/>
              <a:ea typeface="ＭＳ Ｐゴシック" pitchFamily="34" charset="-128"/>
              <a:cs typeface="+mn-cs"/>
            </a:endParaRPr>
          </a:p>
        </p:txBody>
      </p:sp>
      <p:sp>
        <p:nvSpPr>
          <p:cNvPr id="15" name="Rectangle 14">
            <a:extLst>
              <a:ext uri="{FF2B5EF4-FFF2-40B4-BE49-F238E27FC236}">
                <a16:creationId xmlns:a16="http://schemas.microsoft.com/office/drawing/2014/main" id="{FD10173A-C067-2046-8271-3315269A420A}"/>
              </a:ext>
            </a:extLst>
          </p:cNvPr>
          <p:cNvSpPr/>
          <p:nvPr/>
        </p:nvSpPr>
        <p:spPr>
          <a:xfrm>
            <a:off x="4296000" y="5070496"/>
            <a:ext cx="3600000" cy="1382782"/>
          </a:xfrm>
          <a:prstGeom prst="rect">
            <a:avLst/>
          </a:prstGeom>
          <a:gradFill>
            <a:gsLst>
              <a:gs pos="0">
                <a:schemeClr val="tx1">
                  <a:lumMod val="50000"/>
                  <a:alpha val="0"/>
                </a:schemeClr>
              </a:gs>
              <a:gs pos="100000">
                <a:schemeClr val="tx1">
                  <a:lumMod val="50000"/>
                  <a:alpha val="75000"/>
                </a:schemeClr>
              </a:gs>
            </a:gsLst>
            <a:lin ang="5400000" scaled="0"/>
          </a:gradFill>
          <a:ln w="25400" cap="flat" cmpd="sng" algn="ctr">
            <a:noFill/>
            <a:prstDash val="solid"/>
          </a:ln>
          <a:effectLst/>
        </p:spPr>
        <p:txBody>
          <a:bodyPr lIns="108000" tIns="108000" rIns="108000" bIns="108000" rtlCol="0" anchor="b" anchorCtr="0"/>
          <a:lstStyle/>
          <a:p>
            <a:pPr marL="0" marR="0" lvl="0" indent="0" algn="ctr" defTabSz="948219" rtl="0" eaLnBrk="1" fontAlgn="auto" latinLnBrk="0" hangingPunct="1">
              <a:lnSpc>
                <a:spcPct val="90000"/>
              </a:lnSpc>
              <a:spcBef>
                <a:spcPct val="0"/>
              </a:spcBef>
              <a:spcAft>
                <a:spcPts val="533"/>
              </a:spcAft>
              <a:buClrTx/>
              <a:buSzTx/>
              <a:buFontTx/>
              <a:buNone/>
              <a:tabLst/>
              <a:defRPr/>
            </a:pPr>
            <a:endParaRPr kumimoji="0" lang="en-GB" sz="1100" b="1" i="0" u="none" strike="noStrike" kern="0" cap="none" spc="0" normalizeH="0" baseline="0" noProof="0">
              <a:ln>
                <a:noFill/>
              </a:ln>
              <a:solidFill>
                <a:srgbClr val="FFFFFF"/>
              </a:solidFill>
              <a:effectLst/>
              <a:uLnTx/>
              <a:uFillTx/>
              <a:latin typeface="Arial"/>
              <a:ea typeface="ＭＳ Ｐゴシック" pitchFamily="34" charset="-128"/>
              <a:cs typeface="+mn-cs"/>
            </a:endParaRPr>
          </a:p>
        </p:txBody>
      </p:sp>
      <p:sp>
        <p:nvSpPr>
          <p:cNvPr id="29" name="Freeform 9">
            <a:hlinkClick r:id="rId5" action="ppaction://hlinksldjump"/>
            <a:extLst>
              <a:ext uri="{FF2B5EF4-FFF2-40B4-BE49-F238E27FC236}">
                <a16:creationId xmlns:a16="http://schemas.microsoft.com/office/drawing/2014/main" id="{70298A63-2D6E-4F5C-A98F-901C5F17954F}"/>
              </a:ext>
            </a:extLst>
          </p:cNvPr>
          <p:cNvSpPr>
            <a:spLocks noChangeAspect="1" noEditPoints="1"/>
          </p:cNvSpPr>
          <p:nvPr/>
        </p:nvSpPr>
        <p:spPr bwMode="auto">
          <a:xfrm rot="10800000" flipV="1">
            <a:off x="191181" y="90916"/>
            <a:ext cx="108000" cy="108000"/>
          </a:xfrm>
          <a:custGeom>
            <a:avLst/>
            <a:gdLst>
              <a:gd name="T0" fmla="*/ 1082 w 2142"/>
              <a:gd name="T1" fmla="*/ 1607 h 2142"/>
              <a:gd name="T2" fmla="*/ 990 w 2142"/>
              <a:gd name="T3" fmla="*/ 1578 h 2142"/>
              <a:gd name="T4" fmla="*/ 494 w 2142"/>
              <a:gd name="T5" fmla="*/ 1025 h 2142"/>
              <a:gd name="T6" fmla="*/ 999 w 2142"/>
              <a:gd name="T7" fmla="*/ 1002 h 2142"/>
              <a:gd name="T8" fmla="*/ 1060 w 2142"/>
              <a:gd name="T9" fmla="*/ 534 h 2142"/>
              <a:gd name="T10" fmla="*/ 1153 w 2142"/>
              <a:gd name="T11" fmla="*/ 564 h 2142"/>
              <a:gd name="T12" fmla="*/ 1666 w 2142"/>
              <a:gd name="T13" fmla="*/ 1064 h 2142"/>
              <a:gd name="T14" fmla="*/ 1641 w 2142"/>
              <a:gd name="T15" fmla="*/ 1124 h 2142"/>
              <a:gd name="T16" fmla="*/ 539 w 2142"/>
              <a:gd name="T17" fmla="*/ 1140 h 2142"/>
              <a:gd name="T18" fmla="*/ 488 w 2142"/>
              <a:gd name="T19" fmla="*/ 1109 h 2142"/>
              <a:gd name="T20" fmla="*/ 988 w 2142"/>
              <a:gd name="T21" fmla="*/ 2139 h 2142"/>
              <a:gd name="T22" fmla="*/ 728 w 2142"/>
              <a:gd name="T23" fmla="*/ 2086 h 2142"/>
              <a:gd name="T24" fmla="*/ 494 w 2142"/>
              <a:gd name="T25" fmla="*/ 1973 h 2142"/>
              <a:gd name="T26" fmla="*/ 296 w 2142"/>
              <a:gd name="T27" fmla="*/ 1810 h 2142"/>
              <a:gd name="T28" fmla="*/ 142 w 2142"/>
              <a:gd name="T29" fmla="*/ 1604 h 2142"/>
              <a:gd name="T30" fmla="*/ 41 w 2142"/>
              <a:gd name="T31" fmla="*/ 1364 h 2142"/>
              <a:gd name="T32" fmla="*/ 0 w 2142"/>
              <a:gd name="T33" fmla="*/ 1098 h 2142"/>
              <a:gd name="T34" fmla="*/ 27 w 2142"/>
              <a:gd name="T35" fmla="*/ 829 h 2142"/>
              <a:gd name="T36" fmla="*/ 117 w 2142"/>
              <a:gd name="T37" fmla="*/ 584 h 2142"/>
              <a:gd name="T38" fmla="*/ 261 w 2142"/>
              <a:gd name="T39" fmla="*/ 370 h 2142"/>
              <a:gd name="T40" fmla="*/ 452 w 2142"/>
              <a:gd name="T41" fmla="*/ 198 h 2142"/>
              <a:gd name="T42" fmla="*/ 679 w 2142"/>
              <a:gd name="T43" fmla="*/ 74 h 2142"/>
              <a:gd name="T44" fmla="*/ 936 w 2142"/>
              <a:gd name="T45" fmla="*/ 8 h 2142"/>
              <a:gd name="T46" fmla="*/ 1208 w 2142"/>
              <a:gd name="T47" fmla="*/ 8 h 2142"/>
              <a:gd name="T48" fmla="*/ 1463 w 2142"/>
              <a:gd name="T49" fmla="*/ 74 h 2142"/>
              <a:gd name="T50" fmla="*/ 1691 w 2142"/>
              <a:gd name="T51" fmla="*/ 198 h 2142"/>
              <a:gd name="T52" fmla="*/ 1881 w 2142"/>
              <a:gd name="T53" fmla="*/ 370 h 2142"/>
              <a:gd name="T54" fmla="*/ 2025 w 2142"/>
              <a:gd name="T55" fmla="*/ 584 h 2142"/>
              <a:gd name="T56" fmla="*/ 2115 w 2142"/>
              <a:gd name="T57" fmla="*/ 829 h 2142"/>
              <a:gd name="T58" fmla="*/ 2142 w 2142"/>
              <a:gd name="T59" fmla="*/ 1098 h 2142"/>
              <a:gd name="T60" fmla="*/ 2101 w 2142"/>
              <a:gd name="T61" fmla="*/ 1364 h 2142"/>
              <a:gd name="T62" fmla="*/ 2000 w 2142"/>
              <a:gd name="T63" fmla="*/ 1604 h 2142"/>
              <a:gd name="T64" fmla="*/ 1846 w 2142"/>
              <a:gd name="T65" fmla="*/ 1810 h 2142"/>
              <a:gd name="T66" fmla="*/ 1648 w 2142"/>
              <a:gd name="T67" fmla="*/ 1973 h 2142"/>
              <a:gd name="T68" fmla="*/ 1414 w 2142"/>
              <a:gd name="T69" fmla="*/ 2086 h 2142"/>
              <a:gd name="T70" fmla="*/ 1154 w 2142"/>
              <a:gd name="T71" fmla="*/ 2139 h 2142"/>
              <a:gd name="T72" fmla="*/ 924 w 2142"/>
              <a:gd name="T73" fmla="*/ 113 h 2142"/>
              <a:gd name="T74" fmla="*/ 695 w 2142"/>
              <a:gd name="T75" fmla="*/ 179 h 2142"/>
              <a:gd name="T76" fmla="*/ 492 w 2142"/>
              <a:gd name="T77" fmla="*/ 296 h 2142"/>
              <a:gd name="T78" fmla="*/ 324 w 2142"/>
              <a:gd name="T79" fmla="*/ 456 h 2142"/>
              <a:gd name="T80" fmla="*/ 200 w 2142"/>
              <a:gd name="T81" fmla="*/ 652 h 2142"/>
              <a:gd name="T82" fmla="*/ 123 w 2142"/>
              <a:gd name="T83" fmla="*/ 876 h 2142"/>
              <a:gd name="T84" fmla="*/ 105 w 2142"/>
              <a:gd name="T85" fmla="*/ 1121 h 2142"/>
              <a:gd name="T86" fmla="*/ 147 w 2142"/>
              <a:gd name="T87" fmla="*/ 1358 h 2142"/>
              <a:gd name="T88" fmla="*/ 243 w 2142"/>
              <a:gd name="T89" fmla="*/ 1572 h 2142"/>
              <a:gd name="T90" fmla="*/ 388 w 2142"/>
              <a:gd name="T91" fmla="*/ 1755 h 2142"/>
              <a:gd name="T92" fmla="*/ 570 w 2142"/>
              <a:gd name="T93" fmla="*/ 1899 h 2142"/>
              <a:gd name="T94" fmla="*/ 784 w 2142"/>
              <a:gd name="T95" fmla="*/ 1996 h 2142"/>
              <a:gd name="T96" fmla="*/ 1021 w 2142"/>
              <a:gd name="T97" fmla="*/ 2037 h 2142"/>
              <a:gd name="T98" fmla="*/ 1266 w 2142"/>
              <a:gd name="T99" fmla="*/ 2019 h 2142"/>
              <a:gd name="T100" fmla="*/ 1490 w 2142"/>
              <a:gd name="T101" fmla="*/ 1943 h 2142"/>
              <a:gd name="T102" fmla="*/ 1686 w 2142"/>
              <a:gd name="T103" fmla="*/ 1818 h 2142"/>
              <a:gd name="T104" fmla="*/ 1846 w 2142"/>
              <a:gd name="T105" fmla="*/ 1650 h 2142"/>
              <a:gd name="T106" fmla="*/ 1963 w 2142"/>
              <a:gd name="T107" fmla="*/ 1447 h 2142"/>
              <a:gd name="T108" fmla="*/ 2028 w 2142"/>
              <a:gd name="T109" fmla="*/ 1218 h 2142"/>
              <a:gd name="T110" fmla="*/ 2034 w 2142"/>
              <a:gd name="T111" fmla="*/ 972 h 2142"/>
              <a:gd name="T112" fmla="*/ 1980 w 2142"/>
              <a:gd name="T113" fmla="*/ 738 h 2142"/>
              <a:gd name="T114" fmla="*/ 1873 w 2142"/>
              <a:gd name="T115" fmla="*/ 530 h 2142"/>
              <a:gd name="T116" fmla="*/ 1721 w 2142"/>
              <a:gd name="T117" fmla="*/ 354 h 2142"/>
              <a:gd name="T118" fmla="*/ 1532 w 2142"/>
              <a:gd name="T119" fmla="*/ 219 h 2142"/>
              <a:gd name="T120" fmla="*/ 1313 w 2142"/>
              <a:gd name="T121" fmla="*/ 134 h 2142"/>
              <a:gd name="T122" fmla="*/ 1072 w 2142"/>
              <a:gd name="T123" fmla="*/ 103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2" h="2142">
                <a:moveTo>
                  <a:pt x="1372" y="1210"/>
                </a:moveTo>
                <a:lnTo>
                  <a:pt x="1565" y="1210"/>
                </a:lnTo>
                <a:lnTo>
                  <a:pt x="1153" y="1578"/>
                </a:lnTo>
                <a:lnTo>
                  <a:pt x="1144" y="1585"/>
                </a:lnTo>
                <a:lnTo>
                  <a:pt x="1135" y="1590"/>
                </a:lnTo>
                <a:lnTo>
                  <a:pt x="1125" y="1596"/>
                </a:lnTo>
                <a:lnTo>
                  <a:pt x="1114" y="1601"/>
                </a:lnTo>
                <a:lnTo>
                  <a:pt x="1104" y="1604"/>
                </a:lnTo>
                <a:lnTo>
                  <a:pt x="1093" y="1606"/>
                </a:lnTo>
                <a:lnTo>
                  <a:pt x="1082" y="1607"/>
                </a:lnTo>
                <a:lnTo>
                  <a:pt x="1072" y="1608"/>
                </a:lnTo>
                <a:lnTo>
                  <a:pt x="1060" y="1607"/>
                </a:lnTo>
                <a:lnTo>
                  <a:pt x="1049" y="1606"/>
                </a:lnTo>
                <a:lnTo>
                  <a:pt x="1039" y="1604"/>
                </a:lnTo>
                <a:lnTo>
                  <a:pt x="1033" y="1603"/>
                </a:lnTo>
                <a:lnTo>
                  <a:pt x="1028" y="1601"/>
                </a:lnTo>
                <a:lnTo>
                  <a:pt x="1018" y="1596"/>
                </a:lnTo>
                <a:lnTo>
                  <a:pt x="1009" y="1590"/>
                </a:lnTo>
                <a:lnTo>
                  <a:pt x="999" y="1585"/>
                </a:lnTo>
                <a:lnTo>
                  <a:pt x="990" y="1578"/>
                </a:lnTo>
                <a:lnTo>
                  <a:pt x="975" y="1564"/>
                </a:lnTo>
                <a:lnTo>
                  <a:pt x="1372" y="1210"/>
                </a:lnTo>
                <a:close/>
                <a:moveTo>
                  <a:pt x="476" y="1070"/>
                </a:moveTo>
                <a:lnTo>
                  <a:pt x="478" y="1064"/>
                </a:lnTo>
                <a:lnTo>
                  <a:pt x="479" y="1056"/>
                </a:lnTo>
                <a:lnTo>
                  <a:pt x="481" y="1049"/>
                </a:lnTo>
                <a:lnTo>
                  <a:pt x="484" y="1042"/>
                </a:lnTo>
                <a:lnTo>
                  <a:pt x="487" y="1035"/>
                </a:lnTo>
                <a:lnTo>
                  <a:pt x="491" y="1030"/>
                </a:lnTo>
                <a:lnTo>
                  <a:pt x="494" y="1025"/>
                </a:lnTo>
                <a:lnTo>
                  <a:pt x="499" y="1020"/>
                </a:lnTo>
                <a:lnTo>
                  <a:pt x="505" y="1016"/>
                </a:lnTo>
                <a:lnTo>
                  <a:pt x="509" y="1012"/>
                </a:lnTo>
                <a:lnTo>
                  <a:pt x="515" y="1008"/>
                </a:lnTo>
                <a:lnTo>
                  <a:pt x="520" y="1006"/>
                </a:lnTo>
                <a:lnTo>
                  <a:pt x="527" y="1004"/>
                </a:lnTo>
                <a:lnTo>
                  <a:pt x="533" y="1003"/>
                </a:lnTo>
                <a:lnTo>
                  <a:pt x="539" y="1002"/>
                </a:lnTo>
                <a:lnTo>
                  <a:pt x="546" y="1002"/>
                </a:lnTo>
                <a:lnTo>
                  <a:pt x="999" y="1002"/>
                </a:lnTo>
                <a:lnTo>
                  <a:pt x="1451" y="1002"/>
                </a:lnTo>
                <a:lnTo>
                  <a:pt x="975" y="577"/>
                </a:lnTo>
                <a:lnTo>
                  <a:pt x="990" y="564"/>
                </a:lnTo>
                <a:lnTo>
                  <a:pt x="999" y="557"/>
                </a:lnTo>
                <a:lnTo>
                  <a:pt x="1009" y="550"/>
                </a:lnTo>
                <a:lnTo>
                  <a:pt x="1018" y="546"/>
                </a:lnTo>
                <a:lnTo>
                  <a:pt x="1028" y="541"/>
                </a:lnTo>
                <a:lnTo>
                  <a:pt x="1039" y="538"/>
                </a:lnTo>
                <a:lnTo>
                  <a:pt x="1049" y="536"/>
                </a:lnTo>
                <a:lnTo>
                  <a:pt x="1060" y="534"/>
                </a:lnTo>
                <a:lnTo>
                  <a:pt x="1072" y="533"/>
                </a:lnTo>
                <a:lnTo>
                  <a:pt x="1082" y="534"/>
                </a:lnTo>
                <a:lnTo>
                  <a:pt x="1093" y="536"/>
                </a:lnTo>
                <a:lnTo>
                  <a:pt x="1104" y="538"/>
                </a:lnTo>
                <a:lnTo>
                  <a:pt x="1109" y="539"/>
                </a:lnTo>
                <a:lnTo>
                  <a:pt x="1114" y="541"/>
                </a:lnTo>
                <a:lnTo>
                  <a:pt x="1125" y="546"/>
                </a:lnTo>
                <a:lnTo>
                  <a:pt x="1135" y="550"/>
                </a:lnTo>
                <a:lnTo>
                  <a:pt x="1144" y="557"/>
                </a:lnTo>
                <a:lnTo>
                  <a:pt x="1153" y="564"/>
                </a:lnTo>
                <a:lnTo>
                  <a:pt x="1629" y="988"/>
                </a:lnTo>
                <a:lnTo>
                  <a:pt x="1637" y="996"/>
                </a:lnTo>
                <a:lnTo>
                  <a:pt x="1643" y="1004"/>
                </a:lnTo>
                <a:lnTo>
                  <a:pt x="1650" y="1013"/>
                </a:lnTo>
                <a:lnTo>
                  <a:pt x="1655" y="1023"/>
                </a:lnTo>
                <a:lnTo>
                  <a:pt x="1657" y="1028"/>
                </a:lnTo>
                <a:lnTo>
                  <a:pt x="1659" y="1032"/>
                </a:lnTo>
                <a:lnTo>
                  <a:pt x="1662" y="1042"/>
                </a:lnTo>
                <a:lnTo>
                  <a:pt x="1665" y="1053"/>
                </a:lnTo>
                <a:lnTo>
                  <a:pt x="1666" y="1064"/>
                </a:lnTo>
                <a:lnTo>
                  <a:pt x="1666" y="1071"/>
                </a:lnTo>
                <a:lnTo>
                  <a:pt x="1665" y="1080"/>
                </a:lnTo>
                <a:lnTo>
                  <a:pt x="1664" y="1087"/>
                </a:lnTo>
                <a:lnTo>
                  <a:pt x="1661" y="1095"/>
                </a:lnTo>
                <a:lnTo>
                  <a:pt x="1658" y="1102"/>
                </a:lnTo>
                <a:lnTo>
                  <a:pt x="1655" y="1109"/>
                </a:lnTo>
                <a:lnTo>
                  <a:pt x="1650" y="1114"/>
                </a:lnTo>
                <a:lnTo>
                  <a:pt x="1646" y="1120"/>
                </a:lnTo>
                <a:lnTo>
                  <a:pt x="1643" y="1122"/>
                </a:lnTo>
                <a:lnTo>
                  <a:pt x="1641" y="1124"/>
                </a:lnTo>
                <a:lnTo>
                  <a:pt x="1635" y="1129"/>
                </a:lnTo>
                <a:lnTo>
                  <a:pt x="1630" y="1132"/>
                </a:lnTo>
                <a:lnTo>
                  <a:pt x="1624" y="1136"/>
                </a:lnTo>
                <a:lnTo>
                  <a:pt x="1617" y="1138"/>
                </a:lnTo>
                <a:lnTo>
                  <a:pt x="1611" y="1139"/>
                </a:lnTo>
                <a:lnTo>
                  <a:pt x="1604" y="1140"/>
                </a:lnTo>
                <a:lnTo>
                  <a:pt x="1596" y="1141"/>
                </a:lnTo>
                <a:lnTo>
                  <a:pt x="1071" y="1141"/>
                </a:lnTo>
                <a:lnTo>
                  <a:pt x="546" y="1141"/>
                </a:lnTo>
                <a:lnTo>
                  <a:pt x="539" y="1140"/>
                </a:lnTo>
                <a:lnTo>
                  <a:pt x="533" y="1139"/>
                </a:lnTo>
                <a:lnTo>
                  <a:pt x="527" y="1138"/>
                </a:lnTo>
                <a:lnTo>
                  <a:pt x="520" y="1136"/>
                </a:lnTo>
                <a:lnTo>
                  <a:pt x="515" y="1133"/>
                </a:lnTo>
                <a:lnTo>
                  <a:pt x="509" y="1130"/>
                </a:lnTo>
                <a:lnTo>
                  <a:pt x="505" y="1127"/>
                </a:lnTo>
                <a:lnTo>
                  <a:pt x="499" y="1122"/>
                </a:lnTo>
                <a:lnTo>
                  <a:pt x="494" y="1118"/>
                </a:lnTo>
                <a:lnTo>
                  <a:pt x="491" y="1113"/>
                </a:lnTo>
                <a:lnTo>
                  <a:pt x="488" y="1109"/>
                </a:lnTo>
                <a:lnTo>
                  <a:pt x="484" y="1103"/>
                </a:lnTo>
                <a:lnTo>
                  <a:pt x="481" y="1097"/>
                </a:lnTo>
                <a:lnTo>
                  <a:pt x="480" y="1091"/>
                </a:lnTo>
                <a:lnTo>
                  <a:pt x="478" y="1085"/>
                </a:lnTo>
                <a:lnTo>
                  <a:pt x="476" y="1078"/>
                </a:lnTo>
                <a:lnTo>
                  <a:pt x="476" y="1070"/>
                </a:lnTo>
                <a:close/>
                <a:moveTo>
                  <a:pt x="1072" y="2142"/>
                </a:moveTo>
                <a:lnTo>
                  <a:pt x="1044" y="2142"/>
                </a:lnTo>
                <a:lnTo>
                  <a:pt x="1017" y="2141"/>
                </a:lnTo>
                <a:lnTo>
                  <a:pt x="988" y="2139"/>
                </a:lnTo>
                <a:lnTo>
                  <a:pt x="961" y="2136"/>
                </a:lnTo>
                <a:lnTo>
                  <a:pt x="936" y="2133"/>
                </a:lnTo>
                <a:lnTo>
                  <a:pt x="909" y="2130"/>
                </a:lnTo>
                <a:lnTo>
                  <a:pt x="882" y="2125"/>
                </a:lnTo>
                <a:lnTo>
                  <a:pt x="856" y="2121"/>
                </a:lnTo>
                <a:lnTo>
                  <a:pt x="830" y="2115"/>
                </a:lnTo>
                <a:lnTo>
                  <a:pt x="804" y="2108"/>
                </a:lnTo>
                <a:lnTo>
                  <a:pt x="778" y="2101"/>
                </a:lnTo>
                <a:lnTo>
                  <a:pt x="753" y="2094"/>
                </a:lnTo>
                <a:lnTo>
                  <a:pt x="728" y="2086"/>
                </a:lnTo>
                <a:lnTo>
                  <a:pt x="704" y="2077"/>
                </a:lnTo>
                <a:lnTo>
                  <a:pt x="679" y="2068"/>
                </a:lnTo>
                <a:lnTo>
                  <a:pt x="654" y="2058"/>
                </a:lnTo>
                <a:lnTo>
                  <a:pt x="631" y="2047"/>
                </a:lnTo>
                <a:lnTo>
                  <a:pt x="607" y="2036"/>
                </a:lnTo>
                <a:lnTo>
                  <a:pt x="584" y="2025"/>
                </a:lnTo>
                <a:lnTo>
                  <a:pt x="561" y="2013"/>
                </a:lnTo>
                <a:lnTo>
                  <a:pt x="538" y="2000"/>
                </a:lnTo>
                <a:lnTo>
                  <a:pt x="516" y="1987"/>
                </a:lnTo>
                <a:lnTo>
                  <a:pt x="494" y="1973"/>
                </a:lnTo>
                <a:lnTo>
                  <a:pt x="473" y="1959"/>
                </a:lnTo>
                <a:lnTo>
                  <a:pt x="452" y="1944"/>
                </a:lnTo>
                <a:lnTo>
                  <a:pt x="431" y="1929"/>
                </a:lnTo>
                <a:lnTo>
                  <a:pt x="410" y="1913"/>
                </a:lnTo>
                <a:lnTo>
                  <a:pt x="391" y="1898"/>
                </a:lnTo>
                <a:lnTo>
                  <a:pt x="371" y="1881"/>
                </a:lnTo>
                <a:lnTo>
                  <a:pt x="351" y="1864"/>
                </a:lnTo>
                <a:lnTo>
                  <a:pt x="332" y="1846"/>
                </a:lnTo>
                <a:lnTo>
                  <a:pt x="314" y="1828"/>
                </a:lnTo>
                <a:lnTo>
                  <a:pt x="296" y="1810"/>
                </a:lnTo>
                <a:lnTo>
                  <a:pt x="278" y="1791"/>
                </a:lnTo>
                <a:lnTo>
                  <a:pt x="261" y="1772"/>
                </a:lnTo>
                <a:lnTo>
                  <a:pt x="245" y="1751"/>
                </a:lnTo>
                <a:lnTo>
                  <a:pt x="229" y="1732"/>
                </a:lnTo>
                <a:lnTo>
                  <a:pt x="213" y="1712"/>
                </a:lnTo>
                <a:lnTo>
                  <a:pt x="198" y="1691"/>
                </a:lnTo>
                <a:lnTo>
                  <a:pt x="184" y="1669"/>
                </a:lnTo>
                <a:lnTo>
                  <a:pt x="169" y="1648"/>
                </a:lnTo>
                <a:lnTo>
                  <a:pt x="156" y="1626"/>
                </a:lnTo>
                <a:lnTo>
                  <a:pt x="142" y="1604"/>
                </a:lnTo>
                <a:lnTo>
                  <a:pt x="130" y="1581"/>
                </a:lnTo>
                <a:lnTo>
                  <a:pt x="117" y="1558"/>
                </a:lnTo>
                <a:lnTo>
                  <a:pt x="106" y="1535"/>
                </a:lnTo>
                <a:lnTo>
                  <a:pt x="95" y="1512"/>
                </a:lnTo>
                <a:lnTo>
                  <a:pt x="85" y="1488"/>
                </a:lnTo>
                <a:lnTo>
                  <a:pt x="75" y="1463"/>
                </a:lnTo>
                <a:lnTo>
                  <a:pt x="66" y="1438"/>
                </a:lnTo>
                <a:lnTo>
                  <a:pt x="57" y="1414"/>
                </a:lnTo>
                <a:lnTo>
                  <a:pt x="49" y="1389"/>
                </a:lnTo>
                <a:lnTo>
                  <a:pt x="41" y="1364"/>
                </a:lnTo>
                <a:lnTo>
                  <a:pt x="34" y="1338"/>
                </a:lnTo>
                <a:lnTo>
                  <a:pt x="27" y="1312"/>
                </a:lnTo>
                <a:lnTo>
                  <a:pt x="22" y="1286"/>
                </a:lnTo>
                <a:lnTo>
                  <a:pt x="17" y="1261"/>
                </a:lnTo>
                <a:lnTo>
                  <a:pt x="13" y="1234"/>
                </a:lnTo>
                <a:lnTo>
                  <a:pt x="9" y="1208"/>
                </a:lnTo>
                <a:lnTo>
                  <a:pt x="6" y="1181"/>
                </a:lnTo>
                <a:lnTo>
                  <a:pt x="4" y="1154"/>
                </a:lnTo>
                <a:lnTo>
                  <a:pt x="2" y="1125"/>
                </a:lnTo>
                <a:lnTo>
                  <a:pt x="0" y="1098"/>
                </a:lnTo>
                <a:lnTo>
                  <a:pt x="0" y="1070"/>
                </a:lnTo>
                <a:lnTo>
                  <a:pt x="0" y="1043"/>
                </a:lnTo>
                <a:lnTo>
                  <a:pt x="2" y="1016"/>
                </a:lnTo>
                <a:lnTo>
                  <a:pt x="4" y="988"/>
                </a:lnTo>
                <a:lnTo>
                  <a:pt x="6" y="961"/>
                </a:lnTo>
                <a:lnTo>
                  <a:pt x="9" y="934"/>
                </a:lnTo>
                <a:lnTo>
                  <a:pt x="13" y="908"/>
                </a:lnTo>
                <a:lnTo>
                  <a:pt x="17" y="881"/>
                </a:lnTo>
                <a:lnTo>
                  <a:pt x="22" y="855"/>
                </a:lnTo>
                <a:lnTo>
                  <a:pt x="27" y="829"/>
                </a:lnTo>
                <a:lnTo>
                  <a:pt x="34" y="803"/>
                </a:lnTo>
                <a:lnTo>
                  <a:pt x="41" y="778"/>
                </a:lnTo>
                <a:lnTo>
                  <a:pt x="49" y="753"/>
                </a:lnTo>
                <a:lnTo>
                  <a:pt x="57" y="728"/>
                </a:lnTo>
                <a:lnTo>
                  <a:pt x="66" y="703"/>
                </a:lnTo>
                <a:lnTo>
                  <a:pt x="75" y="679"/>
                </a:lnTo>
                <a:lnTo>
                  <a:pt x="85" y="654"/>
                </a:lnTo>
                <a:lnTo>
                  <a:pt x="95" y="630"/>
                </a:lnTo>
                <a:lnTo>
                  <a:pt x="106" y="606"/>
                </a:lnTo>
                <a:lnTo>
                  <a:pt x="117" y="584"/>
                </a:lnTo>
                <a:lnTo>
                  <a:pt x="130" y="560"/>
                </a:lnTo>
                <a:lnTo>
                  <a:pt x="142" y="538"/>
                </a:lnTo>
                <a:lnTo>
                  <a:pt x="156" y="515"/>
                </a:lnTo>
                <a:lnTo>
                  <a:pt x="169" y="494"/>
                </a:lnTo>
                <a:lnTo>
                  <a:pt x="184" y="473"/>
                </a:lnTo>
                <a:lnTo>
                  <a:pt x="198" y="451"/>
                </a:lnTo>
                <a:lnTo>
                  <a:pt x="213" y="430"/>
                </a:lnTo>
                <a:lnTo>
                  <a:pt x="229" y="409"/>
                </a:lnTo>
                <a:lnTo>
                  <a:pt x="245" y="389"/>
                </a:lnTo>
                <a:lnTo>
                  <a:pt x="261" y="370"/>
                </a:lnTo>
                <a:lnTo>
                  <a:pt x="278" y="351"/>
                </a:lnTo>
                <a:lnTo>
                  <a:pt x="296" y="332"/>
                </a:lnTo>
                <a:lnTo>
                  <a:pt x="314" y="314"/>
                </a:lnTo>
                <a:lnTo>
                  <a:pt x="332" y="296"/>
                </a:lnTo>
                <a:lnTo>
                  <a:pt x="351" y="278"/>
                </a:lnTo>
                <a:lnTo>
                  <a:pt x="371" y="261"/>
                </a:lnTo>
                <a:lnTo>
                  <a:pt x="391" y="244"/>
                </a:lnTo>
                <a:lnTo>
                  <a:pt x="410" y="228"/>
                </a:lnTo>
                <a:lnTo>
                  <a:pt x="431" y="212"/>
                </a:lnTo>
                <a:lnTo>
                  <a:pt x="452" y="198"/>
                </a:lnTo>
                <a:lnTo>
                  <a:pt x="473" y="183"/>
                </a:lnTo>
                <a:lnTo>
                  <a:pt x="494" y="169"/>
                </a:lnTo>
                <a:lnTo>
                  <a:pt x="516" y="155"/>
                </a:lnTo>
                <a:lnTo>
                  <a:pt x="538" y="142"/>
                </a:lnTo>
                <a:lnTo>
                  <a:pt x="561" y="129"/>
                </a:lnTo>
                <a:lnTo>
                  <a:pt x="584" y="117"/>
                </a:lnTo>
                <a:lnTo>
                  <a:pt x="607" y="106"/>
                </a:lnTo>
                <a:lnTo>
                  <a:pt x="631" y="94"/>
                </a:lnTo>
                <a:lnTo>
                  <a:pt x="654" y="84"/>
                </a:lnTo>
                <a:lnTo>
                  <a:pt x="679" y="74"/>
                </a:lnTo>
                <a:lnTo>
                  <a:pt x="704" y="65"/>
                </a:lnTo>
                <a:lnTo>
                  <a:pt x="728" y="56"/>
                </a:lnTo>
                <a:lnTo>
                  <a:pt x="753" y="48"/>
                </a:lnTo>
                <a:lnTo>
                  <a:pt x="778" y="40"/>
                </a:lnTo>
                <a:lnTo>
                  <a:pt x="804" y="33"/>
                </a:lnTo>
                <a:lnTo>
                  <a:pt x="830" y="27"/>
                </a:lnTo>
                <a:lnTo>
                  <a:pt x="856" y="21"/>
                </a:lnTo>
                <a:lnTo>
                  <a:pt x="882" y="17"/>
                </a:lnTo>
                <a:lnTo>
                  <a:pt x="909" y="12"/>
                </a:lnTo>
                <a:lnTo>
                  <a:pt x="936" y="8"/>
                </a:lnTo>
                <a:lnTo>
                  <a:pt x="961" y="5"/>
                </a:lnTo>
                <a:lnTo>
                  <a:pt x="988" y="3"/>
                </a:lnTo>
                <a:lnTo>
                  <a:pt x="1017" y="1"/>
                </a:lnTo>
                <a:lnTo>
                  <a:pt x="1044" y="0"/>
                </a:lnTo>
                <a:lnTo>
                  <a:pt x="1072" y="0"/>
                </a:lnTo>
                <a:lnTo>
                  <a:pt x="1099" y="0"/>
                </a:lnTo>
                <a:lnTo>
                  <a:pt x="1126" y="1"/>
                </a:lnTo>
                <a:lnTo>
                  <a:pt x="1154" y="3"/>
                </a:lnTo>
                <a:lnTo>
                  <a:pt x="1181" y="5"/>
                </a:lnTo>
                <a:lnTo>
                  <a:pt x="1208" y="8"/>
                </a:lnTo>
                <a:lnTo>
                  <a:pt x="1234" y="12"/>
                </a:lnTo>
                <a:lnTo>
                  <a:pt x="1261" y="17"/>
                </a:lnTo>
                <a:lnTo>
                  <a:pt x="1287" y="21"/>
                </a:lnTo>
                <a:lnTo>
                  <a:pt x="1313" y="27"/>
                </a:lnTo>
                <a:lnTo>
                  <a:pt x="1338" y="33"/>
                </a:lnTo>
                <a:lnTo>
                  <a:pt x="1364" y="40"/>
                </a:lnTo>
                <a:lnTo>
                  <a:pt x="1389" y="48"/>
                </a:lnTo>
                <a:lnTo>
                  <a:pt x="1414" y="56"/>
                </a:lnTo>
                <a:lnTo>
                  <a:pt x="1439" y="65"/>
                </a:lnTo>
                <a:lnTo>
                  <a:pt x="1463" y="74"/>
                </a:lnTo>
                <a:lnTo>
                  <a:pt x="1488" y="84"/>
                </a:lnTo>
                <a:lnTo>
                  <a:pt x="1512" y="94"/>
                </a:lnTo>
                <a:lnTo>
                  <a:pt x="1535" y="106"/>
                </a:lnTo>
                <a:lnTo>
                  <a:pt x="1558" y="117"/>
                </a:lnTo>
                <a:lnTo>
                  <a:pt x="1581" y="129"/>
                </a:lnTo>
                <a:lnTo>
                  <a:pt x="1604" y="142"/>
                </a:lnTo>
                <a:lnTo>
                  <a:pt x="1626" y="155"/>
                </a:lnTo>
                <a:lnTo>
                  <a:pt x="1648" y="169"/>
                </a:lnTo>
                <a:lnTo>
                  <a:pt x="1669" y="183"/>
                </a:lnTo>
                <a:lnTo>
                  <a:pt x="1691" y="198"/>
                </a:lnTo>
                <a:lnTo>
                  <a:pt x="1712" y="212"/>
                </a:lnTo>
                <a:lnTo>
                  <a:pt x="1732" y="228"/>
                </a:lnTo>
                <a:lnTo>
                  <a:pt x="1753" y="244"/>
                </a:lnTo>
                <a:lnTo>
                  <a:pt x="1772" y="261"/>
                </a:lnTo>
                <a:lnTo>
                  <a:pt x="1791" y="278"/>
                </a:lnTo>
                <a:lnTo>
                  <a:pt x="1810" y="296"/>
                </a:lnTo>
                <a:lnTo>
                  <a:pt x="1828" y="314"/>
                </a:lnTo>
                <a:lnTo>
                  <a:pt x="1846" y="332"/>
                </a:lnTo>
                <a:lnTo>
                  <a:pt x="1864" y="351"/>
                </a:lnTo>
                <a:lnTo>
                  <a:pt x="1881" y="370"/>
                </a:lnTo>
                <a:lnTo>
                  <a:pt x="1898" y="389"/>
                </a:lnTo>
                <a:lnTo>
                  <a:pt x="1913" y="409"/>
                </a:lnTo>
                <a:lnTo>
                  <a:pt x="1929" y="430"/>
                </a:lnTo>
                <a:lnTo>
                  <a:pt x="1944" y="451"/>
                </a:lnTo>
                <a:lnTo>
                  <a:pt x="1958" y="473"/>
                </a:lnTo>
                <a:lnTo>
                  <a:pt x="1973" y="494"/>
                </a:lnTo>
                <a:lnTo>
                  <a:pt x="1987" y="515"/>
                </a:lnTo>
                <a:lnTo>
                  <a:pt x="2000" y="538"/>
                </a:lnTo>
                <a:lnTo>
                  <a:pt x="2012" y="560"/>
                </a:lnTo>
                <a:lnTo>
                  <a:pt x="2025" y="584"/>
                </a:lnTo>
                <a:lnTo>
                  <a:pt x="2036" y="606"/>
                </a:lnTo>
                <a:lnTo>
                  <a:pt x="2047" y="630"/>
                </a:lnTo>
                <a:lnTo>
                  <a:pt x="2057" y="654"/>
                </a:lnTo>
                <a:lnTo>
                  <a:pt x="2068" y="679"/>
                </a:lnTo>
                <a:lnTo>
                  <a:pt x="2077" y="703"/>
                </a:lnTo>
                <a:lnTo>
                  <a:pt x="2086" y="728"/>
                </a:lnTo>
                <a:lnTo>
                  <a:pt x="2093" y="753"/>
                </a:lnTo>
                <a:lnTo>
                  <a:pt x="2101" y="778"/>
                </a:lnTo>
                <a:lnTo>
                  <a:pt x="2108" y="803"/>
                </a:lnTo>
                <a:lnTo>
                  <a:pt x="2115" y="829"/>
                </a:lnTo>
                <a:lnTo>
                  <a:pt x="2121" y="855"/>
                </a:lnTo>
                <a:lnTo>
                  <a:pt x="2125" y="881"/>
                </a:lnTo>
                <a:lnTo>
                  <a:pt x="2130" y="908"/>
                </a:lnTo>
                <a:lnTo>
                  <a:pt x="2134" y="934"/>
                </a:lnTo>
                <a:lnTo>
                  <a:pt x="2136" y="961"/>
                </a:lnTo>
                <a:lnTo>
                  <a:pt x="2139" y="988"/>
                </a:lnTo>
                <a:lnTo>
                  <a:pt x="2141" y="1016"/>
                </a:lnTo>
                <a:lnTo>
                  <a:pt x="2142" y="1043"/>
                </a:lnTo>
                <a:lnTo>
                  <a:pt x="2142" y="1070"/>
                </a:lnTo>
                <a:lnTo>
                  <a:pt x="2142" y="1098"/>
                </a:lnTo>
                <a:lnTo>
                  <a:pt x="2141" y="1125"/>
                </a:lnTo>
                <a:lnTo>
                  <a:pt x="2139" y="1154"/>
                </a:lnTo>
                <a:lnTo>
                  <a:pt x="2136" y="1181"/>
                </a:lnTo>
                <a:lnTo>
                  <a:pt x="2134" y="1208"/>
                </a:lnTo>
                <a:lnTo>
                  <a:pt x="2130" y="1234"/>
                </a:lnTo>
                <a:lnTo>
                  <a:pt x="2125" y="1261"/>
                </a:lnTo>
                <a:lnTo>
                  <a:pt x="2121" y="1286"/>
                </a:lnTo>
                <a:lnTo>
                  <a:pt x="2115" y="1312"/>
                </a:lnTo>
                <a:lnTo>
                  <a:pt x="2108" y="1338"/>
                </a:lnTo>
                <a:lnTo>
                  <a:pt x="2101" y="1364"/>
                </a:lnTo>
                <a:lnTo>
                  <a:pt x="2093" y="1389"/>
                </a:lnTo>
                <a:lnTo>
                  <a:pt x="2086" y="1414"/>
                </a:lnTo>
                <a:lnTo>
                  <a:pt x="2077" y="1438"/>
                </a:lnTo>
                <a:lnTo>
                  <a:pt x="2068" y="1463"/>
                </a:lnTo>
                <a:lnTo>
                  <a:pt x="2057" y="1488"/>
                </a:lnTo>
                <a:lnTo>
                  <a:pt x="2047" y="1512"/>
                </a:lnTo>
                <a:lnTo>
                  <a:pt x="2036" y="1535"/>
                </a:lnTo>
                <a:lnTo>
                  <a:pt x="2025" y="1558"/>
                </a:lnTo>
                <a:lnTo>
                  <a:pt x="2012" y="1581"/>
                </a:lnTo>
                <a:lnTo>
                  <a:pt x="2000" y="1604"/>
                </a:lnTo>
                <a:lnTo>
                  <a:pt x="1987" y="1626"/>
                </a:lnTo>
                <a:lnTo>
                  <a:pt x="1973" y="1648"/>
                </a:lnTo>
                <a:lnTo>
                  <a:pt x="1958" y="1669"/>
                </a:lnTo>
                <a:lnTo>
                  <a:pt x="1944" y="1691"/>
                </a:lnTo>
                <a:lnTo>
                  <a:pt x="1929" y="1712"/>
                </a:lnTo>
                <a:lnTo>
                  <a:pt x="1913" y="1732"/>
                </a:lnTo>
                <a:lnTo>
                  <a:pt x="1898" y="1751"/>
                </a:lnTo>
                <a:lnTo>
                  <a:pt x="1881" y="1772"/>
                </a:lnTo>
                <a:lnTo>
                  <a:pt x="1864" y="1791"/>
                </a:lnTo>
                <a:lnTo>
                  <a:pt x="1846" y="1810"/>
                </a:lnTo>
                <a:lnTo>
                  <a:pt x="1828" y="1828"/>
                </a:lnTo>
                <a:lnTo>
                  <a:pt x="1810" y="1846"/>
                </a:lnTo>
                <a:lnTo>
                  <a:pt x="1791" y="1864"/>
                </a:lnTo>
                <a:lnTo>
                  <a:pt x="1772" y="1881"/>
                </a:lnTo>
                <a:lnTo>
                  <a:pt x="1753" y="1898"/>
                </a:lnTo>
                <a:lnTo>
                  <a:pt x="1732" y="1913"/>
                </a:lnTo>
                <a:lnTo>
                  <a:pt x="1712" y="1929"/>
                </a:lnTo>
                <a:lnTo>
                  <a:pt x="1691" y="1944"/>
                </a:lnTo>
                <a:lnTo>
                  <a:pt x="1669" y="1959"/>
                </a:lnTo>
                <a:lnTo>
                  <a:pt x="1648" y="1973"/>
                </a:lnTo>
                <a:lnTo>
                  <a:pt x="1626" y="1987"/>
                </a:lnTo>
                <a:lnTo>
                  <a:pt x="1604" y="2000"/>
                </a:lnTo>
                <a:lnTo>
                  <a:pt x="1581" y="2013"/>
                </a:lnTo>
                <a:lnTo>
                  <a:pt x="1558" y="2025"/>
                </a:lnTo>
                <a:lnTo>
                  <a:pt x="1535" y="2036"/>
                </a:lnTo>
                <a:lnTo>
                  <a:pt x="1512" y="2047"/>
                </a:lnTo>
                <a:lnTo>
                  <a:pt x="1488" y="2058"/>
                </a:lnTo>
                <a:lnTo>
                  <a:pt x="1463" y="2068"/>
                </a:lnTo>
                <a:lnTo>
                  <a:pt x="1439" y="2077"/>
                </a:lnTo>
                <a:lnTo>
                  <a:pt x="1414" y="2086"/>
                </a:lnTo>
                <a:lnTo>
                  <a:pt x="1389" y="2094"/>
                </a:lnTo>
                <a:lnTo>
                  <a:pt x="1364" y="2101"/>
                </a:lnTo>
                <a:lnTo>
                  <a:pt x="1338" y="2108"/>
                </a:lnTo>
                <a:lnTo>
                  <a:pt x="1313" y="2115"/>
                </a:lnTo>
                <a:lnTo>
                  <a:pt x="1287" y="2121"/>
                </a:lnTo>
                <a:lnTo>
                  <a:pt x="1261" y="2125"/>
                </a:lnTo>
                <a:lnTo>
                  <a:pt x="1234" y="2130"/>
                </a:lnTo>
                <a:lnTo>
                  <a:pt x="1208" y="2133"/>
                </a:lnTo>
                <a:lnTo>
                  <a:pt x="1181" y="2136"/>
                </a:lnTo>
                <a:lnTo>
                  <a:pt x="1154" y="2139"/>
                </a:lnTo>
                <a:lnTo>
                  <a:pt x="1126" y="2141"/>
                </a:lnTo>
                <a:lnTo>
                  <a:pt x="1099" y="2142"/>
                </a:lnTo>
                <a:lnTo>
                  <a:pt x="1072" y="2142"/>
                </a:lnTo>
                <a:close/>
                <a:moveTo>
                  <a:pt x="1072" y="103"/>
                </a:moveTo>
                <a:lnTo>
                  <a:pt x="1046" y="103"/>
                </a:lnTo>
                <a:lnTo>
                  <a:pt x="1021" y="104"/>
                </a:lnTo>
                <a:lnTo>
                  <a:pt x="997" y="106"/>
                </a:lnTo>
                <a:lnTo>
                  <a:pt x="973" y="108"/>
                </a:lnTo>
                <a:lnTo>
                  <a:pt x="948" y="110"/>
                </a:lnTo>
                <a:lnTo>
                  <a:pt x="924" y="113"/>
                </a:lnTo>
                <a:lnTo>
                  <a:pt x="901" y="118"/>
                </a:lnTo>
                <a:lnTo>
                  <a:pt x="876" y="122"/>
                </a:lnTo>
                <a:lnTo>
                  <a:pt x="853" y="128"/>
                </a:lnTo>
                <a:lnTo>
                  <a:pt x="830" y="134"/>
                </a:lnTo>
                <a:lnTo>
                  <a:pt x="806" y="139"/>
                </a:lnTo>
                <a:lnTo>
                  <a:pt x="784" y="146"/>
                </a:lnTo>
                <a:lnTo>
                  <a:pt x="761" y="154"/>
                </a:lnTo>
                <a:lnTo>
                  <a:pt x="739" y="162"/>
                </a:lnTo>
                <a:lnTo>
                  <a:pt x="717" y="170"/>
                </a:lnTo>
                <a:lnTo>
                  <a:pt x="695" y="179"/>
                </a:lnTo>
                <a:lnTo>
                  <a:pt x="673" y="189"/>
                </a:lnTo>
                <a:lnTo>
                  <a:pt x="652" y="198"/>
                </a:lnTo>
                <a:lnTo>
                  <a:pt x="631" y="209"/>
                </a:lnTo>
                <a:lnTo>
                  <a:pt x="610" y="219"/>
                </a:lnTo>
                <a:lnTo>
                  <a:pt x="590" y="232"/>
                </a:lnTo>
                <a:lnTo>
                  <a:pt x="570" y="243"/>
                </a:lnTo>
                <a:lnTo>
                  <a:pt x="550" y="255"/>
                </a:lnTo>
                <a:lnTo>
                  <a:pt x="530" y="269"/>
                </a:lnTo>
                <a:lnTo>
                  <a:pt x="511" y="281"/>
                </a:lnTo>
                <a:lnTo>
                  <a:pt x="492" y="296"/>
                </a:lnTo>
                <a:lnTo>
                  <a:pt x="474" y="309"/>
                </a:lnTo>
                <a:lnTo>
                  <a:pt x="456" y="324"/>
                </a:lnTo>
                <a:lnTo>
                  <a:pt x="438" y="340"/>
                </a:lnTo>
                <a:lnTo>
                  <a:pt x="421" y="354"/>
                </a:lnTo>
                <a:lnTo>
                  <a:pt x="404" y="370"/>
                </a:lnTo>
                <a:lnTo>
                  <a:pt x="388" y="387"/>
                </a:lnTo>
                <a:lnTo>
                  <a:pt x="371" y="403"/>
                </a:lnTo>
                <a:lnTo>
                  <a:pt x="355" y="421"/>
                </a:lnTo>
                <a:lnTo>
                  <a:pt x="340" y="438"/>
                </a:lnTo>
                <a:lnTo>
                  <a:pt x="324" y="456"/>
                </a:lnTo>
                <a:lnTo>
                  <a:pt x="310" y="474"/>
                </a:lnTo>
                <a:lnTo>
                  <a:pt x="296" y="492"/>
                </a:lnTo>
                <a:lnTo>
                  <a:pt x="283" y="511"/>
                </a:lnTo>
                <a:lnTo>
                  <a:pt x="269" y="530"/>
                </a:lnTo>
                <a:lnTo>
                  <a:pt x="256" y="549"/>
                </a:lnTo>
                <a:lnTo>
                  <a:pt x="243" y="569"/>
                </a:lnTo>
                <a:lnTo>
                  <a:pt x="232" y="590"/>
                </a:lnTo>
                <a:lnTo>
                  <a:pt x="221" y="610"/>
                </a:lnTo>
                <a:lnTo>
                  <a:pt x="210" y="630"/>
                </a:lnTo>
                <a:lnTo>
                  <a:pt x="200" y="652"/>
                </a:lnTo>
                <a:lnTo>
                  <a:pt x="189" y="673"/>
                </a:lnTo>
                <a:lnTo>
                  <a:pt x="179" y="694"/>
                </a:lnTo>
                <a:lnTo>
                  <a:pt x="170" y="716"/>
                </a:lnTo>
                <a:lnTo>
                  <a:pt x="162" y="738"/>
                </a:lnTo>
                <a:lnTo>
                  <a:pt x="155" y="761"/>
                </a:lnTo>
                <a:lnTo>
                  <a:pt x="147" y="783"/>
                </a:lnTo>
                <a:lnTo>
                  <a:pt x="140" y="806"/>
                </a:lnTo>
                <a:lnTo>
                  <a:pt x="134" y="829"/>
                </a:lnTo>
                <a:lnTo>
                  <a:pt x="129" y="853"/>
                </a:lnTo>
                <a:lnTo>
                  <a:pt x="123" y="876"/>
                </a:lnTo>
                <a:lnTo>
                  <a:pt x="119" y="899"/>
                </a:lnTo>
                <a:lnTo>
                  <a:pt x="115" y="924"/>
                </a:lnTo>
                <a:lnTo>
                  <a:pt x="112" y="948"/>
                </a:lnTo>
                <a:lnTo>
                  <a:pt x="108" y="972"/>
                </a:lnTo>
                <a:lnTo>
                  <a:pt x="106" y="996"/>
                </a:lnTo>
                <a:lnTo>
                  <a:pt x="105" y="1021"/>
                </a:lnTo>
                <a:lnTo>
                  <a:pt x="104" y="1046"/>
                </a:lnTo>
                <a:lnTo>
                  <a:pt x="104" y="1070"/>
                </a:lnTo>
                <a:lnTo>
                  <a:pt x="104" y="1096"/>
                </a:lnTo>
                <a:lnTo>
                  <a:pt x="105" y="1121"/>
                </a:lnTo>
                <a:lnTo>
                  <a:pt x="106" y="1146"/>
                </a:lnTo>
                <a:lnTo>
                  <a:pt x="108" y="1169"/>
                </a:lnTo>
                <a:lnTo>
                  <a:pt x="112" y="1194"/>
                </a:lnTo>
                <a:lnTo>
                  <a:pt x="115" y="1218"/>
                </a:lnTo>
                <a:lnTo>
                  <a:pt x="119" y="1241"/>
                </a:lnTo>
                <a:lnTo>
                  <a:pt x="123" y="1266"/>
                </a:lnTo>
                <a:lnTo>
                  <a:pt x="129" y="1289"/>
                </a:lnTo>
                <a:lnTo>
                  <a:pt x="134" y="1312"/>
                </a:lnTo>
                <a:lnTo>
                  <a:pt x="140" y="1336"/>
                </a:lnTo>
                <a:lnTo>
                  <a:pt x="147" y="1358"/>
                </a:lnTo>
                <a:lnTo>
                  <a:pt x="155" y="1381"/>
                </a:lnTo>
                <a:lnTo>
                  <a:pt x="162" y="1404"/>
                </a:lnTo>
                <a:lnTo>
                  <a:pt x="170" y="1425"/>
                </a:lnTo>
                <a:lnTo>
                  <a:pt x="179" y="1447"/>
                </a:lnTo>
                <a:lnTo>
                  <a:pt x="189" y="1469"/>
                </a:lnTo>
                <a:lnTo>
                  <a:pt x="200" y="1490"/>
                </a:lnTo>
                <a:lnTo>
                  <a:pt x="210" y="1512"/>
                </a:lnTo>
                <a:lnTo>
                  <a:pt x="221" y="1532"/>
                </a:lnTo>
                <a:lnTo>
                  <a:pt x="232" y="1552"/>
                </a:lnTo>
                <a:lnTo>
                  <a:pt x="243" y="1572"/>
                </a:lnTo>
                <a:lnTo>
                  <a:pt x="256" y="1593"/>
                </a:lnTo>
                <a:lnTo>
                  <a:pt x="269" y="1612"/>
                </a:lnTo>
                <a:lnTo>
                  <a:pt x="283" y="1631"/>
                </a:lnTo>
                <a:lnTo>
                  <a:pt x="296" y="1650"/>
                </a:lnTo>
                <a:lnTo>
                  <a:pt x="310" y="1668"/>
                </a:lnTo>
                <a:lnTo>
                  <a:pt x="324" y="1686"/>
                </a:lnTo>
                <a:lnTo>
                  <a:pt x="340" y="1704"/>
                </a:lnTo>
                <a:lnTo>
                  <a:pt x="355" y="1721"/>
                </a:lnTo>
                <a:lnTo>
                  <a:pt x="371" y="1738"/>
                </a:lnTo>
                <a:lnTo>
                  <a:pt x="388" y="1755"/>
                </a:lnTo>
                <a:lnTo>
                  <a:pt x="404" y="1772"/>
                </a:lnTo>
                <a:lnTo>
                  <a:pt x="421" y="1787"/>
                </a:lnTo>
                <a:lnTo>
                  <a:pt x="438" y="1802"/>
                </a:lnTo>
                <a:lnTo>
                  <a:pt x="456" y="1818"/>
                </a:lnTo>
                <a:lnTo>
                  <a:pt x="474" y="1832"/>
                </a:lnTo>
                <a:lnTo>
                  <a:pt x="492" y="1846"/>
                </a:lnTo>
                <a:lnTo>
                  <a:pt x="511" y="1859"/>
                </a:lnTo>
                <a:lnTo>
                  <a:pt x="530" y="1873"/>
                </a:lnTo>
                <a:lnTo>
                  <a:pt x="550" y="1886"/>
                </a:lnTo>
                <a:lnTo>
                  <a:pt x="570" y="1899"/>
                </a:lnTo>
                <a:lnTo>
                  <a:pt x="590" y="1910"/>
                </a:lnTo>
                <a:lnTo>
                  <a:pt x="610" y="1921"/>
                </a:lnTo>
                <a:lnTo>
                  <a:pt x="631" y="1933"/>
                </a:lnTo>
                <a:lnTo>
                  <a:pt x="652" y="1943"/>
                </a:lnTo>
                <a:lnTo>
                  <a:pt x="673" y="1953"/>
                </a:lnTo>
                <a:lnTo>
                  <a:pt x="695" y="1963"/>
                </a:lnTo>
                <a:lnTo>
                  <a:pt x="717" y="1972"/>
                </a:lnTo>
                <a:lnTo>
                  <a:pt x="739" y="1980"/>
                </a:lnTo>
                <a:lnTo>
                  <a:pt x="761" y="1988"/>
                </a:lnTo>
                <a:lnTo>
                  <a:pt x="784" y="1996"/>
                </a:lnTo>
                <a:lnTo>
                  <a:pt x="806" y="2002"/>
                </a:lnTo>
                <a:lnTo>
                  <a:pt x="830" y="2008"/>
                </a:lnTo>
                <a:lnTo>
                  <a:pt x="853" y="2014"/>
                </a:lnTo>
                <a:lnTo>
                  <a:pt x="876" y="2019"/>
                </a:lnTo>
                <a:lnTo>
                  <a:pt x="901" y="2024"/>
                </a:lnTo>
                <a:lnTo>
                  <a:pt x="924" y="2027"/>
                </a:lnTo>
                <a:lnTo>
                  <a:pt x="948" y="2031"/>
                </a:lnTo>
                <a:lnTo>
                  <a:pt x="973" y="2034"/>
                </a:lnTo>
                <a:lnTo>
                  <a:pt x="997" y="2036"/>
                </a:lnTo>
                <a:lnTo>
                  <a:pt x="1021" y="2037"/>
                </a:lnTo>
                <a:lnTo>
                  <a:pt x="1046" y="2038"/>
                </a:lnTo>
                <a:lnTo>
                  <a:pt x="1072" y="2038"/>
                </a:lnTo>
                <a:lnTo>
                  <a:pt x="1096" y="2038"/>
                </a:lnTo>
                <a:lnTo>
                  <a:pt x="1121" y="2037"/>
                </a:lnTo>
                <a:lnTo>
                  <a:pt x="1146" y="2036"/>
                </a:lnTo>
                <a:lnTo>
                  <a:pt x="1170" y="2034"/>
                </a:lnTo>
                <a:lnTo>
                  <a:pt x="1194" y="2031"/>
                </a:lnTo>
                <a:lnTo>
                  <a:pt x="1218" y="2027"/>
                </a:lnTo>
                <a:lnTo>
                  <a:pt x="1243" y="2024"/>
                </a:lnTo>
                <a:lnTo>
                  <a:pt x="1266" y="2019"/>
                </a:lnTo>
                <a:lnTo>
                  <a:pt x="1290" y="2014"/>
                </a:lnTo>
                <a:lnTo>
                  <a:pt x="1313" y="2008"/>
                </a:lnTo>
                <a:lnTo>
                  <a:pt x="1336" y="2002"/>
                </a:lnTo>
                <a:lnTo>
                  <a:pt x="1359" y="1996"/>
                </a:lnTo>
                <a:lnTo>
                  <a:pt x="1381" y="1988"/>
                </a:lnTo>
                <a:lnTo>
                  <a:pt x="1404" y="1980"/>
                </a:lnTo>
                <a:lnTo>
                  <a:pt x="1426" y="1972"/>
                </a:lnTo>
                <a:lnTo>
                  <a:pt x="1448" y="1963"/>
                </a:lnTo>
                <a:lnTo>
                  <a:pt x="1469" y="1953"/>
                </a:lnTo>
                <a:lnTo>
                  <a:pt x="1490" y="1943"/>
                </a:lnTo>
                <a:lnTo>
                  <a:pt x="1512" y="1933"/>
                </a:lnTo>
                <a:lnTo>
                  <a:pt x="1532" y="1921"/>
                </a:lnTo>
                <a:lnTo>
                  <a:pt x="1552" y="1910"/>
                </a:lnTo>
                <a:lnTo>
                  <a:pt x="1572" y="1899"/>
                </a:lnTo>
                <a:lnTo>
                  <a:pt x="1593" y="1886"/>
                </a:lnTo>
                <a:lnTo>
                  <a:pt x="1612" y="1873"/>
                </a:lnTo>
                <a:lnTo>
                  <a:pt x="1631" y="1859"/>
                </a:lnTo>
                <a:lnTo>
                  <a:pt x="1650" y="1846"/>
                </a:lnTo>
                <a:lnTo>
                  <a:pt x="1668" y="1832"/>
                </a:lnTo>
                <a:lnTo>
                  <a:pt x="1686" y="1818"/>
                </a:lnTo>
                <a:lnTo>
                  <a:pt x="1704" y="1802"/>
                </a:lnTo>
                <a:lnTo>
                  <a:pt x="1721" y="1787"/>
                </a:lnTo>
                <a:lnTo>
                  <a:pt x="1739" y="1772"/>
                </a:lnTo>
                <a:lnTo>
                  <a:pt x="1755" y="1755"/>
                </a:lnTo>
                <a:lnTo>
                  <a:pt x="1772" y="1738"/>
                </a:lnTo>
                <a:lnTo>
                  <a:pt x="1787" y="1721"/>
                </a:lnTo>
                <a:lnTo>
                  <a:pt x="1803" y="1704"/>
                </a:lnTo>
                <a:lnTo>
                  <a:pt x="1818" y="1686"/>
                </a:lnTo>
                <a:lnTo>
                  <a:pt x="1832" y="1668"/>
                </a:lnTo>
                <a:lnTo>
                  <a:pt x="1846" y="1650"/>
                </a:lnTo>
                <a:lnTo>
                  <a:pt x="1861" y="1631"/>
                </a:lnTo>
                <a:lnTo>
                  <a:pt x="1873" y="1612"/>
                </a:lnTo>
                <a:lnTo>
                  <a:pt x="1886" y="1593"/>
                </a:lnTo>
                <a:lnTo>
                  <a:pt x="1899" y="1572"/>
                </a:lnTo>
                <a:lnTo>
                  <a:pt x="1910" y="1552"/>
                </a:lnTo>
                <a:lnTo>
                  <a:pt x="1922" y="1532"/>
                </a:lnTo>
                <a:lnTo>
                  <a:pt x="1933" y="1512"/>
                </a:lnTo>
                <a:lnTo>
                  <a:pt x="1944" y="1490"/>
                </a:lnTo>
                <a:lnTo>
                  <a:pt x="1953" y="1469"/>
                </a:lnTo>
                <a:lnTo>
                  <a:pt x="1963" y="1447"/>
                </a:lnTo>
                <a:lnTo>
                  <a:pt x="1972" y="1425"/>
                </a:lnTo>
                <a:lnTo>
                  <a:pt x="1980" y="1404"/>
                </a:lnTo>
                <a:lnTo>
                  <a:pt x="1988" y="1381"/>
                </a:lnTo>
                <a:lnTo>
                  <a:pt x="1996" y="1358"/>
                </a:lnTo>
                <a:lnTo>
                  <a:pt x="2002" y="1336"/>
                </a:lnTo>
                <a:lnTo>
                  <a:pt x="2008" y="1312"/>
                </a:lnTo>
                <a:lnTo>
                  <a:pt x="2014" y="1289"/>
                </a:lnTo>
                <a:lnTo>
                  <a:pt x="2019" y="1266"/>
                </a:lnTo>
                <a:lnTo>
                  <a:pt x="2024" y="1241"/>
                </a:lnTo>
                <a:lnTo>
                  <a:pt x="2028" y="1218"/>
                </a:lnTo>
                <a:lnTo>
                  <a:pt x="2032" y="1194"/>
                </a:lnTo>
                <a:lnTo>
                  <a:pt x="2034" y="1169"/>
                </a:lnTo>
                <a:lnTo>
                  <a:pt x="2036" y="1146"/>
                </a:lnTo>
                <a:lnTo>
                  <a:pt x="2037" y="1121"/>
                </a:lnTo>
                <a:lnTo>
                  <a:pt x="2038" y="1096"/>
                </a:lnTo>
                <a:lnTo>
                  <a:pt x="2038" y="1070"/>
                </a:lnTo>
                <a:lnTo>
                  <a:pt x="2038" y="1046"/>
                </a:lnTo>
                <a:lnTo>
                  <a:pt x="2037" y="1021"/>
                </a:lnTo>
                <a:lnTo>
                  <a:pt x="2036" y="996"/>
                </a:lnTo>
                <a:lnTo>
                  <a:pt x="2034" y="972"/>
                </a:lnTo>
                <a:lnTo>
                  <a:pt x="2032" y="948"/>
                </a:lnTo>
                <a:lnTo>
                  <a:pt x="2028" y="924"/>
                </a:lnTo>
                <a:lnTo>
                  <a:pt x="2024" y="899"/>
                </a:lnTo>
                <a:lnTo>
                  <a:pt x="2019" y="876"/>
                </a:lnTo>
                <a:lnTo>
                  <a:pt x="2014" y="853"/>
                </a:lnTo>
                <a:lnTo>
                  <a:pt x="2008" y="829"/>
                </a:lnTo>
                <a:lnTo>
                  <a:pt x="2002" y="806"/>
                </a:lnTo>
                <a:lnTo>
                  <a:pt x="1996" y="783"/>
                </a:lnTo>
                <a:lnTo>
                  <a:pt x="1988" y="761"/>
                </a:lnTo>
                <a:lnTo>
                  <a:pt x="1980" y="738"/>
                </a:lnTo>
                <a:lnTo>
                  <a:pt x="1972" y="716"/>
                </a:lnTo>
                <a:lnTo>
                  <a:pt x="1963" y="694"/>
                </a:lnTo>
                <a:lnTo>
                  <a:pt x="1953" y="673"/>
                </a:lnTo>
                <a:lnTo>
                  <a:pt x="1944" y="652"/>
                </a:lnTo>
                <a:lnTo>
                  <a:pt x="1933" y="630"/>
                </a:lnTo>
                <a:lnTo>
                  <a:pt x="1922" y="610"/>
                </a:lnTo>
                <a:lnTo>
                  <a:pt x="1910" y="590"/>
                </a:lnTo>
                <a:lnTo>
                  <a:pt x="1899" y="569"/>
                </a:lnTo>
                <a:lnTo>
                  <a:pt x="1886" y="549"/>
                </a:lnTo>
                <a:lnTo>
                  <a:pt x="1873" y="530"/>
                </a:lnTo>
                <a:lnTo>
                  <a:pt x="1861" y="511"/>
                </a:lnTo>
                <a:lnTo>
                  <a:pt x="1846" y="492"/>
                </a:lnTo>
                <a:lnTo>
                  <a:pt x="1832" y="474"/>
                </a:lnTo>
                <a:lnTo>
                  <a:pt x="1818" y="456"/>
                </a:lnTo>
                <a:lnTo>
                  <a:pt x="1803" y="438"/>
                </a:lnTo>
                <a:lnTo>
                  <a:pt x="1787" y="421"/>
                </a:lnTo>
                <a:lnTo>
                  <a:pt x="1772" y="403"/>
                </a:lnTo>
                <a:lnTo>
                  <a:pt x="1755" y="387"/>
                </a:lnTo>
                <a:lnTo>
                  <a:pt x="1739" y="370"/>
                </a:lnTo>
                <a:lnTo>
                  <a:pt x="1721" y="354"/>
                </a:lnTo>
                <a:lnTo>
                  <a:pt x="1704" y="340"/>
                </a:lnTo>
                <a:lnTo>
                  <a:pt x="1686" y="324"/>
                </a:lnTo>
                <a:lnTo>
                  <a:pt x="1668" y="309"/>
                </a:lnTo>
                <a:lnTo>
                  <a:pt x="1650" y="296"/>
                </a:lnTo>
                <a:lnTo>
                  <a:pt x="1631" y="281"/>
                </a:lnTo>
                <a:lnTo>
                  <a:pt x="1612" y="269"/>
                </a:lnTo>
                <a:lnTo>
                  <a:pt x="1593" y="255"/>
                </a:lnTo>
                <a:lnTo>
                  <a:pt x="1572" y="243"/>
                </a:lnTo>
                <a:lnTo>
                  <a:pt x="1552" y="232"/>
                </a:lnTo>
                <a:lnTo>
                  <a:pt x="1532" y="219"/>
                </a:lnTo>
                <a:lnTo>
                  <a:pt x="1512" y="209"/>
                </a:lnTo>
                <a:lnTo>
                  <a:pt x="1490" y="198"/>
                </a:lnTo>
                <a:lnTo>
                  <a:pt x="1469" y="189"/>
                </a:lnTo>
                <a:lnTo>
                  <a:pt x="1448" y="179"/>
                </a:lnTo>
                <a:lnTo>
                  <a:pt x="1426" y="170"/>
                </a:lnTo>
                <a:lnTo>
                  <a:pt x="1404" y="162"/>
                </a:lnTo>
                <a:lnTo>
                  <a:pt x="1381" y="154"/>
                </a:lnTo>
                <a:lnTo>
                  <a:pt x="1359" y="146"/>
                </a:lnTo>
                <a:lnTo>
                  <a:pt x="1336" y="139"/>
                </a:lnTo>
                <a:lnTo>
                  <a:pt x="1313" y="134"/>
                </a:lnTo>
                <a:lnTo>
                  <a:pt x="1290" y="128"/>
                </a:lnTo>
                <a:lnTo>
                  <a:pt x="1266" y="122"/>
                </a:lnTo>
                <a:lnTo>
                  <a:pt x="1243" y="118"/>
                </a:lnTo>
                <a:lnTo>
                  <a:pt x="1218" y="113"/>
                </a:lnTo>
                <a:lnTo>
                  <a:pt x="1194" y="110"/>
                </a:lnTo>
                <a:lnTo>
                  <a:pt x="1170" y="108"/>
                </a:lnTo>
                <a:lnTo>
                  <a:pt x="1146" y="106"/>
                </a:lnTo>
                <a:lnTo>
                  <a:pt x="1121" y="104"/>
                </a:lnTo>
                <a:lnTo>
                  <a:pt x="1096" y="103"/>
                </a:lnTo>
                <a:lnTo>
                  <a:pt x="1072" y="103"/>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30" name="Oval 29">
            <a:hlinkClick r:id="" action="ppaction://noaction"/>
            <a:extLst>
              <a:ext uri="{FF2B5EF4-FFF2-40B4-BE49-F238E27FC236}">
                <a16:creationId xmlns:a16="http://schemas.microsoft.com/office/drawing/2014/main" id="{A531548F-2042-41C7-8083-26AB21A081F4}"/>
              </a:ext>
            </a:extLst>
          </p:cNvPr>
          <p:cNvSpPr>
            <a:spLocks noChangeAspect="1"/>
          </p:cNvSpPr>
          <p:nvPr/>
        </p:nvSpPr>
        <p:spPr>
          <a:xfrm>
            <a:off x="40721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Oval 30">
            <a:hlinkClick r:id="" action="ppaction://noaction"/>
            <a:extLst>
              <a:ext uri="{FF2B5EF4-FFF2-40B4-BE49-F238E27FC236}">
                <a16:creationId xmlns:a16="http://schemas.microsoft.com/office/drawing/2014/main" id="{9AC60F07-DA30-48A4-A1E0-841ED6B8A2BE}"/>
              </a:ext>
            </a:extLst>
          </p:cNvPr>
          <p:cNvSpPr>
            <a:spLocks noChangeAspect="1"/>
          </p:cNvSpPr>
          <p:nvPr/>
        </p:nvSpPr>
        <p:spPr>
          <a:xfrm>
            <a:off x="55123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5680F645-8355-42E0-9C95-34CD41366FD3}"/>
              </a:ext>
            </a:extLst>
          </p:cNvPr>
          <p:cNvSpPr/>
          <p:nvPr/>
        </p:nvSpPr>
        <p:spPr>
          <a:xfrm rot="10800000">
            <a:off x="398268" y="1430881"/>
            <a:ext cx="3612257" cy="5034592"/>
          </a:xfrm>
          <a:prstGeom prst="rect">
            <a:avLst/>
          </a:prstGeom>
          <a:gradFill>
            <a:gsLst>
              <a:gs pos="0">
                <a:schemeClr val="tx1">
                  <a:lumMod val="47000"/>
                  <a:lumOff val="53000"/>
                  <a:alpha val="0"/>
                </a:schemeClr>
              </a:gs>
              <a:gs pos="100000">
                <a:schemeClr val="tx1">
                  <a:lumMod val="50000"/>
                  <a:alpha val="75000"/>
                </a:schemeClr>
              </a:gs>
            </a:gsLst>
            <a:lin ang="5400000" scaled="0"/>
          </a:gradFill>
          <a:ln w="25400" cap="flat" cmpd="sng" algn="ctr">
            <a:noFill/>
            <a:prstDash val="solid"/>
          </a:ln>
          <a:effectLst/>
        </p:spPr>
        <p:txBody>
          <a:bodyPr lIns="108000" tIns="108000" rIns="108000" bIns="108000" rtlCol="0" anchor="b" anchorCtr="0"/>
          <a:lstStyle/>
          <a:p>
            <a:pPr marL="0" marR="0" lvl="0" indent="0" algn="ctr" defTabSz="948219" rtl="0" eaLnBrk="1" fontAlgn="auto" latinLnBrk="0" hangingPunct="1">
              <a:lnSpc>
                <a:spcPct val="90000"/>
              </a:lnSpc>
              <a:spcBef>
                <a:spcPct val="0"/>
              </a:spcBef>
              <a:spcAft>
                <a:spcPts val="533"/>
              </a:spcAft>
              <a:buClrTx/>
              <a:buSzTx/>
              <a:buFontTx/>
              <a:buNone/>
              <a:tabLst/>
              <a:defRPr/>
            </a:pPr>
            <a:endParaRPr kumimoji="0" lang="en-GB" sz="1100" b="1" i="0" u="none" strike="noStrike" kern="0" cap="none" spc="0" normalizeH="0" baseline="0" noProof="0">
              <a:ln>
                <a:noFill/>
              </a:ln>
              <a:solidFill>
                <a:srgbClr val="FFFFFF"/>
              </a:solidFill>
              <a:effectLst/>
              <a:uLnTx/>
              <a:uFillTx/>
              <a:latin typeface="Arial"/>
              <a:ea typeface="ＭＳ Ｐゴシック" pitchFamily="34" charset="-128"/>
              <a:cs typeface="+mn-cs"/>
            </a:endParaRPr>
          </a:p>
        </p:txBody>
      </p:sp>
      <p:sp>
        <p:nvSpPr>
          <p:cNvPr id="32" name="Oval 31">
            <a:hlinkClick r:id="" action="ppaction://noaction"/>
            <a:extLst>
              <a:ext uri="{FF2B5EF4-FFF2-40B4-BE49-F238E27FC236}">
                <a16:creationId xmlns:a16="http://schemas.microsoft.com/office/drawing/2014/main" id="{C559775C-BF6F-459E-B3BA-F11F0F5ACEDA}"/>
              </a:ext>
            </a:extLst>
          </p:cNvPr>
          <p:cNvSpPr>
            <a:spLocks noChangeAspect="1"/>
          </p:cNvSpPr>
          <p:nvPr/>
        </p:nvSpPr>
        <p:spPr>
          <a:xfrm>
            <a:off x="69525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Oval 32">
            <a:hlinkClick r:id="" action="ppaction://noaction"/>
            <a:extLst>
              <a:ext uri="{FF2B5EF4-FFF2-40B4-BE49-F238E27FC236}">
                <a16:creationId xmlns:a16="http://schemas.microsoft.com/office/drawing/2014/main" id="{5CE84E00-E79C-4AD3-92CE-51F8F3D7FB44}"/>
              </a:ext>
            </a:extLst>
          </p:cNvPr>
          <p:cNvSpPr>
            <a:spLocks noChangeAspect="1"/>
          </p:cNvSpPr>
          <p:nvPr/>
        </p:nvSpPr>
        <p:spPr>
          <a:xfrm>
            <a:off x="83927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Oval 33">
            <a:hlinkClick r:id="" action="ppaction://noaction"/>
            <a:extLst>
              <a:ext uri="{FF2B5EF4-FFF2-40B4-BE49-F238E27FC236}">
                <a16:creationId xmlns:a16="http://schemas.microsoft.com/office/drawing/2014/main" id="{7C746FEB-96C9-48F0-BAEE-D46758B90784}"/>
              </a:ext>
            </a:extLst>
          </p:cNvPr>
          <p:cNvSpPr>
            <a:spLocks noChangeAspect="1"/>
          </p:cNvSpPr>
          <p:nvPr/>
        </p:nvSpPr>
        <p:spPr>
          <a:xfrm>
            <a:off x="983290" y="89377"/>
            <a:ext cx="108000" cy="108000"/>
          </a:xfrm>
          <a:prstGeom prst="ellipse">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Oval 19">
            <a:extLst>
              <a:ext uri="{FF2B5EF4-FFF2-40B4-BE49-F238E27FC236}">
                <a16:creationId xmlns:a16="http://schemas.microsoft.com/office/drawing/2014/main" id="{C660C1E3-C986-B040-8D2C-3B7733751D89}"/>
              </a:ext>
            </a:extLst>
          </p:cNvPr>
          <p:cNvSpPr/>
          <p:nvPr/>
        </p:nvSpPr>
        <p:spPr>
          <a:xfrm>
            <a:off x="1999680" y="1596587"/>
            <a:ext cx="370114" cy="37011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18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FI" sz="1800" b="0" i="0" u="none" strike="noStrike" kern="1200" cap="none" spc="0" normalizeH="0" baseline="0" noProof="0">
                <a:ln>
                  <a:noFill/>
                </a:ln>
                <a:solidFill>
                  <a:srgbClr val="FFFFFF"/>
                </a:solidFill>
                <a:effectLst/>
                <a:uLnTx/>
                <a:uFillTx/>
                <a:latin typeface="Arial"/>
                <a:ea typeface="+mn-ea"/>
                <a:cs typeface="+mn-cs"/>
              </a:rPr>
              <a:t>1</a:t>
            </a:r>
          </a:p>
        </p:txBody>
      </p:sp>
      <p:sp>
        <p:nvSpPr>
          <p:cNvPr id="2" name="TextBox 1">
            <a:extLst>
              <a:ext uri="{FF2B5EF4-FFF2-40B4-BE49-F238E27FC236}">
                <a16:creationId xmlns:a16="http://schemas.microsoft.com/office/drawing/2014/main" id="{35A86F02-3291-4BDF-AA69-22DEAB0B49B9}"/>
              </a:ext>
            </a:extLst>
          </p:cNvPr>
          <p:cNvSpPr txBox="1"/>
          <p:nvPr/>
        </p:nvSpPr>
        <p:spPr>
          <a:xfrm>
            <a:off x="639192" y="2872961"/>
            <a:ext cx="3093670" cy="3477875"/>
          </a:xfrm>
          <a:prstGeom prst="rect">
            <a:avLst/>
          </a:prstGeom>
          <a:noFill/>
        </p:spPr>
        <p:txBody>
          <a:bodyPr wrap="square" rtlCol="0">
            <a:spAutoFit/>
          </a:bodyPr>
          <a:lstStyle/>
          <a:p>
            <a:pPr>
              <a:spcAft>
                <a:spcPts val="300"/>
              </a:spcAft>
            </a:pPr>
            <a:r>
              <a:rPr lang="en-GB" sz="1400" b="1">
                <a:solidFill>
                  <a:schemeClr val="bg1"/>
                </a:solidFill>
              </a:rPr>
              <a:t>Ensure excellent availability and  service transparency</a:t>
            </a:r>
            <a:br>
              <a:rPr lang="en-GB" sz="1400" b="1">
                <a:solidFill>
                  <a:schemeClr val="bg1"/>
                </a:solidFill>
              </a:rPr>
            </a:br>
            <a:endParaRPr lang="en-GB" sz="1400" b="1">
              <a:solidFill>
                <a:schemeClr val="bg1"/>
              </a:solidFill>
            </a:endParaRPr>
          </a:p>
          <a:p>
            <a:pPr marL="171450" lvl="0" indent="-171450">
              <a:spcAft>
                <a:spcPts val="300"/>
              </a:spcAft>
              <a:buClr>
                <a:schemeClr val="bg1"/>
              </a:buClr>
              <a:buFont typeface="Wingdings" pitchFamily="2" charset="2"/>
              <a:buChar char="§"/>
              <a:defRPr/>
            </a:pPr>
            <a:r>
              <a:rPr lang="en-US" sz="1400">
                <a:solidFill>
                  <a:schemeClr val="bg1"/>
                </a:solidFill>
              </a:rPr>
              <a:t>KONE 24/7 Connect</a:t>
            </a:r>
            <a:endParaRPr lang="en-US" sz="1400">
              <a:solidFill>
                <a:schemeClr val="bg1"/>
              </a:solidFill>
              <a:cs typeface="Arial"/>
            </a:endParaRPr>
          </a:p>
          <a:p>
            <a:pPr marL="171450" lvl="0" indent="-171450">
              <a:spcAft>
                <a:spcPts val="300"/>
              </a:spcAft>
              <a:buClr>
                <a:schemeClr val="bg1"/>
              </a:buClr>
              <a:buFont typeface="Wingdings" pitchFamily="2" charset="2"/>
              <a:buChar char="§"/>
              <a:defRPr/>
            </a:pPr>
            <a:r>
              <a:rPr lang="en-US" sz="1400">
                <a:solidFill>
                  <a:schemeClr val="bg1"/>
                </a:solidFill>
                <a:cs typeface="Arial"/>
              </a:rPr>
              <a:t>Operational APIs</a:t>
            </a:r>
          </a:p>
          <a:p>
            <a:pPr marL="325120" lvl="1" indent="-171450">
              <a:spcAft>
                <a:spcPts val="300"/>
              </a:spcAft>
              <a:buClr>
                <a:schemeClr val="bg1"/>
              </a:buClr>
              <a:buFont typeface="System Font Regular"/>
              <a:buChar char="-"/>
              <a:defRPr/>
            </a:pPr>
            <a:r>
              <a:rPr lang="en-US" sz="1400">
                <a:solidFill>
                  <a:schemeClr val="bg1"/>
                </a:solidFill>
                <a:cs typeface="Arial"/>
              </a:rPr>
              <a:t>Equipment Status API</a:t>
            </a:r>
          </a:p>
          <a:p>
            <a:pPr marL="325120" lvl="1" indent="-171450">
              <a:spcAft>
                <a:spcPts val="300"/>
              </a:spcAft>
              <a:buClr>
                <a:schemeClr val="bg1"/>
              </a:buClr>
              <a:buFont typeface="System Font Regular"/>
              <a:buChar char="-"/>
              <a:defRPr/>
            </a:pPr>
            <a:r>
              <a:rPr lang="en-US" sz="1400">
                <a:solidFill>
                  <a:schemeClr val="bg1"/>
                </a:solidFill>
                <a:cs typeface="Arial"/>
              </a:rPr>
              <a:t>Service Info API</a:t>
            </a:r>
          </a:p>
          <a:p>
            <a:pPr marL="325120" lvl="1" indent="-171450">
              <a:spcAft>
                <a:spcPts val="300"/>
              </a:spcAft>
              <a:buClr>
                <a:schemeClr val="tx2"/>
              </a:buClr>
              <a:buFont typeface="System Font Regular"/>
              <a:buChar char="-"/>
              <a:defRPr/>
            </a:pPr>
            <a:endParaRPr lang="en-US" sz="1400">
              <a:solidFill>
                <a:schemeClr val="bg1"/>
              </a:solidFill>
              <a:cs typeface="Arial"/>
            </a:endParaRPr>
          </a:p>
          <a:p>
            <a:pPr>
              <a:spcAft>
                <a:spcPts val="300"/>
              </a:spcAft>
            </a:pPr>
            <a:r>
              <a:rPr lang="en-GB" sz="1400" b="1">
                <a:solidFill>
                  <a:schemeClr val="bg1"/>
                </a:solidFill>
              </a:rPr>
              <a:t>Reduce workload by digitalizing information sharing and monitoring</a:t>
            </a:r>
            <a:br>
              <a:rPr lang="en-GB" sz="1400" b="1">
                <a:solidFill>
                  <a:schemeClr val="bg1"/>
                </a:solidFill>
              </a:rPr>
            </a:br>
            <a:endParaRPr lang="en-GB" sz="1400" b="1">
              <a:solidFill>
                <a:schemeClr val="bg1"/>
              </a:solidFill>
            </a:endParaRPr>
          </a:p>
          <a:p>
            <a:pPr marL="171450" lvl="0" indent="-171450">
              <a:spcAft>
                <a:spcPts val="300"/>
              </a:spcAft>
              <a:buClr>
                <a:schemeClr val="bg1"/>
              </a:buClr>
              <a:buFont typeface="Wingdings" pitchFamily="2" charset="2"/>
              <a:buChar char="§"/>
              <a:defRPr/>
            </a:pPr>
            <a:r>
              <a:rPr lang="en-US" sz="1400">
                <a:solidFill>
                  <a:schemeClr val="bg1"/>
                </a:solidFill>
              </a:rPr>
              <a:t>KONE Information</a:t>
            </a:r>
            <a:endParaRPr lang="en-US" sz="1400">
              <a:solidFill>
                <a:schemeClr val="bg1"/>
              </a:solidFill>
              <a:cs typeface="Arial"/>
            </a:endParaRPr>
          </a:p>
          <a:p>
            <a:endParaRPr lang="fi-FI">
              <a:solidFill>
                <a:schemeClr val="bg1"/>
              </a:solidFill>
            </a:endParaRPr>
          </a:p>
        </p:txBody>
      </p:sp>
      <p:sp>
        <p:nvSpPr>
          <p:cNvPr id="17" name="Text Placeholder 5">
            <a:extLst>
              <a:ext uri="{FF2B5EF4-FFF2-40B4-BE49-F238E27FC236}">
                <a16:creationId xmlns:a16="http://schemas.microsoft.com/office/drawing/2014/main" id="{5CC928C7-F34A-6343-A6BE-4CEA17132EF4}"/>
              </a:ext>
            </a:extLst>
          </p:cNvPr>
          <p:cNvSpPr txBox="1">
            <a:spLocks/>
          </p:cNvSpPr>
          <p:nvPr/>
        </p:nvSpPr>
        <p:spPr>
          <a:xfrm>
            <a:off x="639192" y="2049215"/>
            <a:ext cx="3164156" cy="741232"/>
          </a:xfrm>
          <a:prstGeom prst="rect">
            <a:avLst/>
          </a:prstGeom>
        </p:spPr>
        <p:txBody>
          <a:bodyPr vert="horz" lIns="0" tIns="0" rIns="0" bIns="0" rtlCol="0">
            <a:noAutofit/>
          </a:bodyPr>
          <a:lstStyle>
            <a:lvl1pPr marL="0" indent="0" algn="l" defTabSz="914400" rtl="0" eaLnBrk="1" latinLnBrk="0" hangingPunct="1">
              <a:lnSpc>
                <a:spcPct val="120000"/>
              </a:lnSpc>
              <a:spcBef>
                <a:spcPts val="400"/>
              </a:spcBef>
              <a:buClrTx/>
              <a:buFont typeface="Wingdings" panose="05000000000000000000" pitchFamily="2" charset="2"/>
              <a:buNone/>
              <a:defRPr lang="en-US" sz="1600" kern="1200" noProof="0">
                <a:solidFill>
                  <a:schemeClr val="tx2"/>
                </a:solidFill>
                <a:latin typeface="+mn-lt"/>
                <a:ea typeface="+mn-ea"/>
                <a:cs typeface="+mn-cs"/>
              </a:defRPr>
            </a:lvl1pPr>
            <a:lvl2pPr marL="266620" indent="-266620" algn="l" defTabSz="914400" rtl="0" eaLnBrk="1" latinLnBrk="0" hangingPunct="1">
              <a:lnSpc>
                <a:spcPct val="120000"/>
              </a:lnSpc>
              <a:spcBef>
                <a:spcPts val="400"/>
              </a:spcBef>
              <a:buClrTx/>
              <a:buFont typeface="Wingdings" pitchFamily="2" charset="2"/>
              <a:buChar char="§"/>
              <a:defRPr lang="en-US" sz="1600" kern="1200" noProof="0">
                <a:solidFill>
                  <a:schemeClr val="tx2"/>
                </a:solidFill>
                <a:latin typeface="+mn-lt"/>
                <a:ea typeface="+mn-ea"/>
                <a:cs typeface="+mn-cs"/>
              </a:defRPr>
            </a:lvl2pPr>
            <a:lvl3pPr marL="539588" indent="-272968" algn="l" defTabSz="914400" rtl="0" eaLnBrk="1" latinLnBrk="0" hangingPunct="1">
              <a:lnSpc>
                <a:spcPct val="120000"/>
              </a:lnSpc>
              <a:spcBef>
                <a:spcPts val="400"/>
              </a:spcBef>
              <a:buClrTx/>
              <a:buFont typeface="Wingdings" panose="05000000000000000000" pitchFamily="2" charset="2"/>
              <a:buChar char="§"/>
              <a:defRPr lang="en-US" sz="1400" kern="1200" noProof="0">
                <a:solidFill>
                  <a:schemeClr val="tx2"/>
                </a:solidFill>
                <a:latin typeface="+mn-lt"/>
                <a:ea typeface="+mn-ea"/>
                <a:cs typeface="+mn-cs"/>
              </a:defRPr>
            </a:lvl3pPr>
            <a:lvl4pPr marL="806208" indent="-266620" algn="l" defTabSz="914400" rtl="0" eaLnBrk="1" latinLnBrk="0" hangingPunct="1">
              <a:lnSpc>
                <a:spcPct val="120000"/>
              </a:lnSpc>
              <a:spcBef>
                <a:spcPts val="400"/>
              </a:spcBef>
              <a:buClrTx/>
              <a:buFont typeface="Arial" panose="020B0604020202020204" pitchFamily="34" charset="0"/>
              <a:buChar char="–"/>
              <a:defRPr lang="en-US" sz="1200" kern="1200" noProof="0">
                <a:solidFill>
                  <a:schemeClr val="tx2"/>
                </a:solidFill>
                <a:latin typeface="+mn-lt"/>
                <a:ea typeface="+mn-ea"/>
                <a:cs typeface="+mn-cs"/>
              </a:defRPr>
            </a:lvl4pPr>
            <a:lvl5pPr marL="1071242" indent="-265033" algn="l" defTabSz="914400" rtl="0" eaLnBrk="1" latinLnBrk="0" hangingPunct="1">
              <a:lnSpc>
                <a:spcPct val="120000"/>
              </a:lnSpc>
              <a:spcBef>
                <a:spcPts val="400"/>
              </a:spcBef>
              <a:buClrTx/>
              <a:buFont typeface="Wingdings" panose="05000000000000000000" pitchFamily="2" charset="2"/>
              <a:buChar char="§"/>
              <a:defRPr lang="en-US" sz="1200" kern="1200" noProof="0">
                <a:solidFill>
                  <a:schemeClr val="tx2"/>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48219" rtl="0" eaLnBrk="1" fontAlgn="auto" latinLnBrk="0" hangingPunct="1">
              <a:lnSpc>
                <a:spcPct val="90000"/>
              </a:lnSpc>
              <a:spcBef>
                <a:spcPct val="0"/>
              </a:spcBef>
              <a:buClrTx/>
              <a:buSzTx/>
              <a:buFontTx/>
              <a:buNone/>
              <a:tabLst/>
              <a:defRPr/>
            </a:pPr>
            <a:r>
              <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mn-cs"/>
              </a:rPr>
              <a:t>Improve building </a:t>
            </a:r>
          </a:p>
          <a:p>
            <a:pPr marL="0" marR="0" lvl="0" indent="0" algn="ctr" defTabSz="948219" rtl="0" eaLnBrk="1" fontAlgn="auto" latinLnBrk="0" hangingPunct="1">
              <a:lnSpc>
                <a:spcPct val="90000"/>
              </a:lnSpc>
              <a:spcBef>
                <a:spcPct val="0"/>
              </a:spcBef>
              <a:buClrTx/>
              <a:buSzTx/>
              <a:buFontTx/>
              <a:buNone/>
              <a:tabLst/>
              <a:defRPr/>
            </a:pPr>
            <a:r>
              <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mn-cs"/>
              </a:rPr>
              <a:t>performance and operations</a:t>
            </a:r>
            <a:endParaRPr kumimoji="0" lang="en-GB" sz="1800" b="1" i="0" u="none" strike="noStrike" kern="0" cap="none" spc="0" normalizeH="0" baseline="0" noProof="0">
              <a:ln>
                <a:noFill/>
              </a:ln>
              <a:solidFill>
                <a:srgbClr val="FFFFFF"/>
              </a:solidFill>
              <a:effectLst/>
              <a:uLnTx/>
              <a:uFillTx/>
              <a:latin typeface="Arial"/>
              <a:ea typeface="ＭＳ Ｐゴシック" pitchFamily="34" charset="-128"/>
              <a:cs typeface="+mn-cs"/>
            </a:endParaRPr>
          </a:p>
        </p:txBody>
      </p:sp>
      <p:sp>
        <p:nvSpPr>
          <p:cNvPr id="26" name="Rectangle 25">
            <a:extLst>
              <a:ext uri="{FF2B5EF4-FFF2-40B4-BE49-F238E27FC236}">
                <a16:creationId xmlns:a16="http://schemas.microsoft.com/office/drawing/2014/main" id="{DF3C38A7-4520-4C73-A7A5-B3BBA1258CDD}"/>
              </a:ext>
            </a:extLst>
          </p:cNvPr>
          <p:cNvSpPr/>
          <p:nvPr/>
        </p:nvSpPr>
        <p:spPr>
          <a:xfrm rot="10800000">
            <a:off x="4307186" y="1444709"/>
            <a:ext cx="3600000" cy="4996309"/>
          </a:xfrm>
          <a:prstGeom prst="rect">
            <a:avLst/>
          </a:prstGeom>
          <a:gradFill>
            <a:gsLst>
              <a:gs pos="0">
                <a:schemeClr val="tx1">
                  <a:alpha val="0"/>
                  <a:lumMod val="66000"/>
                  <a:lumOff val="34000"/>
                </a:schemeClr>
              </a:gs>
              <a:gs pos="100000">
                <a:schemeClr val="tx1">
                  <a:lumMod val="50000"/>
                  <a:alpha val="75000"/>
                </a:schemeClr>
              </a:gs>
            </a:gsLst>
            <a:lin ang="5400000" scaled="0"/>
          </a:gradFill>
          <a:ln w="25400" cap="flat" cmpd="sng" algn="ctr">
            <a:noFill/>
            <a:prstDash val="solid"/>
          </a:ln>
          <a:effectLst/>
        </p:spPr>
        <p:txBody>
          <a:bodyPr lIns="108000" tIns="108000" rIns="108000" bIns="108000" rtlCol="0" anchor="b" anchorCtr="0"/>
          <a:lstStyle/>
          <a:p>
            <a:pPr marL="0" marR="0" lvl="0" indent="0" algn="ctr" defTabSz="948219" rtl="0" eaLnBrk="1" fontAlgn="auto" latinLnBrk="0" hangingPunct="1">
              <a:lnSpc>
                <a:spcPct val="90000"/>
              </a:lnSpc>
              <a:spcBef>
                <a:spcPct val="0"/>
              </a:spcBef>
              <a:spcAft>
                <a:spcPts val="533"/>
              </a:spcAft>
              <a:buClrTx/>
              <a:buSzTx/>
              <a:buFontTx/>
              <a:buNone/>
              <a:tabLst/>
              <a:defRPr/>
            </a:pPr>
            <a:endParaRPr kumimoji="0" lang="en-GB" sz="1100" b="1" i="0" u="none" strike="noStrike" kern="0" cap="none" spc="0" normalizeH="0" baseline="0" noProof="0">
              <a:ln>
                <a:noFill/>
              </a:ln>
              <a:solidFill>
                <a:srgbClr val="FFFFFF"/>
              </a:solidFill>
              <a:effectLst/>
              <a:uLnTx/>
              <a:uFillTx/>
              <a:latin typeface="Arial"/>
              <a:ea typeface="ＭＳ Ｐゴシック" pitchFamily="34" charset="-128"/>
              <a:cs typeface="+mn-cs"/>
            </a:endParaRPr>
          </a:p>
        </p:txBody>
      </p:sp>
      <p:sp>
        <p:nvSpPr>
          <p:cNvPr id="18" name="Text Placeholder 5">
            <a:extLst>
              <a:ext uri="{FF2B5EF4-FFF2-40B4-BE49-F238E27FC236}">
                <a16:creationId xmlns:a16="http://schemas.microsoft.com/office/drawing/2014/main" id="{9599870B-20FC-064D-BEE5-3D52BA185C5F}"/>
              </a:ext>
            </a:extLst>
          </p:cNvPr>
          <p:cNvSpPr txBox="1">
            <a:spLocks/>
          </p:cNvSpPr>
          <p:nvPr/>
        </p:nvSpPr>
        <p:spPr>
          <a:xfrm>
            <a:off x="4678384" y="2046223"/>
            <a:ext cx="2823099" cy="741232"/>
          </a:xfrm>
          <a:prstGeom prst="rect">
            <a:avLst/>
          </a:prstGeom>
        </p:spPr>
        <p:txBody>
          <a:bodyPr vert="horz" lIns="0" tIns="0" rIns="0" bIns="0" rtlCol="0" anchor="t">
            <a:noAutofit/>
          </a:bodyPr>
          <a:lstStyle>
            <a:lvl1pPr marL="0" indent="0" algn="l" defTabSz="914400" rtl="0" eaLnBrk="1" latinLnBrk="0" hangingPunct="1">
              <a:lnSpc>
                <a:spcPct val="120000"/>
              </a:lnSpc>
              <a:spcBef>
                <a:spcPts val="400"/>
              </a:spcBef>
              <a:buClrTx/>
              <a:buFont typeface="Wingdings" panose="05000000000000000000" pitchFamily="2" charset="2"/>
              <a:buNone/>
              <a:defRPr lang="en-US" sz="1600" kern="1200" noProof="0">
                <a:solidFill>
                  <a:schemeClr val="tx2"/>
                </a:solidFill>
                <a:latin typeface="+mn-lt"/>
                <a:ea typeface="+mn-ea"/>
                <a:cs typeface="+mn-cs"/>
              </a:defRPr>
            </a:lvl1pPr>
            <a:lvl2pPr marL="266620" indent="-266620" algn="l" defTabSz="914400" rtl="0" eaLnBrk="1" latinLnBrk="0" hangingPunct="1">
              <a:lnSpc>
                <a:spcPct val="120000"/>
              </a:lnSpc>
              <a:spcBef>
                <a:spcPts val="400"/>
              </a:spcBef>
              <a:buClrTx/>
              <a:buFont typeface="Wingdings" pitchFamily="2" charset="2"/>
              <a:buChar char="§"/>
              <a:defRPr lang="en-US" sz="1600" kern="1200" noProof="0">
                <a:solidFill>
                  <a:schemeClr val="tx2"/>
                </a:solidFill>
                <a:latin typeface="+mn-lt"/>
                <a:ea typeface="+mn-ea"/>
                <a:cs typeface="+mn-cs"/>
              </a:defRPr>
            </a:lvl2pPr>
            <a:lvl3pPr marL="539588" indent="-272968" algn="l" defTabSz="914400" rtl="0" eaLnBrk="1" latinLnBrk="0" hangingPunct="1">
              <a:lnSpc>
                <a:spcPct val="120000"/>
              </a:lnSpc>
              <a:spcBef>
                <a:spcPts val="400"/>
              </a:spcBef>
              <a:buClrTx/>
              <a:buFont typeface="Wingdings" panose="05000000000000000000" pitchFamily="2" charset="2"/>
              <a:buChar char="§"/>
              <a:defRPr lang="en-US" sz="1400" kern="1200" noProof="0">
                <a:solidFill>
                  <a:schemeClr val="tx2"/>
                </a:solidFill>
                <a:latin typeface="+mn-lt"/>
                <a:ea typeface="+mn-ea"/>
                <a:cs typeface="+mn-cs"/>
              </a:defRPr>
            </a:lvl3pPr>
            <a:lvl4pPr marL="806208" indent="-266620" algn="l" defTabSz="914400" rtl="0" eaLnBrk="1" latinLnBrk="0" hangingPunct="1">
              <a:lnSpc>
                <a:spcPct val="120000"/>
              </a:lnSpc>
              <a:spcBef>
                <a:spcPts val="400"/>
              </a:spcBef>
              <a:buClrTx/>
              <a:buFont typeface="Arial" panose="020B0604020202020204" pitchFamily="34" charset="0"/>
              <a:buChar char="–"/>
              <a:defRPr lang="en-US" sz="1200" kern="1200" noProof="0">
                <a:solidFill>
                  <a:schemeClr val="tx2"/>
                </a:solidFill>
                <a:latin typeface="+mn-lt"/>
                <a:ea typeface="+mn-ea"/>
                <a:cs typeface="+mn-cs"/>
              </a:defRPr>
            </a:lvl4pPr>
            <a:lvl5pPr marL="1071242" indent="-265033" algn="l" defTabSz="914400" rtl="0" eaLnBrk="1" latinLnBrk="0" hangingPunct="1">
              <a:lnSpc>
                <a:spcPct val="120000"/>
              </a:lnSpc>
              <a:spcBef>
                <a:spcPts val="400"/>
              </a:spcBef>
              <a:buClrTx/>
              <a:buFont typeface="Wingdings" panose="05000000000000000000" pitchFamily="2" charset="2"/>
              <a:buChar char="§"/>
              <a:defRPr lang="en-US" sz="1200" kern="1200" noProof="0">
                <a:solidFill>
                  <a:schemeClr val="tx2"/>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algn="ctr" defTabSz="948219">
              <a:lnSpc>
                <a:spcPct val="90000"/>
              </a:lnSpc>
              <a:spcBef>
                <a:spcPct val="0"/>
              </a:spcBef>
              <a:defRPr/>
            </a:pPr>
            <a:r>
              <a:rPr kumimoji="0" lang="en-US" sz="1800" b="0" i="0" u="none" strike="noStrike" kern="0" cap="none" spc="0" normalizeH="0" baseline="0" noProof="0">
                <a:ln>
                  <a:noFill/>
                </a:ln>
                <a:solidFill>
                  <a:schemeClr val="bg1"/>
                </a:solidFill>
                <a:effectLst/>
                <a:uLnTx/>
                <a:uFillTx/>
                <a:latin typeface="Arial"/>
                <a:ea typeface="ＭＳ Ｐゴシック"/>
                <a:cs typeface="+mn-cs"/>
              </a:rPr>
              <a:t>Create a </a:t>
            </a:r>
            <a:r>
              <a:rPr lang="en-US" sz="1800" kern="0">
                <a:solidFill>
                  <a:schemeClr val="bg1"/>
                </a:solidFill>
                <a:ea typeface="+mn-lt"/>
                <a:cs typeface="+mn-lt"/>
              </a:rPr>
              <a:t>smooth and unique </a:t>
            </a:r>
            <a:r>
              <a:rPr lang="en-US" sz="1800" kern="0">
                <a:solidFill>
                  <a:schemeClr val="bg1"/>
                </a:solidFill>
                <a:latin typeface="Arial"/>
                <a:ea typeface="ＭＳ Ｐゴシック"/>
              </a:rPr>
              <a:t>user</a:t>
            </a:r>
            <a:r>
              <a:rPr kumimoji="0" lang="en-US" sz="1800" b="0" i="0" u="none" strike="noStrike" kern="0" cap="none" spc="0" normalizeH="0" baseline="0" noProof="0">
                <a:ln>
                  <a:noFill/>
                </a:ln>
                <a:solidFill>
                  <a:schemeClr val="bg1"/>
                </a:solidFill>
                <a:effectLst/>
                <a:uLnTx/>
                <a:uFillTx/>
                <a:latin typeface="Arial"/>
                <a:ea typeface="ＭＳ Ｐゴシック"/>
                <a:cs typeface="+mn-cs"/>
              </a:rPr>
              <a:t> experience</a:t>
            </a:r>
            <a:endParaRPr lang="en-US" sz="1800" i="0" u="none" strike="noStrike" kern="0" cap="none" spc="0" normalizeH="0" baseline="0" noProof="0">
              <a:ln>
                <a:noFill/>
              </a:ln>
              <a:solidFill>
                <a:schemeClr val="bg1"/>
              </a:solidFill>
              <a:effectLst/>
              <a:uLnTx/>
              <a:uFillTx/>
              <a:latin typeface="Arial"/>
              <a:ea typeface="ＭＳ Ｐゴシック"/>
              <a:cs typeface="Arial"/>
            </a:endParaRPr>
          </a:p>
        </p:txBody>
      </p:sp>
      <p:sp>
        <p:nvSpPr>
          <p:cNvPr id="25" name="TextBox 24">
            <a:extLst>
              <a:ext uri="{FF2B5EF4-FFF2-40B4-BE49-F238E27FC236}">
                <a16:creationId xmlns:a16="http://schemas.microsoft.com/office/drawing/2014/main" id="{0C33AEAA-D096-4416-9B09-B030203C9431}"/>
              </a:ext>
            </a:extLst>
          </p:cNvPr>
          <p:cNvSpPr txBox="1"/>
          <p:nvPr/>
        </p:nvSpPr>
        <p:spPr>
          <a:xfrm>
            <a:off x="4542258" y="2829876"/>
            <a:ext cx="3359425" cy="3770263"/>
          </a:xfrm>
          <a:prstGeom prst="rect">
            <a:avLst/>
          </a:prstGeom>
          <a:noFill/>
        </p:spPr>
        <p:txBody>
          <a:bodyPr wrap="square" rtlCol="0">
            <a:spAutoFit/>
          </a:bodyPr>
          <a:lstStyle/>
          <a:p>
            <a:pPr>
              <a:spcAft>
                <a:spcPts val="300"/>
              </a:spcAft>
            </a:pPr>
            <a:r>
              <a:rPr lang="en-GB" sz="1400" b="1">
                <a:solidFill>
                  <a:schemeClr val="bg1"/>
                </a:solidFill>
              </a:rPr>
              <a:t>Keep tenants informed and entertained</a:t>
            </a:r>
            <a:br>
              <a:rPr lang="en-GB" sz="1400" b="1">
                <a:solidFill>
                  <a:schemeClr val="bg1"/>
                </a:solidFill>
              </a:rPr>
            </a:br>
            <a:endParaRPr lang="en-GB" sz="1400" b="1">
              <a:solidFill>
                <a:schemeClr val="bg1"/>
              </a:solidFill>
            </a:endParaRPr>
          </a:p>
          <a:p>
            <a:pPr marL="171450" indent="-171450">
              <a:spcAft>
                <a:spcPts val="300"/>
              </a:spcAft>
              <a:buClr>
                <a:schemeClr val="bg1"/>
              </a:buClr>
              <a:buFont typeface="Wingdings" pitchFamily="2" charset="2"/>
              <a:buChar char="§"/>
              <a:defRPr/>
            </a:pPr>
            <a:r>
              <a:rPr lang="en-GB" sz="1400">
                <a:solidFill>
                  <a:schemeClr val="bg1"/>
                </a:solidFill>
              </a:rPr>
              <a:t>KONE Information</a:t>
            </a:r>
          </a:p>
          <a:p>
            <a:pPr marL="171450" indent="-171450">
              <a:spcAft>
                <a:spcPts val="300"/>
              </a:spcAft>
              <a:buClr>
                <a:schemeClr val="bg1"/>
              </a:buClr>
              <a:buFont typeface="Wingdings" pitchFamily="2" charset="2"/>
              <a:buChar char="§"/>
              <a:defRPr/>
            </a:pPr>
            <a:r>
              <a:rPr lang="en-GB" sz="1400">
                <a:solidFill>
                  <a:schemeClr val="bg1"/>
                </a:solidFill>
              </a:rPr>
              <a:t>KONE Elevator Music</a:t>
            </a:r>
          </a:p>
          <a:p>
            <a:pPr>
              <a:spcAft>
                <a:spcPts val="300"/>
              </a:spcAft>
            </a:pPr>
            <a:endParaRPr lang="en-GB" sz="1400" b="1">
              <a:solidFill>
                <a:schemeClr val="bg1"/>
              </a:solidFill>
            </a:endParaRPr>
          </a:p>
          <a:p>
            <a:pPr>
              <a:spcAft>
                <a:spcPts val="300"/>
              </a:spcAft>
            </a:pPr>
            <a:r>
              <a:rPr lang="en-GB" sz="1400" b="1">
                <a:solidFill>
                  <a:schemeClr val="bg1"/>
                </a:solidFill>
              </a:rPr>
              <a:t>Elevate experience with contactless people flow and easy integrations</a:t>
            </a:r>
            <a:br>
              <a:rPr lang="en-GB" sz="1400" b="1">
                <a:solidFill>
                  <a:schemeClr val="bg1"/>
                </a:solidFill>
              </a:rPr>
            </a:br>
            <a:endParaRPr lang="en-GB" sz="1400" b="1">
              <a:solidFill>
                <a:schemeClr val="bg1"/>
              </a:solidFill>
            </a:endParaRPr>
          </a:p>
          <a:p>
            <a:pPr marL="171450" indent="-171450">
              <a:spcAft>
                <a:spcPts val="300"/>
              </a:spcAft>
              <a:buClr>
                <a:schemeClr val="bg1"/>
              </a:buClr>
              <a:buFont typeface="Wingdings" pitchFamily="2" charset="2"/>
              <a:buChar char="§"/>
              <a:defRPr/>
            </a:pPr>
            <a:r>
              <a:rPr lang="en-GB" sz="1400">
                <a:solidFill>
                  <a:schemeClr val="bg1"/>
                </a:solidFill>
              </a:rPr>
              <a:t>KONE Elevator Call</a:t>
            </a:r>
          </a:p>
          <a:p>
            <a:pPr marL="171450" indent="-171450">
              <a:spcAft>
                <a:spcPts val="300"/>
              </a:spcAft>
              <a:buClr>
                <a:schemeClr val="bg1"/>
              </a:buClr>
              <a:buFont typeface="Wingdings" pitchFamily="2" charset="2"/>
              <a:buChar char="§"/>
              <a:defRPr/>
            </a:pPr>
            <a:r>
              <a:rPr lang="en-GB" sz="1400">
                <a:solidFill>
                  <a:schemeClr val="bg1"/>
                </a:solidFill>
              </a:rPr>
              <a:t>Experience APIs</a:t>
            </a:r>
          </a:p>
          <a:p>
            <a:pPr marL="325120" lvl="1" indent="-171450">
              <a:spcAft>
                <a:spcPts val="300"/>
              </a:spcAft>
              <a:buClr>
                <a:schemeClr val="bg1"/>
              </a:buClr>
              <a:buFont typeface="System Font Regular"/>
              <a:buChar char="-"/>
              <a:defRPr/>
            </a:pPr>
            <a:r>
              <a:rPr lang="en-GB" sz="1400">
                <a:solidFill>
                  <a:schemeClr val="bg1"/>
                </a:solidFill>
                <a:cs typeface="Arial"/>
              </a:rPr>
              <a:t>Elevator Call API</a:t>
            </a:r>
          </a:p>
          <a:p>
            <a:pPr marL="325120" lvl="1" indent="-171450">
              <a:spcAft>
                <a:spcPts val="300"/>
              </a:spcAft>
              <a:buClr>
                <a:schemeClr val="bg1"/>
              </a:buClr>
              <a:buFont typeface="System Font Regular"/>
              <a:buChar char="-"/>
              <a:defRPr/>
            </a:pPr>
            <a:r>
              <a:rPr lang="en-GB" sz="1400">
                <a:solidFill>
                  <a:schemeClr val="bg1"/>
                </a:solidFill>
                <a:cs typeface="Arial"/>
              </a:rPr>
              <a:t>Service Robot API</a:t>
            </a:r>
          </a:p>
          <a:p>
            <a:pPr marL="171450" indent="-171450">
              <a:spcAft>
                <a:spcPts val="300"/>
              </a:spcAft>
              <a:buClr>
                <a:schemeClr val="bg1"/>
              </a:buClr>
              <a:buFont typeface="Wingdings" pitchFamily="2" charset="2"/>
              <a:buChar char="§"/>
              <a:defRPr/>
            </a:pPr>
            <a:r>
              <a:rPr lang="en-GB" sz="1400">
                <a:solidFill>
                  <a:schemeClr val="bg1"/>
                </a:solidFill>
              </a:rPr>
              <a:t>Partner Solutions</a:t>
            </a:r>
          </a:p>
          <a:p>
            <a:endParaRPr lang="fi-FI">
              <a:solidFill>
                <a:schemeClr val="bg1"/>
              </a:solidFill>
            </a:endParaRPr>
          </a:p>
        </p:txBody>
      </p:sp>
      <p:sp>
        <p:nvSpPr>
          <p:cNvPr id="21" name="Oval 20">
            <a:extLst>
              <a:ext uri="{FF2B5EF4-FFF2-40B4-BE49-F238E27FC236}">
                <a16:creationId xmlns:a16="http://schemas.microsoft.com/office/drawing/2014/main" id="{5011DE9F-539D-084D-AEE9-45E0CBA27E66}"/>
              </a:ext>
            </a:extLst>
          </p:cNvPr>
          <p:cNvSpPr/>
          <p:nvPr/>
        </p:nvSpPr>
        <p:spPr>
          <a:xfrm>
            <a:off x="5832597" y="1596587"/>
            <a:ext cx="370114" cy="37011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18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FI" sz="1800" b="0" i="0" u="none" strike="noStrike" kern="1200" cap="none" spc="0" normalizeH="0" baseline="0" noProof="0">
                <a:ln>
                  <a:noFill/>
                </a:ln>
                <a:solidFill>
                  <a:srgbClr val="FFFFFF"/>
                </a:solidFill>
                <a:effectLst/>
                <a:uLnTx/>
                <a:uFillTx/>
                <a:latin typeface="Arial"/>
                <a:ea typeface="+mn-ea"/>
                <a:cs typeface="+mn-cs"/>
              </a:rPr>
              <a:t>2</a:t>
            </a:r>
          </a:p>
        </p:txBody>
      </p:sp>
      <p:sp>
        <p:nvSpPr>
          <p:cNvPr id="27" name="Rectangle 26">
            <a:extLst>
              <a:ext uri="{FF2B5EF4-FFF2-40B4-BE49-F238E27FC236}">
                <a16:creationId xmlns:a16="http://schemas.microsoft.com/office/drawing/2014/main" id="{0489E913-A2FA-40FB-99A5-33BA0A353FF6}"/>
              </a:ext>
            </a:extLst>
          </p:cNvPr>
          <p:cNvSpPr/>
          <p:nvPr/>
        </p:nvSpPr>
        <p:spPr>
          <a:xfrm rot="10800000">
            <a:off x="8190093" y="1444708"/>
            <a:ext cx="3600000" cy="4996309"/>
          </a:xfrm>
          <a:prstGeom prst="rect">
            <a:avLst/>
          </a:prstGeom>
          <a:gradFill>
            <a:gsLst>
              <a:gs pos="0">
                <a:schemeClr val="tx1">
                  <a:alpha val="0"/>
                  <a:lumMod val="86000"/>
                  <a:lumOff val="14000"/>
                </a:schemeClr>
              </a:gs>
              <a:gs pos="100000">
                <a:schemeClr val="tx1">
                  <a:lumMod val="50000"/>
                  <a:alpha val="75000"/>
                </a:schemeClr>
              </a:gs>
            </a:gsLst>
            <a:lin ang="5400000" scaled="0"/>
          </a:gradFill>
          <a:ln w="25400" cap="flat" cmpd="sng" algn="ctr">
            <a:noFill/>
            <a:prstDash val="solid"/>
          </a:ln>
          <a:effectLst/>
        </p:spPr>
        <p:txBody>
          <a:bodyPr lIns="108000" tIns="108000" rIns="108000" bIns="108000" rtlCol="0" anchor="b" anchorCtr="0"/>
          <a:lstStyle/>
          <a:p>
            <a:pPr marL="0" marR="0" lvl="0" indent="0" algn="ctr" defTabSz="948219" rtl="0" eaLnBrk="1" fontAlgn="auto" latinLnBrk="0" hangingPunct="1">
              <a:lnSpc>
                <a:spcPct val="90000"/>
              </a:lnSpc>
              <a:spcBef>
                <a:spcPct val="0"/>
              </a:spcBef>
              <a:spcAft>
                <a:spcPts val="533"/>
              </a:spcAft>
              <a:buClrTx/>
              <a:buSzTx/>
              <a:buFontTx/>
              <a:buNone/>
              <a:tabLst/>
              <a:defRPr/>
            </a:pPr>
            <a:endParaRPr kumimoji="0" lang="en-GB" sz="1100" b="1" i="0" u="none" strike="noStrike" kern="0" cap="none" spc="0" normalizeH="0" baseline="0" noProof="0">
              <a:ln>
                <a:noFill/>
              </a:ln>
              <a:solidFill>
                <a:srgbClr val="FFFFFF"/>
              </a:solidFill>
              <a:effectLst/>
              <a:uLnTx/>
              <a:uFillTx/>
              <a:latin typeface="Arial"/>
              <a:ea typeface="ＭＳ Ｐゴシック" pitchFamily="34" charset="-128"/>
              <a:cs typeface="+mn-cs"/>
            </a:endParaRPr>
          </a:p>
        </p:txBody>
      </p:sp>
      <p:sp>
        <p:nvSpPr>
          <p:cNvPr id="19" name="Text Placeholder 5">
            <a:extLst>
              <a:ext uri="{FF2B5EF4-FFF2-40B4-BE49-F238E27FC236}">
                <a16:creationId xmlns:a16="http://schemas.microsoft.com/office/drawing/2014/main" id="{D6DF47C8-E7B7-5E4A-99D8-BE4C66639BF7}"/>
              </a:ext>
            </a:extLst>
          </p:cNvPr>
          <p:cNvSpPr txBox="1">
            <a:spLocks/>
          </p:cNvSpPr>
          <p:nvPr/>
        </p:nvSpPr>
        <p:spPr>
          <a:xfrm>
            <a:off x="8575830" y="2046223"/>
            <a:ext cx="2716566" cy="741232"/>
          </a:xfrm>
          <a:prstGeom prst="rect">
            <a:avLst/>
          </a:prstGeom>
        </p:spPr>
        <p:txBody>
          <a:bodyPr vert="horz" lIns="0" tIns="0" rIns="0" bIns="0" rtlCol="0">
            <a:noAutofit/>
          </a:bodyPr>
          <a:lstStyle>
            <a:lvl1pPr marL="0" indent="0" algn="l" defTabSz="914400" rtl="0" eaLnBrk="1" latinLnBrk="0" hangingPunct="1">
              <a:lnSpc>
                <a:spcPct val="120000"/>
              </a:lnSpc>
              <a:spcBef>
                <a:spcPts val="400"/>
              </a:spcBef>
              <a:buClrTx/>
              <a:buFont typeface="Wingdings" panose="05000000000000000000" pitchFamily="2" charset="2"/>
              <a:buNone/>
              <a:defRPr lang="en-US" sz="1600" kern="1200" noProof="0">
                <a:solidFill>
                  <a:schemeClr val="tx2"/>
                </a:solidFill>
                <a:latin typeface="+mn-lt"/>
                <a:ea typeface="+mn-ea"/>
                <a:cs typeface="+mn-cs"/>
              </a:defRPr>
            </a:lvl1pPr>
            <a:lvl2pPr marL="266620" indent="-266620" algn="l" defTabSz="914400" rtl="0" eaLnBrk="1" latinLnBrk="0" hangingPunct="1">
              <a:lnSpc>
                <a:spcPct val="120000"/>
              </a:lnSpc>
              <a:spcBef>
                <a:spcPts val="400"/>
              </a:spcBef>
              <a:buClrTx/>
              <a:buFont typeface="Wingdings" pitchFamily="2" charset="2"/>
              <a:buChar char="§"/>
              <a:defRPr lang="en-US" sz="1600" kern="1200" noProof="0">
                <a:solidFill>
                  <a:schemeClr val="tx2"/>
                </a:solidFill>
                <a:latin typeface="+mn-lt"/>
                <a:ea typeface="+mn-ea"/>
                <a:cs typeface="+mn-cs"/>
              </a:defRPr>
            </a:lvl2pPr>
            <a:lvl3pPr marL="539588" indent="-272968" algn="l" defTabSz="914400" rtl="0" eaLnBrk="1" latinLnBrk="0" hangingPunct="1">
              <a:lnSpc>
                <a:spcPct val="120000"/>
              </a:lnSpc>
              <a:spcBef>
                <a:spcPts val="400"/>
              </a:spcBef>
              <a:buClrTx/>
              <a:buFont typeface="Wingdings" panose="05000000000000000000" pitchFamily="2" charset="2"/>
              <a:buChar char="§"/>
              <a:defRPr lang="en-US" sz="1400" kern="1200" noProof="0">
                <a:solidFill>
                  <a:schemeClr val="tx2"/>
                </a:solidFill>
                <a:latin typeface="+mn-lt"/>
                <a:ea typeface="+mn-ea"/>
                <a:cs typeface="+mn-cs"/>
              </a:defRPr>
            </a:lvl3pPr>
            <a:lvl4pPr marL="806208" indent="-266620" algn="l" defTabSz="914400" rtl="0" eaLnBrk="1" latinLnBrk="0" hangingPunct="1">
              <a:lnSpc>
                <a:spcPct val="120000"/>
              </a:lnSpc>
              <a:spcBef>
                <a:spcPts val="400"/>
              </a:spcBef>
              <a:buClrTx/>
              <a:buFont typeface="Arial" panose="020B0604020202020204" pitchFamily="34" charset="0"/>
              <a:buChar char="–"/>
              <a:defRPr lang="en-US" sz="1200" kern="1200" noProof="0">
                <a:solidFill>
                  <a:schemeClr val="tx2"/>
                </a:solidFill>
                <a:latin typeface="+mn-lt"/>
                <a:ea typeface="+mn-ea"/>
                <a:cs typeface="+mn-cs"/>
              </a:defRPr>
            </a:lvl4pPr>
            <a:lvl5pPr marL="1071242" indent="-265033" algn="l" defTabSz="914400" rtl="0" eaLnBrk="1" latinLnBrk="0" hangingPunct="1">
              <a:lnSpc>
                <a:spcPct val="120000"/>
              </a:lnSpc>
              <a:spcBef>
                <a:spcPts val="400"/>
              </a:spcBef>
              <a:buClrTx/>
              <a:buFont typeface="Wingdings" panose="05000000000000000000" pitchFamily="2" charset="2"/>
              <a:buChar char="§"/>
              <a:defRPr lang="en-US" sz="1200" kern="1200" noProof="0">
                <a:solidFill>
                  <a:schemeClr val="tx2"/>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marR="0" lvl="0" indent="0" algn="ctr" defTabSz="948219" rtl="0" eaLnBrk="1" fontAlgn="auto" latinLnBrk="0" hangingPunct="1">
              <a:lnSpc>
                <a:spcPct val="90000"/>
              </a:lnSpc>
              <a:spcBef>
                <a:spcPct val="0"/>
              </a:spcBef>
              <a:buClrTx/>
              <a:buSzTx/>
              <a:buFontTx/>
              <a:buNone/>
              <a:tabLst/>
              <a:defRPr/>
            </a:pPr>
            <a:r>
              <a:rPr kumimoji="0" lang="en-US" sz="1800" b="0" i="0" u="none" strike="noStrike" kern="0" cap="none" spc="0" normalizeH="0" baseline="0" noProof="0">
                <a:ln>
                  <a:noFill/>
                </a:ln>
                <a:solidFill>
                  <a:srgbClr val="FFFFFF"/>
                </a:solidFill>
                <a:effectLst/>
                <a:uLnTx/>
                <a:uFillTx/>
                <a:latin typeface="Arial"/>
                <a:ea typeface="ＭＳ Ｐゴシック" pitchFamily="34" charset="-128"/>
                <a:cs typeface="+mn-cs"/>
              </a:rPr>
              <a:t>Make better decisions with insights based on data</a:t>
            </a:r>
            <a:endParaRPr kumimoji="0" lang="en-GB" sz="1800" b="1" i="0" u="none" strike="noStrike" kern="0" cap="none" spc="0" normalizeH="0" baseline="0" noProof="0">
              <a:ln>
                <a:noFill/>
              </a:ln>
              <a:solidFill>
                <a:srgbClr val="FFFFFF"/>
              </a:solidFill>
              <a:effectLst/>
              <a:uLnTx/>
              <a:uFillTx/>
              <a:latin typeface="Arial"/>
              <a:ea typeface="ＭＳ Ｐゴシック" pitchFamily="34" charset="-128"/>
              <a:cs typeface="+mn-cs"/>
            </a:endParaRPr>
          </a:p>
        </p:txBody>
      </p:sp>
      <p:sp>
        <p:nvSpPr>
          <p:cNvPr id="22" name="Oval 21">
            <a:extLst>
              <a:ext uri="{FF2B5EF4-FFF2-40B4-BE49-F238E27FC236}">
                <a16:creationId xmlns:a16="http://schemas.microsoft.com/office/drawing/2014/main" id="{B80FFB4E-74C6-7343-A979-F6E5288AD0CB}"/>
              </a:ext>
            </a:extLst>
          </p:cNvPr>
          <p:cNvSpPr/>
          <p:nvPr/>
        </p:nvSpPr>
        <p:spPr>
          <a:xfrm>
            <a:off x="9805036" y="1596587"/>
            <a:ext cx="370114" cy="37011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18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FI" sz="1800" b="0" i="0" u="none" strike="noStrike" kern="1200" cap="none" spc="0" normalizeH="0" baseline="0" noProof="0">
                <a:ln>
                  <a:noFill/>
                </a:ln>
                <a:solidFill>
                  <a:srgbClr val="FFFFFF"/>
                </a:solidFill>
                <a:effectLst/>
                <a:uLnTx/>
                <a:uFillTx/>
                <a:latin typeface="Arial"/>
                <a:ea typeface="+mn-ea"/>
                <a:cs typeface="+mn-cs"/>
              </a:rPr>
              <a:t>3</a:t>
            </a:r>
          </a:p>
        </p:txBody>
      </p:sp>
      <p:sp>
        <p:nvSpPr>
          <p:cNvPr id="28" name="TextBox 27">
            <a:extLst>
              <a:ext uri="{FF2B5EF4-FFF2-40B4-BE49-F238E27FC236}">
                <a16:creationId xmlns:a16="http://schemas.microsoft.com/office/drawing/2014/main" id="{7600305A-C051-44EF-8445-2F95414D6261}"/>
              </a:ext>
            </a:extLst>
          </p:cNvPr>
          <p:cNvSpPr txBox="1"/>
          <p:nvPr/>
        </p:nvSpPr>
        <p:spPr>
          <a:xfrm>
            <a:off x="8420949" y="2803937"/>
            <a:ext cx="3359425" cy="2323713"/>
          </a:xfrm>
          <a:prstGeom prst="rect">
            <a:avLst/>
          </a:prstGeom>
          <a:noFill/>
        </p:spPr>
        <p:txBody>
          <a:bodyPr wrap="square" rtlCol="0">
            <a:spAutoFit/>
          </a:bodyPr>
          <a:lstStyle/>
          <a:p>
            <a:pPr>
              <a:spcAft>
                <a:spcPts val="300"/>
              </a:spcAft>
            </a:pPr>
            <a:r>
              <a:rPr lang="en-US" sz="1400" b="1">
                <a:solidFill>
                  <a:schemeClr val="bg1"/>
                </a:solidFill>
              </a:rPr>
              <a:t>Base investment decisions on hard data, not guesswork</a:t>
            </a:r>
            <a:br>
              <a:rPr lang="en-US" sz="1400" b="1">
                <a:solidFill>
                  <a:schemeClr val="bg1"/>
                </a:solidFill>
              </a:rPr>
            </a:br>
            <a:endParaRPr lang="en-US" sz="1400" b="1">
              <a:solidFill>
                <a:schemeClr val="bg1"/>
              </a:solidFill>
            </a:endParaRPr>
          </a:p>
          <a:p>
            <a:pPr marL="171450" indent="-171450">
              <a:spcAft>
                <a:spcPts val="300"/>
              </a:spcAft>
              <a:buClr>
                <a:schemeClr val="bg1"/>
              </a:buClr>
              <a:buFont typeface="Wingdings" pitchFamily="2" charset="2"/>
              <a:buChar char="§"/>
              <a:defRPr/>
            </a:pPr>
            <a:r>
              <a:rPr lang="en-US" sz="1400">
                <a:solidFill>
                  <a:schemeClr val="bg1"/>
                </a:solidFill>
              </a:rPr>
              <a:t>KONE 24/7 Connect</a:t>
            </a:r>
          </a:p>
          <a:p>
            <a:pPr marL="171450" indent="-171450">
              <a:spcAft>
                <a:spcPts val="300"/>
              </a:spcAft>
              <a:buClr>
                <a:schemeClr val="bg1"/>
              </a:buClr>
              <a:buFont typeface="Wingdings" pitchFamily="2" charset="2"/>
              <a:buChar char="§"/>
              <a:defRPr/>
            </a:pPr>
            <a:r>
              <a:rPr lang="en-US" sz="1400">
                <a:solidFill>
                  <a:schemeClr val="bg1"/>
                </a:solidFill>
              </a:rPr>
              <a:t>KONE 24/7 Planner</a:t>
            </a:r>
          </a:p>
          <a:p>
            <a:pPr marL="171450" indent="-171450">
              <a:spcAft>
                <a:spcPts val="300"/>
              </a:spcAft>
              <a:buClr>
                <a:schemeClr val="bg1"/>
              </a:buClr>
              <a:buFont typeface="Wingdings" pitchFamily="2" charset="2"/>
              <a:buChar char="§"/>
              <a:defRPr/>
            </a:pPr>
            <a:r>
              <a:rPr lang="en-US" sz="1400">
                <a:solidFill>
                  <a:schemeClr val="bg1"/>
                </a:solidFill>
              </a:rPr>
              <a:t>Operational APIs</a:t>
            </a:r>
          </a:p>
          <a:p>
            <a:pPr marL="325120" lvl="1" indent="-171450">
              <a:spcAft>
                <a:spcPts val="300"/>
              </a:spcAft>
              <a:buClr>
                <a:schemeClr val="bg1"/>
              </a:buClr>
              <a:buFont typeface="System Font Regular"/>
              <a:buChar char="-"/>
              <a:defRPr/>
            </a:pPr>
            <a:r>
              <a:rPr lang="en-US" sz="1400">
                <a:solidFill>
                  <a:schemeClr val="bg1"/>
                </a:solidFill>
                <a:cs typeface="Arial"/>
              </a:rPr>
              <a:t>Equipment Status API</a:t>
            </a:r>
          </a:p>
          <a:p>
            <a:pPr marL="325120" lvl="1" indent="-171450">
              <a:spcAft>
                <a:spcPts val="300"/>
              </a:spcAft>
              <a:buClr>
                <a:schemeClr val="bg1"/>
              </a:buClr>
              <a:buFont typeface="System Font Regular"/>
              <a:buChar char="-"/>
              <a:defRPr/>
            </a:pPr>
            <a:r>
              <a:rPr lang="en-US" sz="1400">
                <a:solidFill>
                  <a:schemeClr val="bg1"/>
                </a:solidFill>
                <a:cs typeface="Arial"/>
              </a:rPr>
              <a:t>Service Info API</a:t>
            </a:r>
          </a:p>
          <a:p>
            <a:endParaRPr lang="fi-FI">
              <a:solidFill>
                <a:schemeClr val="bg1"/>
              </a:solidFill>
            </a:endParaRPr>
          </a:p>
        </p:txBody>
      </p:sp>
      <p:cxnSp>
        <p:nvCxnSpPr>
          <p:cNvPr id="4" name="Straight Connector 3">
            <a:extLst>
              <a:ext uri="{FF2B5EF4-FFF2-40B4-BE49-F238E27FC236}">
                <a16:creationId xmlns:a16="http://schemas.microsoft.com/office/drawing/2014/main" id="{7F3CF8EA-D4EB-458B-80DB-68D7A1234B73}"/>
              </a:ext>
            </a:extLst>
          </p:cNvPr>
          <p:cNvCxnSpPr/>
          <p:nvPr/>
        </p:nvCxnSpPr>
        <p:spPr>
          <a:xfrm>
            <a:off x="803250" y="2690648"/>
            <a:ext cx="2728226" cy="0"/>
          </a:xfrm>
          <a:prstGeom prst="line">
            <a:avLst/>
          </a:prstGeom>
          <a:ln>
            <a:solidFill>
              <a:schemeClr val="bg1"/>
            </a:solidFill>
          </a:ln>
        </p:spPr>
        <p:style>
          <a:lnRef idx="3">
            <a:schemeClr val="accent1"/>
          </a:lnRef>
          <a:fillRef idx="0">
            <a:schemeClr val="accent1"/>
          </a:fillRef>
          <a:effectRef idx="2">
            <a:schemeClr val="accent1"/>
          </a:effectRef>
          <a:fontRef idx="minor">
            <a:schemeClr val="tx1"/>
          </a:fontRef>
        </p:style>
      </p:cxnSp>
      <p:cxnSp>
        <p:nvCxnSpPr>
          <p:cNvPr id="35" name="Straight Connector 34">
            <a:extLst>
              <a:ext uri="{FF2B5EF4-FFF2-40B4-BE49-F238E27FC236}">
                <a16:creationId xmlns:a16="http://schemas.microsoft.com/office/drawing/2014/main" id="{9B7F65B1-A9B0-463C-923A-FEA36BD9E462}"/>
              </a:ext>
            </a:extLst>
          </p:cNvPr>
          <p:cNvCxnSpPr/>
          <p:nvPr/>
        </p:nvCxnSpPr>
        <p:spPr>
          <a:xfrm>
            <a:off x="4678384" y="2685393"/>
            <a:ext cx="2728226" cy="0"/>
          </a:xfrm>
          <a:prstGeom prst="line">
            <a:avLst/>
          </a:prstGeom>
          <a:ln>
            <a:solidFill>
              <a:schemeClr val="bg1"/>
            </a:solidFill>
          </a:ln>
        </p:spPr>
        <p:style>
          <a:lnRef idx="3">
            <a:schemeClr val="accent1"/>
          </a:lnRef>
          <a:fillRef idx="0">
            <a:schemeClr val="accent1"/>
          </a:fillRef>
          <a:effectRef idx="2">
            <a:schemeClr val="accent1"/>
          </a:effectRef>
          <a:fontRef idx="minor">
            <a:schemeClr val="tx1"/>
          </a:fontRef>
        </p:style>
      </p:cxnSp>
      <p:cxnSp>
        <p:nvCxnSpPr>
          <p:cNvPr id="36" name="Straight Connector 35">
            <a:extLst>
              <a:ext uri="{FF2B5EF4-FFF2-40B4-BE49-F238E27FC236}">
                <a16:creationId xmlns:a16="http://schemas.microsoft.com/office/drawing/2014/main" id="{4B4CB8E9-F5F7-43C9-B8E3-816AE70C198F}"/>
              </a:ext>
            </a:extLst>
          </p:cNvPr>
          <p:cNvCxnSpPr/>
          <p:nvPr/>
        </p:nvCxnSpPr>
        <p:spPr>
          <a:xfrm>
            <a:off x="8575830" y="2685393"/>
            <a:ext cx="2728226" cy="0"/>
          </a:xfrm>
          <a:prstGeom prst="line">
            <a:avLst/>
          </a:prstGeom>
          <a:ln>
            <a:solidFill>
              <a:schemeClr val="bg1"/>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41343799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E0FC19B-A3C9-4F04-B43A-89D87D8FFA39}"/>
              </a:ext>
            </a:extLst>
          </p:cNvPr>
          <p:cNvSpPr>
            <a:spLocks noGrp="1"/>
          </p:cNvSpPr>
          <p:nvPr>
            <p:ph type="dt" sz="half" idx="10"/>
          </p:nvPr>
        </p:nvSpPr>
        <p:spPr/>
        <p:txBody>
          <a:bodyPr/>
          <a:lstStyle/>
          <a:p>
            <a:fld id="{22A56343-21CD-4DF6-ACFE-BAD523D69C3E}" type="datetime3">
              <a:rPr lang="en-US" smtClean="0"/>
              <a:t>13 April 2022</a:t>
            </a:fld>
            <a:endParaRPr lang="en-US"/>
          </a:p>
        </p:txBody>
      </p:sp>
      <p:sp>
        <p:nvSpPr>
          <p:cNvPr id="3" name="Footer Placeholder 2">
            <a:extLst>
              <a:ext uri="{FF2B5EF4-FFF2-40B4-BE49-F238E27FC236}">
                <a16:creationId xmlns:a16="http://schemas.microsoft.com/office/drawing/2014/main" id="{E8F5E909-B32F-448B-8A48-32319DEC6C42}"/>
              </a:ext>
            </a:extLst>
          </p:cNvPr>
          <p:cNvSpPr>
            <a:spLocks noGrp="1"/>
          </p:cNvSpPr>
          <p:nvPr>
            <p:ph type="ftr" sz="quarter" idx="11"/>
          </p:nvPr>
        </p:nvSpPr>
        <p:spPr/>
        <p:txBody>
          <a:bodyPr/>
          <a:lstStyle/>
          <a:p>
            <a:r>
              <a:rPr lang="en-US"/>
              <a:t>Confidential  |  © KONE Corporation</a:t>
            </a:r>
          </a:p>
        </p:txBody>
      </p:sp>
      <p:sp>
        <p:nvSpPr>
          <p:cNvPr id="4" name="Slide Number Placeholder 3">
            <a:extLst>
              <a:ext uri="{FF2B5EF4-FFF2-40B4-BE49-F238E27FC236}">
                <a16:creationId xmlns:a16="http://schemas.microsoft.com/office/drawing/2014/main" id="{1A6043ED-3C00-41A3-A66A-54EC7D30E725}"/>
              </a:ext>
            </a:extLst>
          </p:cNvPr>
          <p:cNvSpPr>
            <a:spLocks noGrp="1"/>
          </p:cNvSpPr>
          <p:nvPr>
            <p:ph type="sldNum" sz="quarter" idx="12"/>
          </p:nvPr>
        </p:nvSpPr>
        <p:spPr/>
        <p:txBody>
          <a:bodyPr/>
          <a:lstStyle/>
          <a:p>
            <a:fld id="{604FC64F-66B6-486E-8EFE-9FD96A66D16B}" type="slidenum">
              <a:rPr lang="en-US" smtClean="0"/>
              <a:pPr/>
              <a:t>17</a:t>
            </a:fld>
            <a:endParaRPr lang="en-US"/>
          </a:p>
        </p:txBody>
      </p:sp>
    </p:spTree>
    <p:extLst>
      <p:ext uri="{BB962C8B-B14F-4D97-AF65-F5344CB8AC3E}">
        <p14:creationId xmlns:p14="http://schemas.microsoft.com/office/powerpoint/2010/main" val="1970282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picture containing scene, outdoor, stage, light&#10;&#10;Description automatically generated">
            <a:hlinkClick r:id="rId5" action="ppaction://hlinksldjump"/>
            <a:extLst>
              <a:ext uri="{FF2B5EF4-FFF2-40B4-BE49-F238E27FC236}">
                <a16:creationId xmlns:a16="http://schemas.microsoft.com/office/drawing/2014/main" id="{BCEEE3A8-185E-4F3C-A29E-B1AB074ABA6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0" y="-12533"/>
            <a:ext cx="2461728" cy="6910637"/>
          </a:xfrm>
          <a:prstGeom prst="rect">
            <a:avLst/>
          </a:prstGeom>
          <a:solidFill>
            <a:schemeClr val="bg1">
              <a:lumMod val="75000"/>
            </a:schemeClr>
          </a:solidFill>
        </p:spPr>
      </p:pic>
      <p:pic>
        <p:nvPicPr>
          <p:cNvPr id="11" name="Picture Placeholder 10">
            <a:hlinkClick r:id="rId7" action="ppaction://hlinksldjump"/>
            <a:extLst>
              <a:ext uri="{FF2B5EF4-FFF2-40B4-BE49-F238E27FC236}">
                <a16:creationId xmlns:a16="http://schemas.microsoft.com/office/drawing/2014/main" id="{058FE4C6-A41A-44F1-8ECE-79B695285CAC}"/>
              </a:ext>
            </a:extLst>
          </p:cNvPr>
          <p:cNvPicPr>
            <a:picLocks noGrp="1" noChangeAspect="1"/>
          </p:cNvPicPr>
          <p:nvPr>
            <p:ph type="pic" sz="quarter" idx="18"/>
          </p:nvPr>
        </p:nvPicPr>
        <p:blipFill rotWithShape="1">
          <a:blip r:embed="rId8" cstate="email">
            <a:extLst>
              <a:ext uri="{28A0092B-C50C-407E-A947-70E740481C1C}">
                <a14:useLocalDpi xmlns:a14="http://schemas.microsoft.com/office/drawing/2010/main"/>
              </a:ext>
            </a:extLst>
          </a:blip>
          <a:srcRect b="-38"/>
          <a:stretch/>
        </p:blipFill>
        <p:spPr>
          <a:xfrm>
            <a:off x="2449439" y="-12533"/>
            <a:ext cx="2433332" cy="6910637"/>
          </a:xfrm>
        </p:spPr>
      </p:pic>
      <p:grpSp>
        <p:nvGrpSpPr>
          <p:cNvPr id="22" name="Group 21">
            <a:extLst>
              <a:ext uri="{FF2B5EF4-FFF2-40B4-BE49-F238E27FC236}">
                <a16:creationId xmlns:a16="http://schemas.microsoft.com/office/drawing/2014/main" id="{FB5988BF-A9AC-4A17-AAB1-27B7152C7AAF}"/>
              </a:ext>
            </a:extLst>
          </p:cNvPr>
          <p:cNvGrpSpPr/>
          <p:nvPr/>
        </p:nvGrpSpPr>
        <p:grpSpPr>
          <a:xfrm>
            <a:off x="4864699" y="-12533"/>
            <a:ext cx="2444597" cy="6934113"/>
            <a:chOff x="4871425" y="-12532"/>
            <a:chExt cx="2444597" cy="6870532"/>
          </a:xfrm>
        </p:grpSpPr>
        <p:pic>
          <p:nvPicPr>
            <p:cNvPr id="67" name="Picture Placeholder 10">
              <a:extLst>
                <a:ext uri="{FF2B5EF4-FFF2-40B4-BE49-F238E27FC236}">
                  <a16:creationId xmlns:a16="http://schemas.microsoft.com/office/drawing/2014/main" id="{EC65867F-9463-4766-920D-800785A5787C}"/>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t="-29896" b="-238"/>
            <a:stretch/>
          </p:blipFill>
          <p:spPr>
            <a:xfrm>
              <a:off x="4882690" y="0"/>
              <a:ext cx="2433332" cy="6858000"/>
            </a:xfrm>
            <a:prstGeom prst="rect">
              <a:avLst/>
            </a:prstGeom>
            <a:solidFill>
              <a:schemeClr val="bg1">
                <a:lumMod val="75000"/>
              </a:schemeClr>
            </a:solidFill>
          </p:spPr>
        </p:pic>
        <p:sp>
          <p:nvSpPr>
            <p:cNvPr id="71" name="Rectangle 70">
              <a:extLst>
                <a:ext uri="{FF2B5EF4-FFF2-40B4-BE49-F238E27FC236}">
                  <a16:creationId xmlns:a16="http://schemas.microsoft.com/office/drawing/2014/main" id="{75634ACC-52C9-40BD-B61F-8C3DBE7FFB66}"/>
                </a:ext>
              </a:extLst>
            </p:cNvPr>
            <p:cNvSpPr/>
            <p:nvPr/>
          </p:nvSpPr>
          <p:spPr>
            <a:xfrm>
              <a:off x="4871425" y="-12532"/>
              <a:ext cx="2432308" cy="2131238"/>
            </a:xfrm>
            <a:prstGeom prst="rect">
              <a:avLst/>
            </a:prstGeom>
            <a:gradFill>
              <a:gsLst>
                <a:gs pos="26549">
                  <a:schemeClr val="bg2"/>
                </a:gs>
                <a:gs pos="76000">
                  <a:schemeClr val="bg2">
                    <a:lumMod val="60000"/>
                    <a:lumOff val="40000"/>
                  </a:schemeClr>
                </a:gs>
                <a:gs pos="100000">
                  <a:schemeClr val="bg2">
                    <a:lumMod val="20000"/>
                    <a:lumOff val="8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9" name="Picture Placeholder 10">
            <a:hlinkClick r:id="rId10" action="ppaction://hlinksldjump"/>
            <a:extLst>
              <a:ext uri="{FF2B5EF4-FFF2-40B4-BE49-F238E27FC236}">
                <a16:creationId xmlns:a16="http://schemas.microsoft.com/office/drawing/2014/main" id="{A1B80CED-2B44-4520-99D5-8D590368EE9F}"/>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l="-829"/>
          <a:stretch/>
        </p:blipFill>
        <p:spPr>
          <a:xfrm>
            <a:off x="9699978" y="-21026"/>
            <a:ext cx="2486325" cy="6898104"/>
          </a:xfrm>
          <a:prstGeom prst="rect">
            <a:avLst/>
          </a:prstGeom>
          <a:solidFill>
            <a:schemeClr val="bg1">
              <a:lumMod val="75000"/>
            </a:schemeClr>
          </a:solidFill>
        </p:spPr>
      </p:pic>
      <p:pic>
        <p:nvPicPr>
          <p:cNvPr id="68" name="Picture Placeholder 10">
            <a:hlinkClick r:id="rId12" action="ppaction://hlinksldjump"/>
            <a:extLst>
              <a:ext uri="{FF2B5EF4-FFF2-40B4-BE49-F238E27FC236}">
                <a16:creationId xmlns:a16="http://schemas.microsoft.com/office/drawing/2014/main" id="{DC903F2C-3616-4328-BBCF-ED11C8317545}"/>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7305224" y="-21026"/>
            <a:ext cx="2447418" cy="6910637"/>
          </a:xfrm>
          <a:prstGeom prst="rect">
            <a:avLst/>
          </a:prstGeom>
          <a:solidFill>
            <a:schemeClr val="bg1">
              <a:lumMod val="75000"/>
            </a:schemeClr>
          </a:solidFill>
        </p:spPr>
      </p:pic>
      <p:graphicFrame>
        <p:nvGraphicFramePr>
          <p:cNvPr id="12" name="Object 11" hidden="1">
            <a:extLst>
              <a:ext uri="{FF2B5EF4-FFF2-40B4-BE49-F238E27FC236}">
                <a16:creationId xmlns:a16="http://schemas.microsoft.com/office/drawing/2014/main" id="{3EFBD1DF-1C78-4133-9526-9B8E5F1C3E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98" imgH="499" progId="TCLayout.ActiveDocument.1">
                  <p:embed/>
                </p:oleObj>
              </mc:Choice>
              <mc:Fallback>
                <p:oleObj name="think-cell Slide" r:id="rId14" imgW="498" imgH="499" progId="TCLayout.ActiveDocument.1">
                  <p:embed/>
                  <p:pic>
                    <p:nvPicPr>
                      <p:cNvPr id="12" name="Object 11" hidden="1">
                        <a:extLst>
                          <a:ext uri="{FF2B5EF4-FFF2-40B4-BE49-F238E27FC236}">
                            <a16:creationId xmlns:a16="http://schemas.microsoft.com/office/drawing/2014/main" id="{3EFBD1DF-1C78-4133-9526-9B8E5F1C3EB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14CB729-95EC-4DBC-97A4-86C9FE2F3D79}"/>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a:latin typeface="Arial" panose="020B0604020202020204" pitchFamily="34" charset="0"/>
              <a:ea typeface="+mj-ea"/>
              <a:cs typeface="+mj-cs"/>
              <a:sym typeface="Arial" panose="020B0604020202020204" pitchFamily="34" charset="0"/>
            </a:endParaRP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950243-61E6-48D0-9CD7-E535DEBF2BD9}" type="datetime3">
              <a:rPr kumimoji="0" lang="en-US" sz="700" b="0" i="0" u="none" strike="noStrike" kern="1200" cap="none" spc="0" normalizeH="0" baseline="0" noProof="0" smtClean="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 April 2022</a:t>
            </a:fld>
            <a:endParaRPr kumimoji="0" lang="en-US" sz="700" b="0" i="0" u="none" strike="noStrike" kern="1200" cap="none" spc="0" normalizeH="0" baseline="0" noProof="0">
              <a:ln>
                <a:noFill/>
              </a:ln>
              <a:noFill/>
              <a:effectLst/>
              <a:uLnTx/>
              <a:uFillTx/>
              <a:latin typeface="Arial"/>
              <a:ea typeface="+mn-ea"/>
              <a:cs typeface="+mn-cs"/>
            </a:endParaRPr>
          </a:p>
        </p:txBody>
      </p:sp>
      <p:sp>
        <p:nvSpPr>
          <p:cNvPr id="4" name="Footer Placeholder 3"/>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noFill/>
                <a:effectLst/>
                <a:uLnTx/>
                <a:uFillTx/>
                <a:latin typeface="Arial"/>
                <a:ea typeface="+mn-ea"/>
                <a:cs typeface="+mn-cs"/>
              </a:rPr>
              <a:t>Confidential  |  © KONE Corporation</a:t>
            </a: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4FC64F-66B6-486E-8EFE-9FD96A66D16B}" type="slidenum">
              <a:rPr kumimoji="0" lang="en-US" sz="700" b="0" i="0" u="none" strike="noStrike" kern="1200" cap="none" spc="0" normalizeH="0" baseline="0" noProof="0" smtClean="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700" b="0" i="0" u="none" strike="noStrike" kern="1200" cap="none" spc="0" normalizeH="0" baseline="0" noProof="0">
              <a:ln>
                <a:noFill/>
              </a:ln>
              <a:noFill/>
              <a:effectLst/>
              <a:uLnTx/>
              <a:uFillTx/>
              <a:latin typeface="Arial"/>
              <a:ea typeface="+mn-ea"/>
              <a:cs typeface="+mn-cs"/>
            </a:endParaRPr>
          </a:p>
        </p:txBody>
      </p:sp>
      <p:sp>
        <p:nvSpPr>
          <p:cNvPr id="6" name="Title 5"/>
          <p:cNvSpPr>
            <a:spLocks noGrp="1"/>
          </p:cNvSpPr>
          <p:nvPr>
            <p:ph type="ctrTitle"/>
          </p:nvPr>
        </p:nvSpPr>
        <p:spPr>
          <a:xfrm>
            <a:off x="0" y="-36009"/>
            <a:ext cx="12192000" cy="1656418"/>
          </a:xfrm>
        </p:spPr>
        <p:txBody>
          <a:bodyPr/>
          <a:lstStyle/>
          <a:p>
            <a:r>
              <a:rPr lang="en-US" altLang="en-US" sz="3200"/>
              <a:t>Content</a:t>
            </a:r>
            <a:endParaRPr lang="en-US" sz="3200"/>
          </a:p>
        </p:txBody>
      </p:sp>
      <p:sp>
        <p:nvSpPr>
          <p:cNvPr id="13" name="Rectangle 12">
            <a:extLst>
              <a:ext uri="{FF2B5EF4-FFF2-40B4-BE49-F238E27FC236}">
                <a16:creationId xmlns:a16="http://schemas.microsoft.com/office/drawing/2014/main" id="{37B6E259-A23A-4269-A9EC-10305C150132}"/>
              </a:ext>
            </a:extLst>
          </p:cNvPr>
          <p:cNvSpPr/>
          <p:nvPr/>
        </p:nvSpPr>
        <p:spPr>
          <a:xfrm>
            <a:off x="3313" y="2589403"/>
            <a:ext cx="12188687" cy="4341729"/>
          </a:xfrm>
          <a:prstGeom prst="rect">
            <a:avLst/>
          </a:prstGeom>
          <a:gradFill>
            <a:gsLst>
              <a:gs pos="0">
                <a:schemeClr val="tx1">
                  <a:lumMod val="50000"/>
                  <a:alpha val="0"/>
                </a:schemeClr>
              </a:gs>
              <a:gs pos="100000">
                <a:schemeClr val="tx1">
                  <a:lumMod val="50000"/>
                  <a:alpha val="6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 Placeholder 1">
            <a:extLst>
              <a:ext uri="{FF2B5EF4-FFF2-40B4-BE49-F238E27FC236}">
                <a16:creationId xmlns:a16="http://schemas.microsoft.com/office/drawing/2014/main" id="{7DC754ED-3576-45FF-A713-0B4142E35A56}"/>
              </a:ext>
            </a:extLst>
          </p:cNvPr>
          <p:cNvSpPr>
            <a:spLocks noGrp="1"/>
          </p:cNvSpPr>
          <p:nvPr>
            <p:ph type="body" idx="13"/>
          </p:nvPr>
        </p:nvSpPr>
        <p:spPr>
          <a:xfrm>
            <a:off x="409468" y="405000"/>
            <a:ext cx="10366531" cy="215610"/>
          </a:xfrm>
        </p:spPr>
        <p:txBody>
          <a:bodyPr/>
          <a:lstStyle/>
          <a:p>
            <a:r>
              <a:rPr lang="en-US" dirty="0"/>
              <a:t>KONE Care™ DX</a:t>
            </a:r>
            <a:endParaRPr lang="en-US" strike="sngStrike" dirty="0"/>
          </a:p>
        </p:txBody>
      </p:sp>
      <p:sp>
        <p:nvSpPr>
          <p:cNvPr id="7" name="Text Placeholder 6"/>
          <p:cNvSpPr>
            <a:spLocks noGrp="1"/>
          </p:cNvSpPr>
          <p:nvPr>
            <p:ph type="body" sz="quarter" idx="17"/>
          </p:nvPr>
        </p:nvSpPr>
        <p:spPr/>
        <p:txBody>
          <a:bodyPr/>
          <a:lstStyle/>
          <a:p>
            <a:endParaRPr lang="en-US"/>
          </a:p>
        </p:txBody>
      </p:sp>
      <p:sp>
        <p:nvSpPr>
          <p:cNvPr id="40" name="Rectangle 39">
            <a:hlinkClick r:id="rId7" action="ppaction://hlinksldjump"/>
          </p:cNvPr>
          <p:cNvSpPr/>
          <p:nvPr/>
        </p:nvSpPr>
        <p:spPr>
          <a:xfrm>
            <a:off x="2582600" y="4865941"/>
            <a:ext cx="2225748" cy="86487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lvl="1" algn="ctr"/>
            <a:r>
              <a:rPr lang="en-GB">
                <a:cs typeface="Arial"/>
              </a:rPr>
              <a:t>Intelligently prolong your elevator's life</a:t>
            </a:r>
            <a:endParaRPr lang="en-US"/>
          </a:p>
        </p:txBody>
      </p:sp>
      <p:sp>
        <p:nvSpPr>
          <p:cNvPr id="41" name="Rectangle 40">
            <a:hlinkClick r:id="rId12" action="ppaction://hlinksldjump"/>
          </p:cNvPr>
          <p:cNvSpPr/>
          <p:nvPr/>
        </p:nvSpPr>
        <p:spPr>
          <a:xfrm>
            <a:off x="7430168" y="4865941"/>
            <a:ext cx="2116210" cy="123704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914400" rtl="0" eaLnBrk="1" fontAlgn="auto" latinLnBrk="0" hangingPunct="1">
              <a:lnSpc>
                <a:spcPct val="120000"/>
              </a:lnSpc>
              <a:spcBef>
                <a:spcPts val="0"/>
              </a:spcBef>
              <a:spcAft>
                <a:spcPts val="0"/>
              </a:spcAft>
              <a:buClrTx/>
              <a:buSzTx/>
              <a:buFontTx/>
              <a:buNone/>
              <a:tabLst/>
              <a:defRPr/>
            </a:pPr>
            <a:r>
              <a:rPr lang="en-US">
                <a:solidFill>
                  <a:srgbClr val="FFFFFF"/>
                </a:solidFill>
                <a:latin typeface="Arial"/>
              </a:rPr>
              <a:t>1</a:t>
            </a:r>
            <a:r>
              <a:rPr lang="en-US" baseline="30000">
                <a:solidFill>
                  <a:srgbClr val="FFFFFF"/>
                </a:solidFill>
                <a:latin typeface="Arial"/>
              </a:rPr>
              <a:t>st</a:t>
            </a:r>
            <a:r>
              <a:rPr lang="en-US">
                <a:solidFill>
                  <a:srgbClr val="FFFFFF"/>
                </a:solidFill>
                <a:latin typeface="Arial"/>
              </a:rPr>
              <a:t> carbon neutral elevator maintenance service in the industry</a:t>
            </a: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2" name="Rectangle 41">
            <a:hlinkClick r:id="rId5" action="ppaction://hlinksldjump"/>
          </p:cNvPr>
          <p:cNvSpPr/>
          <p:nvPr/>
        </p:nvSpPr>
        <p:spPr>
          <a:xfrm>
            <a:off x="159797" y="4865941"/>
            <a:ext cx="2152760" cy="86387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lvl="1" algn="ctr"/>
            <a:r>
              <a:rPr lang="en-US"/>
              <a:t>KONE Care™ DX</a:t>
            </a:r>
            <a:br>
              <a:rPr lang="en-US"/>
            </a:br>
            <a:r>
              <a:rPr lang="en-GB" sz="1800" cap="none">
                <a:solidFill>
                  <a:srgbClr val="FFFFFF"/>
                </a:solidFill>
              </a:rPr>
              <a:t>The future of smart and sustainable maintenance</a:t>
            </a:r>
            <a:endParaRPr lang="en-FI" sz="1800" cap="none">
              <a:solidFill>
                <a:srgbClr val="FFFFFF"/>
              </a:solidFill>
            </a:endParaRPr>
          </a:p>
          <a:p>
            <a:pPr marL="0" lvl="1" algn="ctr"/>
            <a:endParaRPr lang="en-US"/>
          </a:p>
        </p:txBody>
      </p:sp>
      <p:sp>
        <p:nvSpPr>
          <p:cNvPr id="34" name="Freeform 6">
            <a:hlinkClick r:id="rId5" action="ppaction://hlinksldjump"/>
          </p:cNvPr>
          <p:cNvSpPr>
            <a:spLocks noChangeAspect="1" noEditPoints="1"/>
          </p:cNvSpPr>
          <p:nvPr/>
        </p:nvSpPr>
        <p:spPr bwMode="auto">
          <a:xfrm>
            <a:off x="966466" y="4143539"/>
            <a:ext cx="432000" cy="432000"/>
          </a:xfrm>
          <a:custGeom>
            <a:avLst/>
            <a:gdLst>
              <a:gd name="T0" fmla="*/ 877 w 2141"/>
              <a:gd name="T1" fmla="*/ 123 h 2143"/>
              <a:gd name="T2" fmla="*/ 673 w 2141"/>
              <a:gd name="T3" fmla="*/ 189 h 2143"/>
              <a:gd name="T4" fmla="*/ 493 w 2141"/>
              <a:gd name="T5" fmla="*/ 296 h 2143"/>
              <a:gd name="T6" fmla="*/ 340 w 2141"/>
              <a:gd name="T7" fmla="*/ 438 h 2143"/>
              <a:gd name="T8" fmla="*/ 221 w 2141"/>
              <a:gd name="T9" fmla="*/ 610 h 2143"/>
              <a:gd name="T10" fmla="*/ 141 w 2141"/>
              <a:gd name="T11" fmla="*/ 806 h 2143"/>
              <a:gd name="T12" fmla="*/ 105 w 2141"/>
              <a:gd name="T13" fmla="*/ 1021 h 2143"/>
              <a:gd name="T14" fmla="*/ 118 w 2141"/>
              <a:gd name="T15" fmla="*/ 1242 h 2143"/>
              <a:gd name="T16" fmla="*/ 180 w 2141"/>
              <a:gd name="T17" fmla="*/ 1448 h 2143"/>
              <a:gd name="T18" fmla="*/ 282 w 2141"/>
              <a:gd name="T19" fmla="*/ 1631 h 2143"/>
              <a:gd name="T20" fmla="*/ 421 w 2141"/>
              <a:gd name="T21" fmla="*/ 1788 h 2143"/>
              <a:gd name="T22" fmla="*/ 590 w 2141"/>
              <a:gd name="T23" fmla="*/ 1911 h 2143"/>
              <a:gd name="T24" fmla="*/ 783 w 2141"/>
              <a:gd name="T25" fmla="*/ 1996 h 2143"/>
              <a:gd name="T26" fmla="*/ 997 w 2141"/>
              <a:gd name="T27" fmla="*/ 2037 h 2143"/>
              <a:gd name="T28" fmla="*/ 1219 w 2141"/>
              <a:gd name="T29" fmla="*/ 2028 h 2143"/>
              <a:gd name="T30" fmla="*/ 1426 w 2141"/>
              <a:gd name="T31" fmla="*/ 1973 h 2143"/>
              <a:gd name="T32" fmla="*/ 1611 w 2141"/>
              <a:gd name="T33" fmla="*/ 1873 h 2143"/>
              <a:gd name="T34" fmla="*/ 1771 w 2141"/>
              <a:gd name="T35" fmla="*/ 1738 h 2143"/>
              <a:gd name="T36" fmla="*/ 1898 w 2141"/>
              <a:gd name="T37" fmla="*/ 1573 h 2143"/>
              <a:gd name="T38" fmla="*/ 1987 w 2141"/>
              <a:gd name="T39" fmla="*/ 1382 h 2143"/>
              <a:gd name="T40" fmla="*/ 2033 w 2141"/>
              <a:gd name="T41" fmla="*/ 1170 h 2143"/>
              <a:gd name="T42" fmla="*/ 2031 w 2141"/>
              <a:gd name="T43" fmla="*/ 948 h 2143"/>
              <a:gd name="T44" fmla="*/ 1979 w 2141"/>
              <a:gd name="T45" fmla="*/ 739 h 2143"/>
              <a:gd name="T46" fmla="*/ 1886 w 2141"/>
              <a:gd name="T47" fmla="*/ 550 h 2143"/>
              <a:gd name="T48" fmla="*/ 1756 w 2141"/>
              <a:gd name="T49" fmla="*/ 388 h 2143"/>
              <a:gd name="T50" fmla="*/ 1592 w 2141"/>
              <a:gd name="T51" fmla="*/ 256 h 2143"/>
              <a:gd name="T52" fmla="*/ 1403 w 2141"/>
              <a:gd name="T53" fmla="*/ 162 h 2143"/>
              <a:gd name="T54" fmla="*/ 1194 w 2141"/>
              <a:gd name="T55" fmla="*/ 111 h 2143"/>
              <a:gd name="T56" fmla="*/ 989 w 2141"/>
              <a:gd name="T57" fmla="*/ 2139 h 2143"/>
              <a:gd name="T58" fmla="*/ 753 w 2141"/>
              <a:gd name="T59" fmla="*/ 2094 h 2143"/>
              <a:gd name="T60" fmla="*/ 538 w 2141"/>
              <a:gd name="T61" fmla="*/ 2001 h 2143"/>
              <a:gd name="T62" fmla="*/ 351 w 2141"/>
              <a:gd name="T63" fmla="*/ 1864 h 2143"/>
              <a:gd name="T64" fmla="*/ 198 w 2141"/>
              <a:gd name="T65" fmla="*/ 1691 h 2143"/>
              <a:gd name="T66" fmla="*/ 84 w 2141"/>
              <a:gd name="T67" fmla="*/ 1488 h 2143"/>
              <a:gd name="T68" fmla="*/ 17 w 2141"/>
              <a:gd name="T69" fmla="*/ 1261 h 2143"/>
              <a:gd name="T70" fmla="*/ 1 w 2141"/>
              <a:gd name="T71" fmla="*/ 1017 h 2143"/>
              <a:gd name="T72" fmla="*/ 41 w 2141"/>
              <a:gd name="T73" fmla="*/ 778 h 2143"/>
              <a:gd name="T74" fmla="*/ 129 w 2141"/>
              <a:gd name="T75" fmla="*/ 561 h 2143"/>
              <a:gd name="T76" fmla="*/ 261 w 2141"/>
              <a:gd name="T77" fmla="*/ 371 h 2143"/>
              <a:gd name="T78" fmla="*/ 431 w 2141"/>
              <a:gd name="T79" fmla="*/ 213 h 2143"/>
              <a:gd name="T80" fmla="*/ 630 w 2141"/>
              <a:gd name="T81" fmla="*/ 95 h 2143"/>
              <a:gd name="T82" fmla="*/ 855 w 2141"/>
              <a:gd name="T83" fmla="*/ 22 h 2143"/>
              <a:gd name="T84" fmla="*/ 1098 w 2141"/>
              <a:gd name="T85" fmla="*/ 0 h 2143"/>
              <a:gd name="T86" fmla="*/ 1338 w 2141"/>
              <a:gd name="T87" fmla="*/ 34 h 2143"/>
              <a:gd name="T88" fmla="*/ 1559 w 2141"/>
              <a:gd name="T89" fmla="*/ 117 h 2143"/>
              <a:gd name="T90" fmla="*/ 1752 w 2141"/>
              <a:gd name="T91" fmla="*/ 245 h 2143"/>
              <a:gd name="T92" fmla="*/ 1913 w 2141"/>
              <a:gd name="T93" fmla="*/ 410 h 2143"/>
              <a:gd name="T94" fmla="*/ 2036 w 2141"/>
              <a:gd name="T95" fmla="*/ 607 h 2143"/>
              <a:gd name="T96" fmla="*/ 2114 w 2141"/>
              <a:gd name="T97" fmla="*/ 830 h 2143"/>
              <a:gd name="T98" fmla="*/ 2141 w 2141"/>
              <a:gd name="T99" fmla="*/ 1071 h 2143"/>
              <a:gd name="T100" fmla="*/ 2114 w 2141"/>
              <a:gd name="T101" fmla="*/ 1313 h 2143"/>
              <a:gd name="T102" fmla="*/ 2036 w 2141"/>
              <a:gd name="T103" fmla="*/ 1536 h 2143"/>
              <a:gd name="T104" fmla="*/ 1913 w 2141"/>
              <a:gd name="T105" fmla="*/ 1733 h 2143"/>
              <a:gd name="T106" fmla="*/ 1752 w 2141"/>
              <a:gd name="T107" fmla="*/ 1898 h 2143"/>
              <a:gd name="T108" fmla="*/ 1559 w 2141"/>
              <a:gd name="T109" fmla="*/ 2025 h 2143"/>
              <a:gd name="T110" fmla="*/ 1338 w 2141"/>
              <a:gd name="T111" fmla="*/ 2109 h 2143"/>
              <a:gd name="T112" fmla="*/ 1098 w 2141"/>
              <a:gd name="T113" fmla="*/ 2143 h 2143"/>
              <a:gd name="T114" fmla="*/ 1216 w 2141"/>
              <a:gd name="T115" fmla="*/ 1604 h 2143"/>
              <a:gd name="T116" fmla="*/ 1089 w 2141"/>
              <a:gd name="T117" fmla="*/ 1600 h 2143"/>
              <a:gd name="T118" fmla="*/ 925 w 2141"/>
              <a:gd name="T119" fmla="*/ 664 h 2143"/>
              <a:gd name="T120" fmla="*/ 917 w 2141"/>
              <a:gd name="T121" fmla="*/ 569 h 2143"/>
              <a:gd name="T122" fmla="*/ 1213 w 2141"/>
              <a:gd name="T123" fmla="*/ 536 h 2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1" h="2143">
                <a:moveTo>
                  <a:pt x="1071" y="104"/>
                </a:moveTo>
                <a:lnTo>
                  <a:pt x="1047" y="104"/>
                </a:lnTo>
                <a:lnTo>
                  <a:pt x="1022" y="105"/>
                </a:lnTo>
                <a:lnTo>
                  <a:pt x="997" y="106"/>
                </a:lnTo>
                <a:lnTo>
                  <a:pt x="972" y="108"/>
                </a:lnTo>
                <a:lnTo>
                  <a:pt x="948" y="111"/>
                </a:lnTo>
                <a:lnTo>
                  <a:pt x="924" y="114"/>
                </a:lnTo>
                <a:lnTo>
                  <a:pt x="900" y="118"/>
                </a:lnTo>
                <a:lnTo>
                  <a:pt x="877" y="123"/>
                </a:lnTo>
                <a:lnTo>
                  <a:pt x="853" y="129"/>
                </a:lnTo>
                <a:lnTo>
                  <a:pt x="829" y="134"/>
                </a:lnTo>
                <a:lnTo>
                  <a:pt x="807" y="140"/>
                </a:lnTo>
                <a:lnTo>
                  <a:pt x="783" y="147"/>
                </a:lnTo>
                <a:lnTo>
                  <a:pt x="761" y="154"/>
                </a:lnTo>
                <a:lnTo>
                  <a:pt x="738" y="162"/>
                </a:lnTo>
                <a:lnTo>
                  <a:pt x="717" y="170"/>
                </a:lnTo>
                <a:lnTo>
                  <a:pt x="694" y="179"/>
                </a:lnTo>
                <a:lnTo>
                  <a:pt x="673" y="189"/>
                </a:lnTo>
                <a:lnTo>
                  <a:pt x="652" y="198"/>
                </a:lnTo>
                <a:lnTo>
                  <a:pt x="631" y="210"/>
                </a:lnTo>
                <a:lnTo>
                  <a:pt x="610" y="220"/>
                </a:lnTo>
                <a:lnTo>
                  <a:pt x="590" y="232"/>
                </a:lnTo>
                <a:lnTo>
                  <a:pt x="569" y="243"/>
                </a:lnTo>
                <a:lnTo>
                  <a:pt x="550" y="256"/>
                </a:lnTo>
                <a:lnTo>
                  <a:pt x="530" y="269"/>
                </a:lnTo>
                <a:lnTo>
                  <a:pt x="511" y="282"/>
                </a:lnTo>
                <a:lnTo>
                  <a:pt x="493" y="296"/>
                </a:lnTo>
                <a:lnTo>
                  <a:pt x="474" y="310"/>
                </a:lnTo>
                <a:lnTo>
                  <a:pt x="456" y="324"/>
                </a:lnTo>
                <a:lnTo>
                  <a:pt x="438" y="339"/>
                </a:lnTo>
                <a:lnTo>
                  <a:pt x="421" y="355"/>
                </a:lnTo>
                <a:lnTo>
                  <a:pt x="404" y="371"/>
                </a:lnTo>
                <a:lnTo>
                  <a:pt x="387" y="388"/>
                </a:lnTo>
                <a:lnTo>
                  <a:pt x="371" y="403"/>
                </a:lnTo>
                <a:lnTo>
                  <a:pt x="356" y="421"/>
                </a:lnTo>
                <a:lnTo>
                  <a:pt x="340" y="438"/>
                </a:lnTo>
                <a:lnTo>
                  <a:pt x="325" y="456"/>
                </a:lnTo>
                <a:lnTo>
                  <a:pt x="311" y="474"/>
                </a:lnTo>
                <a:lnTo>
                  <a:pt x="296" y="492"/>
                </a:lnTo>
                <a:lnTo>
                  <a:pt x="282" y="511"/>
                </a:lnTo>
                <a:lnTo>
                  <a:pt x="269" y="530"/>
                </a:lnTo>
                <a:lnTo>
                  <a:pt x="257" y="550"/>
                </a:lnTo>
                <a:lnTo>
                  <a:pt x="244" y="570"/>
                </a:lnTo>
                <a:lnTo>
                  <a:pt x="232" y="590"/>
                </a:lnTo>
                <a:lnTo>
                  <a:pt x="221" y="610"/>
                </a:lnTo>
                <a:lnTo>
                  <a:pt x="209" y="631"/>
                </a:lnTo>
                <a:lnTo>
                  <a:pt x="199" y="652"/>
                </a:lnTo>
                <a:lnTo>
                  <a:pt x="189" y="673"/>
                </a:lnTo>
                <a:lnTo>
                  <a:pt x="180" y="695"/>
                </a:lnTo>
                <a:lnTo>
                  <a:pt x="171" y="716"/>
                </a:lnTo>
                <a:lnTo>
                  <a:pt x="162" y="739"/>
                </a:lnTo>
                <a:lnTo>
                  <a:pt x="154" y="761"/>
                </a:lnTo>
                <a:lnTo>
                  <a:pt x="147" y="784"/>
                </a:lnTo>
                <a:lnTo>
                  <a:pt x="141" y="806"/>
                </a:lnTo>
                <a:lnTo>
                  <a:pt x="134" y="830"/>
                </a:lnTo>
                <a:lnTo>
                  <a:pt x="128" y="854"/>
                </a:lnTo>
                <a:lnTo>
                  <a:pt x="123" y="876"/>
                </a:lnTo>
                <a:lnTo>
                  <a:pt x="118" y="900"/>
                </a:lnTo>
                <a:lnTo>
                  <a:pt x="115" y="924"/>
                </a:lnTo>
                <a:lnTo>
                  <a:pt x="111" y="948"/>
                </a:lnTo>
                <a:lnTo>
                  <a:pt x="108" y="973"/>
                </a:lnTo>
                <a:lnTo>
                  <a:pt x="106" y="997"/>
                </a:lnTo>
                <a:lnTo>
                  <a:pt x="105" y="1021"/>
                </a:lnTo>
                <a:lnTo>
                  <a:pt x="104" y="1046"/>
                </a:lnTo>
                <a:lnTo>
                  <a:pt x="104" y="1071"/>
                </a:lnTo>
                <a:lnTo>
                  <a:pt x="104" y="1097"/>
                </a:lnTo>
                <a:lnTo>
                  <a:pt x="105" y="1121"/>
                </a:lnTo>
                <a:lnTo>
                  <a:pt x="106" y="1146"/>
                </a:lnTo>
                <a:lnTo>
                  <a:pt x="108" y="1170"/>
                </a:lnTo>
                <a:lnTo>
                  <a:pt x="111" y="1195"/>
                </a:lnTo>
                <a:lnTo>
                  <a:pt x="115" y="1218"/>
                </a:lnTo>
                <a:lnTo>
                  <a:pt x="118" y="1242"/>
                </a:lnTo>
                <a:lnTo>
                  <a:pt x="123" y="1267"/>
                </a:lnTo>
                <a:lnTo>
                  <a:pt x="128" y="1289"/>
                </a:lnTo>
                <a:lnTo>
                  <a:pt x="134" y="1313"/>
                </a:lnTo>
                <a:lnTo>
                  <a:pt x="141" y="1337"/>
                </a:lnTo>
                <a:lnTo>
                  <a:pt x="147" y="1359"/>
                </a:lnTo>
                <a:lnTo>
                  <a:pt x="154" y="1382"/>
                </a:lnTo>
                <a:lnTo>
                  <a:pt x="162" y="1404"/>
                </a:lnTo>
                <a:lnTo>
                  <a:pt x="171" y="1425"/>
                </a:lnTo>
                <a:lnTo>
                  <a:pt x="180" y="1448"/>
                </a:lnTo>
                <a:lnTo>
                  <a:pt x="189" y="1469"/>
                </a:lnTo>
                <a:lnTo>
                  <a:pt x="199" y="1491"/>
                </a:lnTo>
                <a:lnTo>
                  <a:pt x="209" y="1512"/>
                </a:lnTo>
                <a:lnTo>
                  <a:pt x="221" y="1532"/>
                </a:lnTo>
                <a:lnTo>
                  <a:pt x="232" y="1553"/>
                </a:lnTo>
                <a:lnTo>
                  <a:pt x="244" y="1573"/>
                </a:lnTo>
                <a:lnTo>
                  <a:pt x="257" y="1593"/>
                </a:lnTo>
                <a:lnTo>
                  <a:pt x="269" y="1612"/>
                </a:lnTo>
                <a:lnTo>
                  <a:pt x="282" y="1631"/>
                </a:lnTo>
                <a:lnTo>
                  <a:pt x="296" y="1651"/>
                </a:lnTo>
                <a:lnTo>
                  <a:pt x="311" y="1669"/>
                </a:lnTo>
                <a:lnTo>
                  <a:pt x="325" y="1687"/>
                </a:lnTo>
                <a:lnTo>
                  <a:pt x="340" y="1705"/>
                </a:lnTo>
                <a:lnTo>
                  <a:pt x="356" y="1722"/>
                </a:lnTo>
                <a:lnTo>
                  <a:pt x="371" y="1738"/>
                </a:lnTo>
                <a:lnTo>
                  <a:pt x="387" y="1755"/>
                </a:lnTo>
                <a:lnTo>
                  <a:pt x="404" y="1772"/>
                </a:lnTo>
                <a:lnTo>
                  <a:pt x="421" y="1788"/>
                </a:lnTo>
                <a:lnTo>
                  <a:pt x="438" y="1803"/>
                </a:lnTo>
                <a:lnTo>
                  <a:pt x="456" y="1818"/>
                </a:lnTo>
                <a:lnTo>
                  <a:pt x="474" y="1833"/>
                </a:lnTo>
                <a:lnTo>
                  <a:pt x="493" y="1846"/>
                </a:lnTo>
                <a:lnTo>
                  <a:pt x="511" y="1860"/>
                </a:lnTo>
                <a:lnTo>
                  <a:pt x="530" y="1873"/>
                </a:lnTo>
                <a:lnTo>
                  <a:pt x="550" y="1887"/>
                </a:lnTo>
                <a:lnTo>
                  <a:pt x="569" y="1899"/>
                </a:lnTo>
                <a:lnTo>
                  <a:pt x="590" y="1911"/>
                </a:lnTo>
                <a:lnTo>
                  <a:pt x="610" y="1922"/>
                </a:lnTo>
                <a:lnTo>
                  <a:pt x="631" y="1933"/>
                </a:lnTo>
                <a:lnTo>
                  <a:pt x="652" y="1943"/>
                </a:lnTo>
                <a:lnTo>
                  <a:pt x="673" y="1953"/>
                </a:lnTo>
                <a:lnTo>
                  <a:pt x="694" y="1964"/>
                </a:lnTo>
                <a:lnTo>
                  <a:pt x="717" y="1973"/>
                </a:lnTo>
                <a:lnTo>
                  <a:pt x="738" y="1980"/>
                </a:lnTo>
                <a:lnTo>
                  <a:pt x="761" y="1988"/>
                </a:lnTo>
                <a:lnTo>
                  <a:pt x="783" y="1996"/>
                </a:lnTo>
                <a:lnTo>
                  <a:pt x="807" y="2003"/>
                </a:lnTo>
                <a:lnTo>
                  <a:pt x="829" y="2009"/>
                </a:lnTo>
                <a:lnTo>
                  <a:pt x="853" y="2014"/>
                </a:lnTo>
                <a:lnTo>
                  <a:pt x="877" y="2020"/>
                </a:lnTo>
                <a:lnTo>
                  <a:pt x="900" y="2024"/>
                </a:lnTo>
                <a:lnTo>
                  <a:pt x="924" y="2028"/>
                </a:lnTo>
                <a:lnTo>
                  <a:pt x="948" y="2031"/>
                </a:lnTo>
                <a:lnTo>
                  <a:pt x="972" y="2034"/>
                </a:lnTo>
                <a:lnTo>
                  <a:pt x="997" y="2037"/>
                </a:lnTo>
                <a:lnTo>
                  <a:pt x="1022" y="2038"/>
                </a:lnTo>
                <a:lnTo>
                  <a:pt x="1047" y="2039"/>
                </a:lnTo>
                <a:lnTo>
                  <a:pt x="1071" y="2039"/>
                </a:lnTo>
                <a:lnTo>
                  <a:pt x="1096" y="2039"/>
                </a:lnTo>
                <a:lnTo>
                  <a:pt x="1121" y="2038"/>
                </a:lnTo>
                <a:lnTo>
                  <a:pt x="1146" y="2037"/>
                </a:lnTo>
                <a:lnTo>
                  <a:pt x="1170" y="2034"/>
                </a:lnTo>
                <a:lnTo>
                  <a:pt x="1194" y="2031"/>
                </a:lnTo>
                <a:lnTo>
                  <a:pt x="1219" y="2028"/>
                </a:lnTo>
                <a:lnTo>
                  <a:pt x="1242" y="2024"/>
                </a:lnTo>
                <a:lnTo>
                  <a:pt x="1266" y="2020"/>
                </a:lnTo>
                <a:lnTo>
                  <a:pt x="1290" y="2014"/>
                </a:lnTo>
                <a:lnTo>
                  <a:pt x="1312" y="2009"/>
                </a:lnTo>
                <a:lnTo>
                  <a:pt x="1336" y="2003"/>
                </a:lnTo>
                <a:lnTo>
                  <a:pt x="1358" y="1996"/>
                </a:lnTo>
                <a:lnTo>
                  <a:pt x="1381" y="1988"/>
                </a:lnTo>
                <a:lnTo>
                  <a:pt x="1403" y="1980"/>
                </a:lnTo>
                <a:lnTo>
                  <a:pt x="1426" y="1973"/>
                </a:lnTo>
                <a:lnTo>
                  <a:pt x="1447" y="1964"/>
                </a:lnTo>
                <a:lnTo>
                  <a:pt x="1469" y="1953"/>
                </a:lnTo>
                <a:lnTo>
                  <a:pt x="1490" y="1943"/>
                </a:lnTo>
                <a:lnTo>
                  <a:pt x="1511" y="1933"/>
                </a:lnTo>
                <a:lnTo>
                  <a:pt x="1532" y="1922"/>
                </a:lnTo>
                <a:lnTo>
                  <a:pt x="1552" y="1911"/>
                </a:lnTo>
                <a:lnTo>
                  <a:pt x="1572" y="1899"/>
                </a:lnTo>
                <a:lnTo>
                  <a:pt x="1592" y="1887"/>
                </a:lnTo>
                <a:lnTo>
                  <a:pt x="1611" y="1873"/>
                </a:lnTo>
                <a:lnTo>
                  <a:pt x="1631" y="1860"/>
                </a:lnTo>
                <a:lnTo>
                  <a:pt x="1650" y="1846"/>
                </a:lnTo>
                <a:lnTo>
                  <a:pt x="1668" y="1833"/>
                </a:lnTo>
                <a:lnTo>
                  <a:pt x="1686" y="1818"/>
                </a:lnTo>
                <a:lnTo>
                  <a:pt x="1704" y="1803"/>
                </a:lnTo>
                <a:lnTo>
                  <a:pt x="1722" y="1788"/>
                </a:lnTo>
                <a:lnTo>
                  <a:pt x="1739" y="1772"/>
                </a:lnTo>
                <a:lnTo>
                  <a:pt x="1756" y="1755"/>
                </a:lnTo>
                <a:lnTo>
                  <a:pt x="1771" y="1738"/>
                </a:lnTo>
                <a:lnTo>
                  <a:pt x="1787" y="1722"/>
                </a:lnTo>
                <a:lnTo>
                  <a:pt x="1803" y="1705"/>
                </a:lnTo>
                <a:lnTo>
                  <a:pt x="1817" y="1687"/>
                </a:lnTo>
                <a:lnTo>
                  <a:pt x="1832" y="1669"/>
                </a:lnTo>
                <a:lnTo>
                  <a:pt x="1847" y="1651"/>
                </a:lnTo>
                <a:lnTo>
                  <a:pt x="1860" y="1631"/>
                </a:lnTo>
                <a:lnTo>
                  <a:pt x="1874" y="1612"/>
                </a:lnTo>
                <a:lnTo>
                  <a:pt x="1886" y="1593"/>
                </a:lnTo>
                <a:lnTo>
                  <a:pt x="1898" y="1573"/>
                </a:lnTo>
                <a:lnTo>
                  <a:pt x="1911" y="1553"/>
                </a:lnTo>
                <a:lnTo>
                  <a:pt x="1922" y="1532"/>
                </a:lnTo>
                <a:lnTo>
                  <a:pt x="1932" y="1512"/>
                </a:lnTo>
                <a:lnTo>
                  <a:pt x="1943" y="1491"/>
                </a:lnTo>
                <a:lnTo>
                  <a:pt x="1954" y="1469"/>
                </a:lnTo>
                <a:lnTo>
                  <a:pt x="1963" y="1448"/>
                </a:lnTo>
                <a:lnTo>
                  <a:pt x="1972" y="1425"/>
                </a:lnTo>
                <a:lnTo>
                  <a:pt x="1979" y="1404"/>
                </a:lnTo>
                <a:lnTo>
                  <a:pt x="1987" y="1382"/>
                </a:lnTo>
                <a:lnTo>
                  <a:pt x="1995" y="1359"/>
                </a:lnTo>
                <a:lnTo>
                  <a:pt x="2002" y="1337"/>
                </a:lnTo>
                <a:lnTo>
                  <a:pt x="2009" y="1313"/>
                </a:lnTo>
                <a:lnTo>
                  <a:pt x="2014" y="1289"/>
                </a:lnTo>
                <a:lnTo>
                  <a:pt x="2019" y="1267"/>
                </a:lnTo>
                <a:lnTo>
                  <a:pt x="2023" y="1242"/>
                </a:lnTo>
                <a:lnTo>
                  <a:pt x="2028" y="1218"/>
                </a:lnTo>
                <a:lnTo>
                  <a:pt x="2031" y="1195"/>
                </a:lnTo>
                <a:lnTo>
                  <a:pt x="2033" y="1170"/>
                </a:lnTo>
                <a:lnTo>
                  <a:pt x="2036" y="1146"/>
                </a:lnTo>
                <a:lnTo>
                  <a:pt x="2038" y="1121"/>
                </a:lnTo>
                <a:lnTo>
                  <a:pt x="2038" y="1097"/>
                </a:lnTo>
                <a:lnTo>
                  <a:pt x="2039" y="1071"/>
                </a:lnTo>
                <a:lnTo>
                  <a:pt x="2038" y="1046"/>
                </a:lnTo>
                <a:lnTo>
                  <a:pt x="2038" y="1021"/>
                </a:lnTo>
                <a:lnTo>
                  <a:pt x="2036" y="997"/>
                </a:lnTo>
                <a:lnTo>
                  <a:pt x="2033" y="973"/>
                </a:lnTo>
                <a:lnTo>
                  <a:pt x="2031" y="948"/>
                </a:lnTo>
                <a:lnTo>
                  <a:pt x="2028" y="924"/>
                </a:lnTo>
                <a:lnTo>
                  <a:pt x="2023" y="900"/>
                </a:lnTo>
                <a:lnTo>
                  <a:pt x="2019" y="876"/>
                </a:lnTo>
                <a:lnTo>
                  <a:pt x="2014" y="854"/>
                </a:lnTo>
                <a:lnTo>
                  <a:pt x="2009" y="830"/>
                </a:lnTo>
                <a:lnTo>
                  <a:pt x="2002" y="806"/>
                </a:lnTo>
                <a:lnTo>
                  <a:pt x="1995" y="784"/>
                </a:lnTo>
                <a:lnTo>
                  <a:pt x="1987" y="761"/>
                </a:lnTo>
                <a:lnTo>
                  <a:pt x="1979" y="739"/>
                </a:lnTo>
                <a:lnTo>
                  <a:pt x="1972" y="716"/>
                </a:lnTo>
                <a:lnTo>
                  <a:pt x="1963" y="695"/>
                </a:lnTo>
                <a:lnTo>
                  <a:pt x="1954" y="673"/>
                </a:lnTo>
                <a:lnTo>
                  <a:pt x="1943" y="652"/>
                </a:lnTo>
                <a:lnTo>
                  <a:pt x="1932" y="631"/>
                </a:lnTo>
                <a:lnTo>
                  <a:pt x="1922" y="610"/>
                </a:lnTo>
                <a:lnTo>
                  <a:pt x="1911" y="590"/>
                </a:lnTo>
                <a:lnTo>
                  <a:pt x="1898" y="570"/>
                </a:lnTo>
                <a:lnTo>
                  <a:pt x="1886" y="550"/>
                </a:lnTo>
                <a:lnTo>
                  <a:pt x="1874" y="530"/>
                </a:lnTo>
                <a:lnTo>
                  <a:pt x="1860" y="511"/>
                </a:lnTo>
                <a:lnTo>
                  <a:pt x="1847" y="492"/>
                </a:lnTo>
                <a:lnTo>
                  <a:pt x="1832" y="474"/>
                </a:lnTo>
                <a:lnTo>
                  <a:pt x="1817" y="456"/>
                </a:lnTo>
                <a:lnTo>
                  <a:pt x="1803" y="438"/>
                </a:lnTo>
                <a:lnTo>
                  <a:pt x="1787" y="421"/>
                </a:lnTo>
                <a:lnTo>
                  <a:pt x="1771" y="403"/>
                </a:lnTo>
                <a:lnTo>
                  <a:pt x="1756" y="388"/>
                </a:lnTo>
                <a:lnTo>
                  <a:pt x="1739" y="371"/>
                </a:lnTo>
                <a:lnTo>
                  <a:pt x="1722" y="355"/>
                </a:lnTo>
                <a:lnTo>
                  <a:pt x="1704" y="339"/>
                </a:lnTo>
                <a:lnTo>
                  <a:pt x="1686" y="324"/>
                </a:lnTo>
                <a:lnTo>
                  <a:pt x="1668" y="310"/>
                </a:lnTo>
                <a:lnTo>
                  <a:pt x="1650" y="296"/>
                </a:lnTo>
                <a:lnTo>
                  <a:pt x="1631" y="282"/>
                </a:lnTo>
                <a:lnTo>
                  <a:pt x="1611" y="269"/>
                </a:lnTo>
                <a:lnTo>
                  <a:pt x="1592" y="256"/>
                </a:lnTo>
                <a:lnTo>
                  <a:pt x="1572" y="243"/>
                </a:lnTo>
                <a:lnTo>
                  <a:pt x="1552" y="232"/>
                </a:lnTo>
                <a:lnTo>
                  <a:pt x="1532" y="220"/>
                </a:lnTo>
                <a:lnTo>
                  <a:pt x="1511" y="210"/>
                </a:lnTo>
                <a:lnTo>
                  <a:pt x="1490" y="198"/>
                </a:lnTo>
                <a:lnTo>
                  <a:pt x="1469" y="189"/>
                </a:lnTo>
                <a:lnTo>
                  <a:pt x="1447" y="179"/>
                </a:lnTo>
                <a:lnTo>
                  <a:pt x="1426" y="170"/>
                </a:lnTo>
                <a:lnTo>
                  <a:pt x="1403" y="162"/>
                </a:lnTo>
                <a:lnTo>
                  <a:pt x="1381" y="154"/>
                </a:lnTo>
                <a:lnTo>
                  <a:pt x="1358" y="147"/>
                </a:lnTo>
                <a:lnTo>
                  <a:pt x="1336" y="140"/>
                </a:lnTo>
                <a:lnTo>
                  <a:pt x="1312" y="134"/>
                </a:lnTo>
                <a:lnTo>
                  <a:pt x="1290" y="129"/>
                </a:lnTo>
                <a:lnTo>
                  <a:pt x="1266" y="123"/>
                </a:lnTo>
                <a:lnTo>
                  <a:pt x="1242" y="118"/>
                </a:lnTo>
                <a:lnTo>
                  <a:pt x="1219" y="114"/>
                </a:lnTo>
                <a:lnTo>
                  <a:pt x="1194" y="111"/>
                </a:lnTo>
                <a:lnTo>
                  <a:pt x="1170" y="108"/>
                </a:lnTo>
                <a:lnTo>
                  <a:pt x="1146" y="106"/>
                </a:lnTo>
                <a:lnTo>
                  <a:pt x="1121" y="105"/>
                </a:lnTo>
                <a:lnTo>
                  <a:pt x="1096" y="104"/>
                </a:lnTo>
                <a:lnTo>
                  <a:pt x="1071" y="104"/>
                </a:lnTo>
                <a:close/>
                <a:moveTo>
                  <a:pt x="1071" y="2143"/>
                </a:moveTo>
                <a:lnTo>
                  <a:pt x="1043" y="2143"/>
                </a:lnTo>
                <a:lnTo>
                  <a:pt x="1016" y="2141"/>
                </a:lnTo>
                <a:lnTo>
                  <a:pt x="989" y="2139"/>
                </a:lnTo>
                <a:lnTo>
                  <a:pt x="962" y="2137"/>
                </a:lnTo>
                <a:lnTo>
                  <a:pt x="935" y="2134"/>
                </a:lnTo>
                <a:lnTo>
                  <a:pt x="908" y="2130"/>
                </a:lnTo>
                <a:lnTo>
                  <a:pt x="882" y="2126"/>
                </a:lnTo>
                <a:lnTo>
                  <a:pt x="855" y="2121"/>
                </a:lnTo>
                <a:lnTo>
                  <a:pt x="829" y="2116"/>
                </a:lnTo>
                <a:lnTo>
                  <a:pt x="803" y="2109"/>
                </a:lnTo>
                <a:lnTo>
                  <a:pt x="779" y="2102"/>
                </a:lnTo>
                <a:lnTo>
                  <a:pt x="753" y="2094"/>
                </a:lnTo>
                <a:lnTo>
                  <a:pt x="728" y="2086"/>
                </a:lnTo>
                <a:lnTo>
                  <a:pt x="703" y="2077"/>
                </a:lnTo>
                <a:lnTo>
                  <a:pt x="679" y="2068"/>
                </a:lnTo>
                <a:lnTo>
                  <a:pt x="655" y="2058"/>
                </a:lnTo>
                <a:lnTo>
                  <a:pt x="630" y="2048"/>
                </a:lnTo>
                <a:lnTo>
                  <a:pt x="608" y="2037"/>
                </a:lnTo>
                <a:lnTo>
                  <a:pt x="584" y="2025"/>
                </a:lnTo>
                <a:lnTo>
                  <a:pt x="562" y="2013"/>
                </a:lnTo>
                <a:lnTo>
                  <a:pt x="538" y="2001"/>
                </a:lnTo>
                <a:lnTo>
                  <a:pt x="517" y="1987"/>
                </a:lnTo>
                <a:lnTo>
                  <a:pt x="494" y="1974"/>
                </a:lnTo>
                <a:lnTo>
                  <a:pt x="473" y="1959"/>
                </a:lnTo>
                <a:lnTo>
                  <a:pt x="451" y="1944"/>
                </a:lnTo>
                <a:lnTo>
                  <a:pt x="431" y="1930"/>
                </a:lnTo>
                <a:lnTo>
                  <a:pt x="411" y="1914"/>
                </a:lnTo>
                <a:lnTo>
                  <a:pt x="390" y="1898"/>
                </a:lnTo>
                <a:lnTo>
                  <a:pt x="370" y="1881"/>
                </a:lnTo>
                <a:lnTo>
                  <a:pt x="351" y="1864"/>
                </a:lnTo>
                <a:lnTo>
                  <a:pt x="333" y="1846"/>
                </a:lnTo>
                <a:lnTo>
                  <a:pt x="314" y="1828"/>
                </a:lnTo>
                <a:lnTo>
                  <a:pt x="296" y="1810"/>
                </a:lnTo>
                <a:lnTo>
                  <a:pt x="279" y="1791"/>
                </a:lnTo>
                <a:lnTo>
                  <a:pt x="261" y="1772"/>
                </a:lnTo>
                <a:lnTo>
                  <a:pt x="245" y="1752"/>
                </a:lnTo>
                <a:lnTo>
                  <a:pt x="228" y="1733"/>
                </a:lnTo>
                <a:lnTo>
                  <a:pt x="213" y="1711"/>
                </a:lnTo>
                <a:lnTo>
                  <a:pt x="198" y="1691"/>
                </a:lnTo>
                <a:lnTo>
                  <a:pt x="183" y="1670"/>
                </a:lnTo>
                <a:lnTo>
                  <a:pt x="169" y="1648"/>
                </a:lnTo>
                <a:lnTo>
                  <a:pt x="155" y="1627"/>
                </a:lnTo>
                <a:lnTo>
                  <a:pt x="142" y="1604"/>
                </a:lnTo>
                <a:lnTo>
                  <a:pt x="129" y="1582"/>
                </a:lnTo>
                <a:lnTo>
                  <a:pt x="117" y="1558"/>
                </a:lnTo>
                <a:lnTo>
                  <a:pt x="106" y="1536"/>
                </a:lnTo>
                <a:lnTo>
                  <a:pt x="95" y="1512"/>
                </a:lnTo>
                <a:lnTo>
                  <a:pt x="84" y="1488"/>
                </a:lnTo>
                <a:lnTo>
                  <a:pt x="74" y="1464"/>
                </a:lnTo>
                <a:lnTo>
                  <a:pt x="65" y="1439"/>
                </a:lnTo>
                <a:lnTo>
                  <a:pt x="56" y="1414"/>
                </a:lnTo>
                <a:lnTo>
                  <a:pt x="48" y="1389"/>
                </a:lnTo>
                <a:lnTo>
                  <a:pt x="41" y="1365"/>
                </a:lnTo>
                <a:lnTo>
                  <a:pt x="34" y="1339"/>
                </a:lnTo>
                <a:lnTo>
                  <a:pt x="28" y="1313"/>
                </a:lnTo>
                <a:lnTo>
                  <a:pt x="21" y="1287"/>
                </a:lnTo>
                <a:lnTo>
                  <a:pt x="17" y="1261"/>
                </a:lnTo>
                <a:lnTo>
                  <a:pt x="12" y="1234"/>
                </a:lnTo>
                <a:lnTo>
                  <a:pt x="9" y="1208"/>
                </a:lnTo>
                <a:lnTo>
                  <a:pt x="6" y="1181"/>
                </a:lnTo>
                <a:lnTo>
                  <a:pt x="3" y="1154"/>
                </a:lnTo>
                <a:lnTo>
                  <a:pt x="1" y="1126"/>
                </a:lnTo>
                <a:lnTo>
                  <a:pt x="0" y="1099"/>
                </a:lnTo>
                <a:lnTo>
                  <a:pt x="0" y="1071"/>
                </a:lnTo>
                <a:lnTo>
                  <a:pt x="0" y="1044"/>
                </a:lnTo>
                <a:lnTo>
                  <a:pt x="1" y="1017"/>
                </a:lnTo>
                <a:lnTo>
                  <a:pt x="3" y="989"/>
                </a:lnTo>
                <a:lnTo>
                  <a:pt x="6" y="962"/>
                </a:lnTo>
                <a:lnTo>
                  <a:pt x="9" y="935"/>
                </a:lnTo>
                <a:lnTo>
                  <a:pt x="12" y="909"/>
                </a:lnTo>
                <a:lnTo>
                  <a:pt x="17" y="882"/>
                </a:lnTo>
                <a:lnTo>
                  <a:pt x="21" y="856"/>
                </a:lnTo>
                <a:lnTo>
                  <a:pt x="28" y="830"/>
                </a:lnTo>
                <a:lnTo>
                  <a:pt x="34" y="804"/>
                </a:lnTo>
                <a:lnTo>
                  <a:pt x="41" y="778"/>
                </a:lnTo>
                <a:lnTo>
                  <a:pt x="48" y="753"/>
                </a:lnTo>
                <a:lnTo>
                  <a:pt x="56" y="729"/>
                </a:lnTo>
                <a:lnTo>
                  <a:pt x="65" y="704"/>
                </a:lnTo>
                <a:lnTo>
                  <a:pt x="74" y="679"/>
                </a:lnTo>
                <a:lnTo>
                  <a:pt x="84" y="654"/>
                </a:lnTo>
                <a:lnTo>
                  <a:pt x="95" y="631"/>
                </a:lnTo>
                <a:lnTo>
                  <a:pt x="106" y="607"/>
                </a:lnTo>
                <a:lnTo>
                  <a:pt x="117" y="585"/>
                </a:lnTo>
                <a:lnTo>
                  <a:pt x="129" y="561"/>
                </a:lnTo>
                <a:lnTo>
                  <a:pt x="142" y="538"/>
                </a:lnTo>
                <a:lnTo>
                  <a:pt x="155" y="516"/>
                </a:lnTo>
                <a:lnTo>
                  <a:pt x="169" y="494"/>
                </a:lnTo>
                <a:lnTo>
                  <a:pt x="183" y="473"/>
                </a:lnTo>
                <a:lnTo>
                  <a:pt x="198" y="452"/>
                </a:lnTo>
                <a:lnTo>
                  <a:pt x="213" y="430"/>
                </a:lnTo>
                <a:lnTo>
                  <a:pt x="228" y="410"/>
                </a:lnTo>
                <a:lnTo>
                  <a:pt x="245" y="390"/>
                </a:lnTo>
                <a:lnTo>
                  <a:pt x="261" y="371"/>
                </a:lnTo>
                <a:lnTo>
                  <a:pt x="279" y="351"/>
                </a:lnTo>
                <a:lnTo>
                  <a:pt x="296" y="332"/>
                </a:lnTo>
                <a:lnTo>
                  <a:pt x="314" y="314"/>
                </a:lnTo>
                <a:lnTo>
                  <a:pt x="333" y="296"/>
                </a:lnTo>
                <a:lnTo>
                  <a:pt x="351" y="278"/>
                </a:lnTo>
                <a:lnTo>
                  <a:pt x="370" y="261"/>
                </a:lnTo>
                <a:lnTo>
                  <a:pt x="390" y="245"/>
                </a:lnTo>
                <a:lnTo>
                  <a:pt x="411" y="229"/>
                </a:lnTo>
                <a:lnTo>
                  <a:pt x="431" y="213"/>
                </a:lnTo>
                <a:lnTo>
                  <a:pt x="451" y="198"/>
                </a:lnTo>
                <a:lnTo>
                  <a:pt x="473" y="184"/>
                </a:lnTo>
                <a:lnTo>
                  <a:pt x="494" y="169"/>
                </a:lnTo>
                <a:lnTo>
                  <a:pt x="517" y="156"/>
                </a:lnTo>
                <a:lnTo>
                  <a:pt x="538" y="142"/>
                </a:lnTo>
                <a:lnTo>
                  <a:pt x="562" y="130"/>
                </a:lnTo>
                <a:lnTo>
                  <a:pt x="584" y="117"/>
                </a:lnTo>
                <a:lnTo>
                  <a:pt x="608" y="106"/>
                </a:lnTo>
                <a:lnTo>
                  <a:pt x="630" y="95"/>
                </a:lnTo>
                <a:lnTo>
                  <a:pt x="655" y="85"/>
                </a:lnTo>
                <a:lnTo>
                  <a:pt x="679" y="75"/>
                </a:lnTo>
                <a:lnTo>
                  <a:pt x="703" y="66"/>
                </a:lnTo>
                <a:lnTo>
                  <a:pt x="728" y="57"/>
                </a:lnTo>
                <a:lnTo>
                  <a:pt x="753" y="49"/>
                </a:lnTo>
                <a:lnTo>
                  <a:pt x="779" y="41"/>
                </a:lnTo>
                <a:lnTo>
                  <a:pt x="803" y="34"/>
                </a:lnTo>
                <a:lnTo>
                  <a:pt x="829" y="27"/>
                </a:lnTo>
                <a:lnTo>
                  <a:pt x="855" y="22"/>
                </a:lnTo>
                <a:lnTo>
                  <a:pt x="882" y="17"/>
                </a:lnTo>
                <a:lnTo>
                  <a:pt x="908" y="13"/>
                </a:lnTo>
                <a:lnTo>
                  <a:pt x="935" y="8"/>
                </a:lnTo>
                <a:lnTo>
                  <a:pt x="962" y="6"/>
                </a:lnTo>
                <a:lnTo>
                  <a:pt x="989" y="4"/>
                </a:lnTo>
                <a:lnTo>
                  <a:pt x="1016" y="1"/>
                </a:lnTo>
                <a:lnTo>
                  <a:pt x="1043" y="0"/>
                </a:lnTo>
                <a:lnTo>
                  <a:pt x="1071" y="0"/>
                </a:lnTo>
                <a:lnTo>
                  <a:pt x="1098" y="0"/>
                </a:lnTo>
                <a:lnTo>
                  <a:pt x="1126" y="1"/>
                </a:lnTo>
                <a:lnTo>
                  <a:pt x="1153" y="4"/>
                </a:lnTo>
                <a:lnTo>
                  <a:pt x="1180" y="6"/>
                </a:lnTo>
                <a:lnTo>
                  <a:pt x="1207" y="8"/>
                </a:lnTo>
                <a:lnTo>
                  <a:pt x="1234" y="13"/>
                </a:lnTo>
                <a:lnTo>
                  <a:pt x="1260" y="17"/>
                </a:lnTo>
                <a:lnTo>
                  <a:pt x="1286" y="22"/>
                </a:lnTo>
                <a:lnTo>
                  <a:pt x="1312" y="27"/>
                </a:lnTo>
                <a:lnTo>
                  <a:pt x="1338" y="34"/>
                </a:lnTo>
                <a:lnTo>
                  <a:pt x="1364" y="41"/>
                </a:lnTo>
                <a:lnTo>
                  <a:pt x="1389" y="49"/>
                </a:lnTo>
                <a:lnTo>
                  <a:pt x="1415" y="57"/>
                </a:lnTo>
                <a:lnTo>
                  <a:pt x="1439" y="66"/>
                </a:lnTo>
                <a:lnTo>
                  <a:pt x="1463" y="75"/>
                </a:lnTo>
                <a:lnTo>
                  <a:pt x="1488" y="85"/>
                </a:lnTo>
                <a:lnTo>
                  <a:pt x="1511" y="95"/>
                </a:lnTo>
                <a:lnTo>
                  <a:pt x="1535" y="106"/>
                </a:lnTo>
                <a:lnTo>
                  <a:pt x="1559" y="117"/>
                </a:lnTo>
                <a:lnTo>
                  <a:pt x="1581" y="130"/>
                </a:lnTo>
                <a:lnTo>
                  <a:pt x="1604" y="142"/>
                </a:lnTo>
                <a:lnTo>
                  <a:pt x="1626" y="156"/>
                </a:lnTo>
                <a:lnTo>
                  <a:pt x="1647" y="169"/>
                </a:lnTo>
                <a:lnTo>
                  <a:pt x="1669" y="184"/>
                </a:lnTo>
                <a:lnTo>
                  <a:pt x="1690" y="198"/>
                </a:lnTo>
                <a:lnTo>
                  <a:pt x="1712" y="213"/>
                </a:lnTo>
                <a:lnTo>
                  <a:pt x="1732" y="229"/>
                </a:lnTo>
                <a:lnTo>
                  <a:pt x="1752" y="245"/>
                </a:lnTo>
                <a:lnTo>
                  <a:pt x="1771" y="261"/>
                </a:lnTo>
                <a:lnTo>
                  <a:pt x="1790" y="278"/>
                </a:lnTo>
                <a:lnTo>
                  <a:pt x="1810" y="296"/>
                </a:lnTo>
                <a:lnTo>
                  <a:pt x="1828" y="314"/>
                </a:lnTo>
                <a:lnTo>
                  <a:pt x="1846" y="332"/>
                </a:lnTo>
                <a:lnTo>
                  <a:pt x="1864" y="351"/>
                </a:lnTo>
                <a:lnTo>
                  <a:pt x="1880" y="371"/>
                </a:lnTo>
                <a:lnTo>
                  <a:pt x="1897" y="390"/>
                </a:lnTo>
                <a:lnTo>
                  <a:pt x="1913" y="410"/>
                </a:lnTo>
                <a:lnTo>
                  <a:pt x="1929" y="430"/>
                </a:lnTo>
                <a:lnTo>
                  <a:pt x="1945" y="452"/>
                </a:lnTo>
                <a:lnTo>
                  <a:pt x="1959" y="473"/>
                </a:lnTo>
                <a:lnTo>
                  <a:pt x="1973" y="494"/>
                </a:lnTo>
                <a:lnTo>
                  <a:pt x="1986" y="516"/>
                </a:lnTo>
                <a:lnTo>
                  <a:pt x="2000" y="538"/>
                </a:lnTo>
                <a:lnTo>
                  <a:pt x="2012" y="561"/>
                </a:lnTo>
                <a:lnTo>
                  <a:pt x="2024" y="585"/>
                </a:lnTo>
                <a:lnTo>
                  <a:pt x="2036" y="607"/>
                </a:lnTo>
                <a:lnTo>
                  <a:pt x="2047" y="631"/>
                </a:lnTo>
                <a:lnTo>
                  <a:pt x="2058" y="654"/>
                </a:lnTo>
                <a:lnTo>
                  <a:pt x="2067" y="679"/>
                </a:lnTo>
                <a:lnTo>
                  <a:pt x="2077" y="704"/>
                </a:lnTo>
                <a:lnTo>
                  <a:pt x="2085" y="729"/>
                </a:lnTo>
                <a:lnTo>
                  <a:pt x="2094" y="753"/>
                </a:lnTo>
                <a:lnTo>
                  <a:pt x="2101" y="778"/>
                </a:lnTo>
                <a:lnTo>
                  <a:pt x="2108" y="804"/>
                </a:lnTo>
                <a:lnTo>
                  <a:pt x="2114" y="830"/>
                </a:lnTo>
                <a:lnTo>
                  <a:pt x="2120" y="856"/>
                </a:lnTo>
                <a:lnTo>
                  <a:pt x="2126" y="882"/>
                </a:lnTo>
                <a:lnTo>
                  <a:pt x="2129" y="909"/>
                </a:lnTo>
                <a:lnTo>
                  <a:pt x="2134" y="935"/>
                </a:lnTo>
                <a:lnTo>
                  <a:pt x="2136" y="962"/>
                </a:lnTo>
                <a:lnTo>
                  <a:pt x="2139" y="989"/>
                </a:lnTo>
                <a:lnTo>
                  <a:pt x="2140" y="1017"/>
                </a:lnTo>
                <a:lnTo>
                  <a:pt x="2141" y="1044"/>
                </a:lnTo>
                <a:lnTo>
                  <a:pt x="2141" y="1071"/>
                </a:lnTo>
                <a:lnTo>
                  <a:pt x="2141" y="1099"/>
                </a:lnTo>
                <a:lnTo>
                  <a:pt x="2140" y="1126"/>
                </a:lnTo>
                <a:lnTo>
                  <a:pt x="2139" y="1154"/>
                </a:lnTo>
                <a:lnTo>
                  <a:pt x="2136" y="1181"/>
                </a:lnTo>
                <a:lnTo>
                  <a:pt x="2134" y="1208"/>
                </a:lnTo>
                <a:lnTo>
                  <a:pt x="2129" y="1234"/>
                </a:lnTo>
                <a:lnTo>
                  <a:pt x="2126" y="1261"/>
                </a:lnTo>
                <a:lnTo>
                  <a:pt x="2120" y="1287"/>
                </a:lnTo>
                <a:lnTo>
                  <a:pt x="2114" y="1313"/>
                </a:lnTo>
                <a:lnTo>
                  <a:pt x="2108" y="1339"/>
                </a:lnTo>
                <a:lnTo>
                  <a:pt x="2101" y="1365"/>
                </a:lnTo>
                <a:lnTo>
                  <a:pt x="2094" y="1389"/>
                </a:lnTo>
                <a:lnTo>
                  <a:pt x="2085" y="1414"/>
                </a:lnTo>
                <a:lnTo>
                  <a:pt x="2077" y="1439"/>
                </a:lnTo>
                <a:lnTo>
                  <a:pt x="2067" y="1464"/>
                </a:lnTo>
                <a:lnTo>
                  <a:pt x="2058" y="1488"/>
                </a:lnTo>
                <a:lnTo>
                  <a:pt x="2047" y="1512"/>
                </a:lnTo>
                <a:lnTo>
                  <a:pt x="2036" y="1536"/>
                </a:lnTo>
                <a:lnTo>
                  <a:pt x="2024" y="1558"/>
                </a:lnTo>
                <a:lnTo>
                  <a:pt x="2012" y="1582"/>
                </a:lnTo>
                <a:lnTo>
                  <a:pt x="2000" y="1604"/>
                </a:lnTo>
                <a:lnTo>
                  <a:pt x="1986" y="1627"/>
                </a:lnTo>
                <a:lnTo>
                  <a:pt x="1973" y="1648"/>
                </a:lnTo>
                <a:lnTo>
                  <a:pt x="1959" y="1670"/>
                </a:lnTo>
                <a:lnTo>
                  <a:pt x="1945" y="1691"/>
                </a:lnTo>
                <a:lnTo>
                  <a:pt x="1929" y="1711"/>
                </a:lnTo>
                <a:lnTo>
                  <a:pt x="1913" y="1733"/>
                </a:lnTo>
                <a:lnTo>
                  <a:pt x="1897" y="1752"/>
                </a:lnTo>
                <a:lnTo>
                  <a:pt x="1880" y="1772"/>
                </a:lnTo>
                <a:lnTo>
                  <a:pt x="1864" y="1791"/>
                </a:lnTo>
                <a:lnTo>
                  <a:pt x="1846" y="1810"/>
                </a:lnTo>
                <a:lnTo>
                  <a:pt x="1828" y="1828"/>
                </a:lnTo>
                <a:lnTo>
                  <a:pt x="1810" y="1846"/>
                </a:lnTo>
                <a:lnTo>
                  <a:pt x="1790" y="1864"/>
                </a:lnTo>
                <a:lnTo>
                  <a:pt x="1771" y="1881"/>
                </a:lnTo>
                <a:lnTo>
                  <a:pt x="1752" y="1898"/>
                </a:lnTo>
                <a:lnTo>
                  <a:pt x="1732" y="1914"/>
                </a:lnTo>
                <a:lnTo>
                  <a:pt x="1712" y="1930"/>
                </a:lnTo>
                <a:lnTo>
                  <a:pt x="1690" y="1944"/>
                </a:lnTo>
                <a:lnTo>
                  <a:pt x="1669" y="1959"/>
                </a:lnTo>
                <a:lnTo>
                  <a:pt x="1647" y="1974"/>
                </a:lnTo>
                <a:lnTo>
                  <a:pt x="1626" y="1987"/>
                </a:lnTo>
                <a:lnTo>
                  <a:pt x="1604" y="2001"/>
                </a:lnTo>
                <a:lnTo>
                  <a:pt x="1581" y="2013"/>
                </a:lnTo>
                <a:lnTo>
                  <a:pt x="1559" y="2025"/>
                </a:lnTo>
                <a:lnTo>
                  <a:pt x="1535" y="2037"/>
                </a:lnTo>
                <a:lnTo>
                  <a:pt x="1511" y="2048"/>
                </a:lnTo>
                <a:lnTo>
                  <a:pt x="1488" y="2058"/>
                </a:lnTo>
                <a:lnTo>
                  <a:pt x="1463" y="2068"/>
                </a:lnTo>
                <a:lnTo>
                  <a:pt x="1439" y="2077"/>
                </a:lnTo>
                <a:lnTo>
                  <a:pt x="1415" y="2086"/>
                </a:lnTo>
                <a:lnTo>
                  <a:pt x="1389" y="2094"/>
                </a:lnTo>
                <a:lnTo>
                  <a:pt x="1364" y="2102"/>
                </a:lnTo>
                <a:lnTo>
                  <a:pt x="1338" y="2109"/>
                </a:lnTo>
                <a:lnTo>
                  <a:pt x="1312" y="2116"/>
                </a:lnTo>
                <a:lnTo>
                  <a:pt x="1286" y="2121"/>
                </a:lnTo>
                <a:lnTo>
                  <a:pt x="1260" y="2126"/>
                </a:lnTo>
                <a:lnTo>
                  <a:pt x="1234" y="2130"/>
                </a:lnTo>
                <a:lnTo>
                  <a:pt x="1207" y="2134"/>
                </a:lnTo>
                <a:lnTo>
                  <a:pt x="1180" y="2137"/>
                </a:lnTo>
                <a:lnTo>
                  <a:pt x="1153" y="2139"/>
                </a:lnTo>
                <a:lnTo>
                  <a:pt x="1126" y="2141"/>
                </a:lnTo>
                <a:lnTo>
                  <a:pt x="1098" y="2143"/>
                </a:lnTo>
                <a:lnTo>
                  <a:pt x="1071" y="2143"/>
                </a:lnTo>
                <a:close/>
                <a:moveTo>
                  <a:pt x="1227" y="559"/>
                </a:moveTo>
                <a:lnTo>
                  <a:pt x="1227" y="1071"/>
                </a:lnTo>
                <a:lnTo>
                  <a:pt x="1227" y="1584"/>
                </a:lnTo>
                <a:lnTo>
                  <a:pt x="1227" y="1591"/>
                </a:lnTo>
                <a:lnTo>
                  <a:pt x="1224" y="1595"/>
                </a:lnTo>
                <a:lnTo>
                  <a:pt x="1222" y="1600"/>
                </a:lnTo>
                <a:lnTo>
                  <a:pt x="1220" y="1602"/>
                </a:lnTo>
                <a:lnTo>
                  <a:pt x="1216" y="1604"/>
                </a:lnTo>
                <a:lnTo>
                  <a:pt x="1212" y="1607"/>
                </a:lnTo>
                <a:lnTo>
                  <a:pt x="1209" y="1607"/>
                </a:lnTo>
                <a:lnTo>
                  <a:pt x="1204" y="1608"/>
                </a:lnTo>
                <a:lnTo>
                  <a:pt x="1108" y="1608"/>
                </a:lnTo>
                <a:lnTo>
                  <a:pt x="1103" y="1607"/>
                </a:lnTo>
                <a:lnTo>
                  <a:pt x="1098" y="1607"/>
                </a:lnTo>
                <a:lnTo>
                  <a:pt x="1094" y="1604"/>
                </a:lnTo>
                <a:lnTo>
                  <a:pt x="1092" y="1602"/>
                </a:lnTo>
                <a:lnTo>
                  <a:pt x="1089" y="1600"/>
                </a:lnTo>
                <a:lnTo>
                  <a:pt x="1087" y="1595"/>
                </a:lnTo>
                <a:lnTo>
                  <a:pt x="1087" y="1593"/>
                </a:lnTo>
                <a:lnTo>
                  <a:pt x="1086" y="1591"/>
                </a:lnTo>
                <a:lnTo>
                  <a:pt x="1086" y="1584"/>
                </a:lnTo>
                <a:lnTo>
                  <a:pt x="1086" y="1125"/>
                </a:lnTo>
                <a:lnTo>
                  <a:pt x="1086" y="667"/>
                </a:lnTo>
                <a:lnTo>
                  <a:pt x="936" y="667"/>
                </a:lnTo>
                <a:lnTo>
                  <a:pt x="928" y="666"/>
                </a:lnTo>
                <a:lnTo>
                  <a:pt x="925" y="664"/>
                </a:lnTo>
                <a:lnTo>
                  <a:pt x="922" y="662"/>
                </a:lnTo>
                <a:lnTo>
                  <a:pt x="921" y="661"/>
                </a:lnTo>
                <a:lnTo>
                  <a:pt x="919" y="660"/>
                </a:lnTo>
                <a:lnTo>
                  <a:pt x="917" y="657"/>
                </a:lnTo>
                <a:lnTo>
                  <a:pt x="916" y="652"/>
                </a:lnTo>
                <a:lnTo>
                  <a:pt x="915" y="646"/>
                </a:lnTo>
                <a:lnTo>
                  <a:pt x="915" y="580"/>
                </a:lnTo>
                <a:lnTo>
                  <a:pt x="916" y="573"/>
                </a:lnTo>
                <a:lnTo>
                  <a:pt x="917" y="569"/>
                </a:lnTo>
                <a:lnTo>
                  <a:pt x="919" y="564"/>
                </a:lnTo>
                <a:lnTo>
                  <a:pt x="922" y="561"/>
                </a:lnTo>
                <a:lnTo>
                  <a:pt x="925" y="559"/>
                </a:lnTo>
                <a:lnTo>
                  <a:pt x="928" y="557"/>
                </a:lnTo>
                <a:lnTo>
                  <a:pt x="933" y="556"/>
                </a:lnTo>
                <a:lnTo>
                  <a:pt x="936" y="556"/>
                </a:lnTo>
                <a:lnTo>
                  <a:pt x="1205" y="535"/>
                </a:lnTo>
                <a:lnTo>
                  <a:pt x="1210" y="535"/>
                </a:lnTo>
                <a:lnTo>
                  <a:pt x="1213" y="536"/>
                </a:lnTo>
                <a:lnTo>
                  <a:pt x="1218" y="538"/>
                </a:lnTo>
                <a:lnTo>
                  <a:pt x="1220" y="539"/>
                </a:lnTo>
                <a:lnTo>
                  <a:pt x="1223" y="543"/>
                </a:lnTo>
                <a:lnTo>
                  <a:pt x="1225" y="547"/>
                </a:lnTo>
                <a:lnTo>
                  <a:pt x="1227" y="552"/>
                </a:lnTo>
                <a:lnTo>
                  <a:pt x="1227" y="55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35" name="Freeform 7">
            <a:hlinkClick r:id="rId7" action="ppaction://hlinksldjump"/>
          </p:cNvPr>
          <p:cNvSpPr>
            <a:spLocks noChangeAspect="1" noEditPoints="1"/>
          </p:cNvSpPr>
          <p:nvPr/>
        </p:nvSpPr>
        <p:spPr bwMode="auto">
          <a:xfrm>
            <a:off x="3480405" y="4143539"/>
            <a:ext cx="432000" cy="432000"/>
          </a:xfrm>
          <a:custGeom>
            <a:avLst/>
            <a:gdLst>
              <a:gd name="T0" fmla="*/ 806 w 2142"/>
              <a:gd name="T1" fmla="*/ 140 h 2142"/>
              <a:gd name="T2" fmla="*/ 550 w 2142"/>
              <a:gd name="T3" fmla="*/ 256 h 2142"/>
              <a:gd name="T4" fmla="*/ 340 w 2142"/>
              <a:gd name="T5" fmla="*/ 438 h 2142"/>
              <a:gd name="T6" fmla="*/ 190 w 2142"/>
              <a:gd name="T7" fmla="*/ 673 h 2142"/>
              <a:gd name="T8" fmla="*/ 112 w 2142"/>
              <a:gd name="T9" fmla="*/ 948 h 2142"/>
              <a:gd name="T10" fmla="*/ 119 w 2142"/>
              <a:gd name="T11" fmla="*/ 1242 h 2142"/>
              <a:gd name="T12" fmla="*/ 210 w 2142"/>
              <a:gd name="T13" fmla="*/ 1511 h 2142"/>
              <a:gd name="T14" fmla="*/ 371 w 2142"/>
              <a:gd name="T15" fmla="*/ 1738 h 2142"/>
              <a:gd name="T16" fmla="*/ 590 w 2142"/>
              <a:gd name="T17" fmla="*/ 1910 h 2142"/>
              <a:gd name="T18" fmla="*/ 852 w 2142"/>
              <a:gd name="T19" fmla="*/ 2014 h 2142"/>
              <a:gd name="T20" fmla="*/ 1145 w 2142"/>
              <a:gd name="T21" fmla="*/ 2036 h 2142"/>
              <a:gd name="T22" fmla="*/ 1425 w 2142"/>
              <a:gd name="T23" fmla="*/ 1971 h 2142"/>
              <a:gd name="T24" fmla="*/ 1668 w 2142"/>
              <a:gd name="T25" fmla="*/ 1832 h 2142"/>
              <a:gd name="T26" fmla="*/ 1860 w 2142"/>
              <a:gd name="T27" fmla="*/ 1631 h 2142"/>
              <a:gd name="T28" fmla="*/ 1988 w 2142"/>
              <a:gd name="T29" fmla="*/ 1381 h 2142"/>
              <a:gd name="T30" fmla="*/ 2038 w 2142"/>
              <a:gd name="T31" fmla="*/ 1095 h 2142"/>
              <a:gd name="T32" fmla="*/ 2002 w 2142"/>
              <a:gd name="T33" fmla="*/ 806 h 2142"/>
              <a:gd name="T34" fmla="*/ 1887 w 2142"/>
              <a:gd name="T35" fmla="*/ 549 h 2142"/>
              <a:gd name="T36" fmla="*/ 1704 w 2142"/>
              <a:gd name="T37" fmla="*/ 339 h 2142"/>
              <a:gd name="T38" fmla="*/ 1469 w 2142"/>
              <a:gd name="T39" fmla="*/ 188 h 2142"/>
              <a:gd name="T40" fmla="*/ 1194 w 2142"/>
              <a:gd name="T41" fmla="*/ 110 h 2142"/>
              <a:gd name="T42" fmla="*/ 909 w 2142"/>
              <a:gd name="T43" fmla="*/ 2130 h 2142"/>
              <a:gd name="T44" fmla="*/ 607 w 2142"/>
              <a:gd name="T45" fmla="*/ 2036 h 2142"/>
              <a:gd name="T46" fmla="*/ 352 w 2142"/>
              <a:gd name="T47" fmla="*/ 1863 h 2142"/>
              <a:gd name="T48" fmla="*/ 156 w 2142"/>
              <a:gd name="T49" fmla="*/ 1626 h 2142"/>
              <a:gd name="T50" fmla="*/ 34 w 2142"/>
              <a:gd name="T51" fmla="*/ 1339 h 2142"/>
              <a:gd name="T52" fmla="*/ 2 w 2142"/>
              <a:gd name="T53" fmla="*/ 1015 h 2142"/>
              <a:gd name="T54" fmla="*/ 66 w 2142"/>
              <a:gd name="T55" fmla="*/ 702 h 2142"/>
              <a:gd name="T56" fmla="*/ 213 w 2142"/>
              <a:gd name="T57" fmla="*/ 430 h 2142"/>
              <a:gd name="T58" fmla="*/ 430 w 2142"/>
              <a:gd name="T59" fmla="*/ 213 h 2142"/>
              <a:gd name="T60" fmla="*/ 704 w 2142"/>
              <a:gd name="T61" fmla="*/ 64 h 2142"/>
              <a:gd name="T62" fmla="*/ 1017 w 2142"/>
              <a:gd name="T63" fmla="*/ 1 h 2142"/>
              <a:gd name="T64" fmla="*/ 1338 w 2142"/>
              <a:gd name="T65" fmla="*/ 34 h 2142"/>
              <a:gd name="T66" fmla="*/ 1627 w 2142"/>
              <a:gd name="T67" fmla="*/ 155 h 2142"/>
              <a:gd name="T68" fmla="*/ 1864 w 2142"/>
              <a:gd name="T69" fmla="*/ 351 h 2142"/>
              <a:gd name="T70" fmla="*/ 2036 w 2142"/>
              <a:gd name="T71" fmla="*/ 607 h 2142"/>
              <a:gd name="T72" fmla="*/ 2130 w 2142"/>
              <a:gd name="T73" fmla="*/ 908 h 2142"/>
              <a:gd name="T74" fmla="*/ 2130 w 2142"/>
              <a:gd name="T75" fmla="*/ 1234 h 2142"/>
              <a:gd name="T76" fmla="*/ 2036 w 2142"/>
              <a:gd name="T77" fmla="*/ 1534 h 2142"/>
              <a:gd name="T78" fmla="*/ 1864 w 2142"/>
              <a:gd name="T79" fmla="*/ 1791 h 2142"/>
              <a:gd name="T80" fmla="*/ 1627 w 2142"/>
              <a:gd name="T81" fmla="*/ 1987 h 2142"/>
              <a:gd name="T82" fmla="*/ 1338 w 2142"/>
              <a:gd name="T83" fmla="*/ 2109 h 2142"/>
              <a:gd name="T84" fmla="*/ 1050 w 2142"/>
              <a:gd name="T85" fmla="*/ 652 h 2142"/>
              <a:gd name="T86" fmla="*/ 921 w 2142"/>
              <a:gd name="T87" fmla="*/ 696 h 2142"/>
              <a:gd name="T88" fmla="*/ 880 w 2142"/>
              <a:gd name="T89" fmla="*/ 815 h 2142"/>
              <a:gd name="T90" fmla="*/ 756 w 2142"/>
              <a:gd name="T91" fmla="*/ 798 h 2142"/>
              <a:gd name="T92" fmla="*/ 788 w 2142"/>
              <a:gd name="T93" fmla="*/ 657 h 2142"/>
              <a:gd name="T94" fmla="*/ 885 w 2142"/>
              <a:gd name="T95" fmla="*/ 564 h 2142"/>
              <a:gd name="T96" fmla="*/ 1061 w 2142"/>
              <a:gd name="T97" fmla="*/ 535 h 2142"/>
              <a:gd name="T98" fmla="*/ 1255 w 2142"/>
              <a:gd name="T99" fmla="*/ 560 h 2142"/>
              <a:gd name="T100" fmla="*/ 1362 w 2142"/>
              <a:gd name="T101" fmla="*/ 659 h 2142"/>
              <a:gd name="T102" fmla="*/ 1386 w 2142"/>
              <a:gd name="T103" fmla="*/ 821 h 2142"/>
              <a:gd name="T104" fmla="*/ 1319 w 2142"/>
              <a:gd name="T105" fmla="*/ 1003 h 2142"/>
              <a:gd name="T106" fmla="*/ 1411 w 2142"/>
              <a:gd name="T107" fmla="*/ 1492 h 2142"/>
              <a:gd name="T108" fmla="*/ 1396 w 2142"/>
              <a:gd name="T109" fmla="*/ 1606 h 2142"/>
              <a:gd name="T110" fmla="*/ 731 w 2142"/>
              <a:gd name="T111" fmla="*/ 1501 h 2142"/>
              <a:gd name="T112" fmla="*/ 1216 w 2142"/>
              <a:gd name="T113" fmla="*/ 939 h 2142"/>
              <a:gd name="T114" fmla="*/ 1246 w 2142"/>
              <a:gd name="T115" fmla="*/ 771 h 2142"/>
              <a:gd name="T116" fmla="*/ 1197 w 2142"/>
              <a:gd name="T117" fmla="*/ 678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42" h="2142">
                <a:moveTo>
                  <a:pt x="1071" y="102"/>
                </a:moveTo>
                <a:lnTo>
                  <a:pt x="1046" y="104"/>
                </a:lnTo>
                <a:lnTo>
                  <a:pt x="1021" y="104"/>
                </a:lnTo>
                <a:lnTo>
                  <a:pt x="996" y="106"/>
                </a:lnTo>
                <a:lnTo>
                  <a:pt x="973" y="108"/>
                </a:lnTo>
                <a:lnTo>
                  <a:pt x="948" y="110"/>
                </a:lnTo>
                <a:lnTo>
                  <a:pt x="924" y="114"/>
                </a:lnTo>
                <a:lnTo>
                  <a:pt x="900" y="118"/>
                </a:lnTo>
                <a:lnTo>
                  <a:pt x="876" y="123"/>
                </a:lnTo>
                <a:lnTo>
                  <a:pt x="852" y="127"/>
                </a:lnTo>
                <a:lnTo>
                  <a:pt x="830" y="133"/>
                </a:lnTo>
                <a:lnTo>
                  <a:pt x="806" y="140"/>
                </a:lnTo>
                <a:lnTo>
                  <a:pt x="784" y="146"/>
                </a:lnTo>
                <a:lnTo>
                  <a:pt x="761" y="154"/>
                </a:lnTo>
                <a:lnTo>
                  <a:pt x="739" y="162"/>
                </a:lnTo>
                <a:lnTo>
                  <a:pt x="716" y="170"/>
                </a:lnTo>
                <a:lnTo>
                  <a:pt x="695" y="179"/>
                </a:lnTo>
                <a:lnTo>
                  <a:pt x="673" y="188"/>
                </a:lnTo>
                <a:lnTo>
                  <a:pt x="652" y="198"/>
                </a:lnTo>
                <a:lnTo>
                  <a:pt x="631" y="209"/>
                </a:lnTo>
                <a:lnTo>
                  <a:pt x="610" y="220"/>
                </a:lnTo>
                <a:lnTo>
                  <a:pt x="590" y="231"/>
                </a:lnTo>
                <a:lnTo>
                  <a:pt x="570" y="243"/>
                </a:lnTo>
                <a:lnTo>
                  <a:pt x="550" y="256"/>
                </a:lnTo>
                <a:lnTo>
                  <a:pt x="530" y="268"/>
                </a:lnTo>
                <a:lnTo>
                  <a:pt x="511" y="281"/>
                </a:lnTo>
                <a:lnTo>
                  <a:pt x="492" y="295"/>
                </a:lnTo>
                <a:lnTo>
                  <a:pt x="474" y="310"/>
                </a:lnTo>
                <a:lnTo>
                  <a:pt x="456" y="324"/>
                </a:lnTo>
                <a:lnTo>
                  <a:pt x="438" y="339"/>
                </a:lnTo>
                <a:lnTo>
                  <a:pt x="421" y="355"/>
                </a:lnTo>
                <a:lnTo>
                  <a:pt x="403" y="370"/>
                </a:lnTo>
                <a:lnTo>
                  <a:pt x="388" y="386"/>
                </a:lnTo>
                <a:lnTo>
                  <a:pt x="371" y="403"/>
                </a:lnTo>
                <a:lnTo>
                  <a:pt x="355" y="420"/>
                </a:lnTo>
                <a:lnTo>
                  <a:pt x="340" y="438"/>
                </a:lnTo>
                <a:lnTo>
                  <a:pt x="325" y="456"/>
                </a:lnTo>
                <a:lnTo>
                  <a:pt x="310" y="474"/>
                </a:lnTo>
                <a:lnTo>
                  <a:pt x="296" y="492"/>
                </a:lnTo>
                <a:lnTo>
                  <a:pt x="282" y="511"/>
                </a:lnTo>
                <a:lnTo>
                  <a:pt x="269" y="530"/>
                </a:lnTo>
                <a:lnTo>
                  <a:pt x="256" y="549"/>
                </a:lnTo>
                <a:lnTo>
                  <a:pt x="244" y="570"/>
                </a:lnTo>
                <a:lnTo>
                  <a:pt x="232" y="590"/>
                </a:lnTo>
                <a:lnTo>
                  <a:pt x="221" y="610"/>
                </a:lnTo>
                <a:lnTo>
                  <a:pt x="210" y="630"/>
                </a:lnTo>
                <a:lnTo>
                  <a:pt x="200" y="652"/>
                </a:lnTo>
                <a:lnTo>
                  <a:pt x="190" y="673"/>
                </a:lnTo>
                <a:lnTo>
                  <a:pt x="179" y="695"/>
                </a:lnTo>
                <a:lnTo>
                  <a:pt x="170" y="716"/>
                </a:lnTo>
                <a:lnTo>
                  <a:pt x="163" y="739"/>
                </a:lnTo>
                <a:lnTo>
                  <a:pt x="155" y="761"/>
                </a:lnTo>
                <a:lnTo>
                  <a:pt x="147" y="784"/>
                </a:lnTo>
                <a:lnTo>
                  <a:pt x="140" y="806"/>
                </a:lnTo>
                <a:lnTo>
                  <a:pt x="134" y="830"/>
                </a:lnTo>
                <a:lnTo>
                  <a:pt x="129" y="852"/>
                </a:lnTo>
                <a:lnTo>
                  <a:pt x="123" y="876"/>
                </a:lnTo>
                <a:lnTo>
                  <a:pt x="119" y="899"/>
                </a:lnTo>
                <a:lnTo>
                  <a:pt x="115" y="923"/>
                </a:lnTo>
                <a:lnTo>
                  <a:pt x="112" y="948"/>
                </a:lnTo>
                <a:lnTo>
                  <a:pt x="108" y="972"/>
                </a:lnTo>
                <a:lnTo>
                  <a:pt x="106" y="996"/>
                </a:lnTo>
                <a:lnTo>
                  <a:pt x="105" y="1021"/>
                </a:lnTo>
                <a:lnTo>
                  <a:pt x="104" y="1046"/>
                </a:lnTo>
                <a:lnTo>
                  <a:pt x="104" y="1071"/>
                </a:lnTo>
                <a:lnTo>
                  <a:pt x="104" y="1095"/>
                </a:lnTo>
                <a:lnTo>
                  <a:pt x="105" y="1120"/>
                </a:lnTo>
                <a:lnTo>
                  <a:pt x="106" y="1145"/>
                </a:lnTo>
                <a:lnTo>
                  <a:pt x="108" y="1170"/>
                </a:lnTo>
                <a:lnTo>
                  <a:pt x="112" y="1194"/>
                </a:lnTo>
                <a:lnTo>
                  <a:pt x="115" y="1218"/>
                </a:lnTo>
                <a:lnTo>
                  <a:pt x="119" y="1242"/>
                </a:lnTo>
                <a:lnTo>
                  <a:pt x="123" y="1265"/>
                </a:lnTo>
                <a:lnTo>
                  <a:pt x="129" y="1289"/>
                </a:lnTo>
                <a:lnTo>
                  <a:pt x="134" y="1313"/>
                </a:lnTo>
                <a:lnTo>
                  <a:pt x="140" y="1335"/>
                </a:lnTo>
                <a:lnTo>
                  <a:pt x="147" y="1359"/>
                </a:lnTo>
                <a:lnTo>
                  <a:pt x="155" y="1381"/>
                </a:lnTo>
                <a:lnTo>
                  <a:pt x="163" y="1404"/>
                </a:lnTo>
                <a:lnTo>
                  <a:pt x="170" y="1425"/>
                </a:lnTo>
                <a:lnTo>
                  <a:pt x="179" y="1448"/>
                </a:lnTo>
                <a:lnTo>
                  <a:pt x="190" y="1469"/>
                </a:lnTo>
                <a:lnTo>
                  <a:pt x="200" y="1491"/>
                </a:lnTo>
                <a:lnTo>
                  <a:pt x="210" y="1511"/>
                </a:lnTo>
                <a:lnTo>
                  <a:pt x="221" y="1532"/>
                </a:lnTo>
                <a:lnTo>
                  <a:pt x="232" y="1552"/>
                </a:lnTo>
                <a:lnTo>
                  <a:pt x="244" y="1573"/>
                </a:lnTo>
                <a:lnTo>
                  <a:pt x="256" y="1592"/>
                </a:lnTo>
                <a:lnTo>
                  <a:pt x="269" y="1612"/>
                </a:lnTo>
                <a:lnTo>
                  <a:pt x="282" y="1631"/>
                </a:lnTo>
                <a:lnTo>
                  <a:pt x="296" y="1649"/>
                </a:lnTo>
                <a:lnTo>
                  <a:pt x="310" y="1668"/>
                </a:lnTo>
                <a:lnTo>
                  <a:pt x="325" y="1686"/>
                </a:lnTo>
                <a:lnTo>
                  <a:pt x="340" y="1704"/>
                </a:lnTo>
                <a:lnTo>
                  <a:pt x="355" y="1721"/>
                </a:lnTo>
                <a:lnTo>
                  <a:pt x="371" y="1738"/>
                </a:lnTo>
                <a:lnTo>
                  <a:pt x="388" y="1755"/>
                </a:lnTo>
                <a:lnTo>
                  <a:pt x="403" y="1771"/>
                </a:lnTo>
                <a:lnTo>
                  <a:pt x="421" y="1787"/>
                </a:lnTo>
                <a:lnTo>
                  <a:pt x="438" y="1802"/>
                </a:lnTo>
                <a:lnTo>
                  <a:pt x="456" y="1817"/>
                </a:lnTo>
                <a:lnTo>
                  <a:pt x="474" y="1832"/>
                </a:lnTo>
                <a:lnTo>
                  <a:pt x="492" y="1846"/>
                </a:lnTo>
                <a:lnTo>
                  <a:pt x="511" y="1860"/>
                </a:lnTo>
                <a:lnTo>
                  <a:pt x="530" y="1873"/>
                </a:lnTo>
                <a:lnTo>
                  <a:pt x="550" y="1886"/>
                </a:lnTo>
                <a:lnTo>
                  <a:pt x="570" y="1898"/>
                </a:lnTo>
                <a:lnTo>
                  <a:pt x="590" y="1910"/>
                </a:lnTo>
                <a:lnTo>
                  <a:pt x="610" y="1922"/>
                </a:lnTo>
                <a:lnTo>
                  <a:pt x="631" y="1933"/>
                </a:lnTo>
                <a:lnTo>
                  <a:pt x="652" y="1943"/>
                </a:lnTo>
                <a:lnTo>
                  <a:pt x="673" y="1953"/>
                </a:lnTo>
                <a:lnTo>
                  <a:pt x="695" y="1962"/>
                </a:lnTo>
                <a:lnTo>
                  <a:pt x="716" y="1971"/>
                </a:lnTo>
                <a:lnTo>
                  <a:pt x="739" y="1980"/>
                </a:lnTo>
                <a:lnTo>
                  <a:pt x="761" y="1988"/>
                </a:lnTo>
                <a:lnTo>
                  <a:pt x="784" y="1995"/>
                </a:lnTo>
                <a:lnTo>
                  <a:pt x="806" y="2002"/>
                </a:lnTo>
                <a:lnTo>
                  <a:pt x="830" y="2008"/>
                </a:lnTo>
                <a:lnTo>
                  <a:pt x="852" y="2014"/>
                </a:lnTo>
                <a:lnTo>
                  <a:pt x="876" y="2020"/>
                </a:lnTo>
                <a:lnTo>
                  <a:pt x="900" y="2024"/>
                </a:lnTo>
                <a:lnTo>
                  <a:pt x="924" y="2027"/>
                </a:lnTo>
                <a:lnTo>
                  <a:pt x="948" y="2031"/>
                </a:lnTo>
                <a:lnTo>
                  <a:pt x="973" y="2034"/>
                </a:lnTo>
                <a:lnTo>
                  <a:pt x="996" y="2036"/>
                </a:lnTo>
                <a:lnTo>
                  <a:pt x="1021" y="2038"/>
                </a:lnTo>
                <a:lnTo>
                  <a:pt x="1046" y="2039"/>
                </a:lnTo>
                <a:lnTo>
                  <a:pt x="1071" y="2039"/>
                </a:lnTo>
                <a:lnTo>
                  <a:pt x="1097" y="2039"/>
                </a:lnTo>
                <a:lnTo>
                  <a:pt x="1121" y="2038"/>
                </a:lnTo>
                <a:lnTo>
                  <a:pt x="1145" y="2036"/>
                </a:lnTo>
                <a:lnTo>
                  <a:pt x="1170" y="2034"/>
                </a:lnTo>
                <a:lnTo>
                  <a:pt x="1194" y="2031"/>
                </a:lnTo>
                <a:lnTo>
                  <a:pt x="1218" y="2027"/>
                </a:lnTo>
                <a:lnTo>
                  <a:pt x="1242" y="2024"/>
                </a:lnTo>
                <a:lnTo>
                  <a:pt x="1265" y="2020"/>
                </a:lnTo>
                <a:lnTo>
                  <a:pt x="1289" y="2014"/>
                </a:lnTo>
                <a:lnTo>
                  <a:pt x="1313" y="2008"/>
                </a:lnTo>
                <a:lnTo>
                  <a:pt x="1336" y="2002"/>
                </a:lnTo>
                <a:lnTo>
                  <a:pt x="1359" y="1995"/>
                </a:lnTo>
                <a:lnTo>
                  <a:pt x="1381" y="1988"/>
                </a:lnTo>
                <a:lnTo>
                  <a:pt x="1404" y="1980"/>
                </a:lnTo>
                <a:lnTo>
                  <a:pt x="1425" y="1971"/>
                </a:lnTo>
                <a:lnTo>
                  <a:pt x="1448" y="1962"/>
                </a:lnTo>
                <a:lnTo>
                  <a:pt x="1469" y="1953"/>
                </a:lnTo>
                <a:lnTo>
                  <a:pt x="1490" y="1943"/>
                </a:lnTo>
                <a:lnTo>
                  <a:pt x="1512" y="1933"/>
                </a:lnTo>
                <a:lnTo>
                  <a:pt x="1532" y="1922"/>
                </a:lnTo>
                <a:lnTo>
                  <a:pt x="1552" y="1910"/>
                </a:lnTo>
                <a:lnTo>
                  <a:pt x="1573" y="1898"/>
                </a:lnTo>
                <a:lnTo>
                  <a:pt x="1593" y="1886"/>
                </a:lnTo>
                <a:lnTo>
                  <a:pt x="1612" y="1873"/>
                </a:lnTo>
                <a:lnTo>
                  <a:pt x="1631" y="1860"/>
                </a:lnTo>
                <a:lnTo>
                  <a:pt x="1650" y="1846"/>
                </a:lnTo>
                <a:lnTo>
                  <a:pt x="1668" y="1832"/>
                </a:lnTo>
                <a:lnTo>
                  <a:pt x="1686" y="1817"/>
                </a:lnTo>
                <a:lnTo>
                  <a:pt x="1704" y="1802"/>
                </a:lnTo>
                <a:lnTo>
                  <a:pt x="1721" y="1787"/>
                </a:lnTo>
                <a:lnTo>
                  <a:pt x="1738" y="1771"/>
                </a:lnTo>
                <a:lnTo>
                  <a:pt x="1755" y="1755"/>
                </a:lnTo>
                <a:lnTo>
                  <a:pt x="1772" y="1738"/>
                </a:lnTo>
                <a:lnTo>
                  <a:pt x="1787" y="1721"/>
                </a:lnTo>
                <a:lnTo>
                  <a:pt x="1802" y="1704"/>
                </a:lnTo>
                <a:lnTo>
                  <a:pt x="1818" y="1686"/>
                </a:lnTo>
                <a:lnTo>
                  <a:pt x="1833" y="1668"/>
                </a:lnTo>
                <a:lnTo>
                  <a:pt x="1846" y="1649"/>
                </a:lnTo>
                <a:lnTo>
                  <a:pt x="1860" y="1631"/>
                </a:lnTo>
                <a:lnTo>
                  <a:pt x="1873" y="1612"/>
                </a:lnTo>
                <a:lnTo>
                  <a:pt x="1887" y="1592"/>
                </a:lnTo>
                <a:lnTo>
                  <a:pt x="1899" y="1573"/>
                </a:lnTo>
                <a:lnTo>
                  <a:pt x="1910" y="1552"/>
                </a:lnTo>
                <a:lnTo>
                  <a:pt x="1921" y="1532"/>
                </a:lnTo>
                <a:lnTo>
                  <a:pt x="1933" y="1511"/>
                </a:lnTo>
                <a:lnTo>
                  <a:pt x="1943" y="1491"/>
                </a:lnTo>
                <a:lnTo>
                  <a:pt x="1953" y="1469"/>
                </a:lnTo>
                <a:lnTo>
                  <a:pt x="1963" y="1448"/>
                </a:lnTo>
                <a:lnTo>
                  <a:pt x="1972" y="1425"/>
                </a:lnTo>
                <a:lnTo>
                  <a:pt x="1980" y="1404"/>
                </a:lnTo>
                <a:lnTo>
                  <a:pt x="1988" y="1381"/>
                </a:lnTo>
                <a:lnTo>
                  <a:pt x="1996" y="1359"/>
                </a:lnTo>
                <a:lnTo>
                  <a:pt x="2002" y="1335"/>
                </a:lnTo>
                <a:lnTo>
                  <a:pt x="2008" y="1313"/>
                </a:lnTo>
                <a:lnTo>
                  <a:pt x="2014" y="1289"/>
                </a:lnTo>
                <a:lnTo>
                  <a:pt x="2019" y="1265"/>
                </a:lnTo>
                <a:lnTo>
                  <a:pt x="2024" y="1242"/>
                </a:lnTo>
                <a:lnTo>
                  <a:pt x="2027" y="1218"/>
                </a:lnTo>
                <a:lnTo>
                  <a:pt x="2031" y="1194"/>
                </a:lnTo>
                <a:lnTo>
                  <a:pt x="2034" y="1170"/>
                </a:lnTo>
                <a:lnTo>
                  <a:pt x="2036" y="1145"/>
                </a:lnTo>
                <a:lnTo>
                  <a:pt x="2037" y="1120"/>
                </a:lnTo>
                <a:lnTo>
                  <a:pt x="2038" y="1095"/>
                </a:lnTo>
                <a:lnTo>
                  <a:pt x="2038" y="1071"/>
                </a:lnTo>
                <a:lnTo>
                  <a:pt x="2038" y="1046"/>
                </a:lnTo>
                <a:lnTo>
                  <a:pt x="2037" y="1021"/>
                </a:lnTo>
                <a:lnTo>
                  <a:pt x="2036" y="996"/>
                </a:lnTo>
                <a:lnTo>
                  <a:pt x="2034" y="972"/>
                </a:lnTo>
                <a:lnTo>
                  <a:pt x="2031" y="948"/>
                </a:lnTo>
                <a:lnTo>
                  <a:pt x="2027" y="923"/>
                </a:lnTo>
                <a:lnTo>
                  <a:pt x="2024" y="899"/>
                </a:lnTo>
                <a:lnTo>
                  <a:pt x="2019" y="876"/>
                </a:lnTo>
                <a:lnTo>
                  <a:pt x="2014" y="852"/>
                </a:lnTo>
                <a:lnTo>
                  <a:pt x="2008" y="830"/>
                </a:lnTo>
                <a:lnTo>
                  <a:pt x="2002" y="806"/>
                </a:lnTo>
                <a:lnTo>
                  <a:pt x="1996" y="784"/>
                </a:lnTo>
                <a:lnTo>
                  <a:pt x="1988" y="761"/>
                </a:lnTo>
                <a:lnTo>
                  <a:pt x="1980" y="739"/>
                </a:lnTo>
                <a:lnTo>
                  <a:pt x="1972" y="716"/>
                </a:lnTo>
                <a:lnTo>
                  <a:pt x="1963" y="695"/>
                </a:lnTo>
                <a:lnTo>
                  <a:pt x="1953" y="673"/>
                </a:lnTo>
                <a:lnTo>
                  <a:pt x="1943" y="652"/>
                </a:lnTo>
                <a:lnTo>
                  <a:pt x="1933" y="630"/>
                </a:lnTo>
                <a:lnTo>
                  <a:pt x="1921" y="610"/>
                </a:lnTo>
                <a:lnTo>
                  <a:pt x="1910" y="590"/>
                </a:lnTo>
                <a:lnTo>
                  <a:pt x="1899" y="570"/>
                </a:lnTo>
                <a:lnTo>
                  <a:pt x="1887" y="549"/>
                </a:lnTo>
                <a:lnTo>
                  <a:pt x="1873" y="530"/>
                </a:lnTo>
                <a:lnTo>
                  <a:pt x="1860" y="511"/>
                </a:lnTo>
                <a:lnTo>
                  <a:pt x="1846" y="492"/>
                </a:lnTo>
                <a:lnTo>
                  <a:pt x="1833" y="474"/>
                </a:lnTo>
                <a:lnTo>
                  <a:pt x="1818" y="456"/>
                </a:lnTo>
                <a:lnTo>
                  <a:pt x="1802" y="438"/>
                </a:lnTo>
                <a:lnTo>
                  <a:pt x="1787" y="420"/>
                </a:lnTo>
                <a:lnTo>
                  <a:pt x="1772" y="403"/>
                </a:lnTo>
                <a:lnTo>
                  <a:pt x="1755" y="386"/>
                </a:lnTo>
                <a:lnTo>
                  <a:pt x="1738" y="370"/>
                </a:lnTo>
                <a:lnTo>
                  <a:pt x="1721" y="355"/>
                </a:lnTo>
                <a:lnTo>
                  <a:pt x="1704" y="339"/>
                </a:lnTo>
                <a:lnTo>
                  <a:pt x="1686" y="324"/>
                </a:lnTo>
                <a:lnTo>
                  <a:pt x="1668" y="310"/>
                </a:lnTo>
                <a:lnTo>
                  <a:pt x="1650" y="295"/>
                </a:lnTo>
                <a:lnTo>
                  <a:pt x="1631" y="281"/>
                </a:lnTo>
                <a:lnTo>
                  <a:pt x="1612" y="268"/>
                </a:lnTo>
                <a:lnTo>
                  <a:pt x="1593" y="256"/>
                </a:lnTo>
                <a:lnTo>
                  <a:pt x="1573" y="243"/>
                </a:lnTo>
                <a:lnTo>
                  <a:pt x="1552" y="231"/>
                </a:lnTo>
                <a:lnTo>
                  <a:pt x="1532" y="220"/>
                </a:lnTo>
                <a:lnTo>
                  <a:pt x="1512" y="209"/>
                </a:lnTo>
                <a:lnTo>
                  <a:pt x="1490" y="198"/>
                </a:lnTo>
                <a:lnTo>
                  <a:pt x="1469" y="188"/>
                </a:lnTo>
                <a:lnTo>
                  <a:pt x="1448" y="179"/>
                </a:lnTo>
                <a:lnTo>
                  <a:pt x="1425" y="170"/>
                </a:lnTo>
                <a:lnTo>
                  <a:pt x="1404" y="162"/>
                </a:lnTo>
                <a:lnTo>
                  <a:pt x="1381" y="154"/>
                </a:lnTo>
                <a:lnTo>
                  <a:pt x="1359" y="146"/>
                </a:lnTo>
                <a:lnTo>
                  <a:pt x="1336" y="140"/>
                </a:lnTo>
                <a:lnTo>
                  <a:pt x="1313" y="133"/>
                </a:lnTo>
                <a:lnTo>
                  <a:pt x="1289" y="127"/>
                </a:lnTo>
                <a:lnTo>
                  <a:pt x="1265" y="123"/>
                </a:lnTo>
                <a:lnTo>
                  <a:pt x="1242" y="118"/>
                </a:lnTo>
                <a:lnTo>
                  <a:pt x="1218" y="114"/>
                </a:lnTo>
                <a:lnTo>
                  <a:pt x="1194" y="110"/>
                </a:lnTo>
                <a:lnTo>
                  <a:pt x="1170" y="108"/>
                </a:lnTo>
                <a:lnTo>
                  <a:pt x="1145" y="106"/>
                </a:lnTo>
                <a:lnTo>
                  <a:pt x="1121" y="104"/>
                </a:lnTo>
                <a:lnTo>
                  <a:pt x="1097" y="104"/>
                </a:lnTo>
                <a:lnTo>
                  <a:pt x="1071" y="102"/>
                </a:lnTo>
                <a:close/>
                <a:moveTo>
                  <a:pt x="1071" y="2142"/>
                </a:moveTo>
                <a:lnTo>
                  <a:pt x="1044" y="2142"/>
                </a:lnTo>
                <a:lnTo>
                  <a:pt x="1017" y="2141"/>
                </a:lnTo>
                <a:lnTo>
                  <a:pt x="989" y="2139"/>
                </a:lnTo>
                <a:lnTo>
                  <a:pt x="961" y="2137"/>
                </a:lnTo>
                <a:lnTo>
                  <a:pt x="934" y="2133"/>
                </a:lnTo>
                <a:lnTo>
                  <a:pt x="909" y="2130"/>
                </a:lnTo>
                <a:lnTo>
                  <a:pt x="882" y="2125"/>
                </a:lnTo>
                <a:lnTo>
                  <a:pt x="856" y="2121"/>
                </a:lnTo>
                <a:lnTo>
                  <a:pt x="830" y="2114"/>
                </a:lnTo>
                <a:lnTo>
                  <a:pt x="804" y="2109"/>
                </a:lnTo>
                <a:lnTo>
                  <a:pt x="778" y="2102"/>
                </a:lnTo>
                <a:lnTo>
                  <a:pt x="753" y="2094"/>
                </a:lnTo>
                <a:lnTo>
                  <a:pt x="729" y="2086"/>
                </a:lnTo>
                <a:lnTo>
                  <a:pt x="704" y="2077"/>
                </a:lnTo>
                <a:lnTo>
                  <a:pt x="679" y="2068"/>
                </a:lnTo>
                <a:lnTo>
                  <a:pt x="654" y="2058"/>
                </a:lnTo>
                <a:lnTo>
                  <a:pt x="631" y="2048"/>
                </a:lnTo>
                <a:lnTo>
                  <a:pt x="607" y="2036"/>
                </a:lnTo>
                <a:lnTo>
                  <a:pt x="585" y="2025"/>
                </a:lnTo>
                <a:lnTo>
                  <a:pt x="561" y="2013"/>
                </a:lnTo>
                <a:lnTo>
                  <a:pt x="538" y="2000"/>
                </a:lnTo>
                <a:lnTo>
                  <a:pt x="516" y="1987"/>
                </a:lnTo>
                <a:lnTo>
                  <a:pt x="494" y="1973"/>
                </a:lnTo>
                <a:lnTo>
                  <a:pt x="473" y="1959"/>
                </a:lnTo>
                <a:lnTo>
                  <a:pt x="452" y="1944"/>
                </a:lnTo>
                <a:lnTo>
                  <a:pt x="430" y="1930"/>
                </a:lnTo>
                <a:lnTo>
                  <a:pt x="410" y="1914"/>
                </a:lnTo>
                <a:lnTo>
                  <a:pt x="390" y="1897"/>
                </a:lnTo>
                <a:lnTo>
                  <a:pt x="371" y="1881"/>
                </a:lnTo>
                <a:lnTo>
                  <a:pt x="352" y="1863"/>
                </a:lnTo>
                <a:lnTo>
                  <a:pt x="332" y="1846"/>
                </a:lnTo>
                <a:lnTo>
                  <a:pt x="314" y="1828"/>
                </a:lnTo>
                <a:lnTo>
                  <a:pt x="296" y="1810"/>
                </a:lnTo>
                <a:lnTo>
                  <a:pt x="278" y="1791"/>
                </a:lnTo>
                <a:lnTo>
                  <a:pt x="262" y="1772"/>
                </a:lnTo>
                <a:lnTo>
                  <a:pt x="245" y="1752"/>
                </a:lnTo>
                <a:lnTo>
                  <a:pt x="229" y="1731"/>
                </a:lnTo>
                <a:lnTo>
                  <a:pt x="213" y="1711"/>
                </a:lnTo>
                <a:lnTo>
                  <a:pt x="199" y="1691"/>
                </a:lnTo>
                <a:lnTo>
                  <a:pt x="184" y="1670"/>
                </a:lnTo>
                <a:lnTo>
                  <a:pt x="169" y="1648"/>
                </a:lnTo>
                <a:lnTo>
                  <a:pt x="156" y="1626"/>
                </a:lnTo>
                <a:lnTo>
                  <a:pt x="142" y="1604"/>
                </a:lnTo>
                <a:lnTo>
                  <a:pt x="130" y="1582"/>
                </a:lnTo>
                <a:lnTo>
                  <a:pt x="118" y="1558"/>
                </a:lnTo>
                <a:lnTo>
                  <a:pt x="106" y="1534"/>
                </a:lnTo>
                <a:lnTo>
                  <a:pt x="95" y="1512"/>
                </a:lnTo>
                <a:lnTo>
                  <a:pt x="85" y="1487"/>
                </a:lnTo>
                <a:lnTo>
                  <a:pt x="75" y="1463"/>
                </a:lnTo>
                <a:lnTo>
                  <a:pt x="66" y="1439"/>
                </a:lnTo>
                <a:lnTo>
                  <a:pt x="57" y="1414"/>
                </a:lnTo>
                <a:lnTo>
                  <a:pt x="49" y="1389"/>
                </a:lnTo>
                <a:lnTo>
                  <a:pt x="41" y="1363"/>
                </a:lnTo>
                <a:lnTo>
                  <a:pt x="34" y="1339"/>
                </a:lnTo>
                <a:lnTo>
                  <a:pt x="27" y="1313"/>
                </a:lnTo>
                <a:lnTo>
                  <a:pt x="22" y="1287"/>
                </a:lnTo>
                <a:lnTo>
                  <a:pt x="17" y="1260"/>
                </a:lnTo>
                <a:lnTo>
                  <a:pt x="13" y="1234"/>
                </a:lnTo>
                <a:lnTo>
                  <a:pt x="8" y="1207"/>
                </a:lnTo>
                <a:lnTo>
                  <a:pt x="6" y="1180"/>
                </a:lnTo>
                <a:lnTo>
                  <a:pt x="4" y="1153"/>
                </a:lnTo>
                <a:lnTo>
                  <a:pt x="2" y="1126"/>
                </a:lnTo>
                <a:lnTo>
                  <a:pt x="0" y="1099"/>
                </a:lnTo>
                <a:lnTo>
                  <a:pt x="0" y="1071"/>
                </a:lnTo>
                <a:lnTo>
                  <a:pt x="0" y="1044"/>
                </a:lnTo>
                <a:lnTo>
                  <a:pt x="2" y="1015"/>
                </a:lnTo>
                <a:lnTo>
                  <a:pt x="4" y="988"/>
                </a:lnTo>
                <a:lnTo>
                  <a:pt x="6" y="961"/>
                </a:lnTo>
                <a:lnTo>
                  <a:pt x="8" y="934"/>
                </a:lnTo>
                <a:lnTo>
                  <a:pt x="13" y="908"/>
                </a:lnTo>
                <a:lnTo>
                  <a:pt x="17" y="881"/>
                </a:lnTo>
                <a:lnTo>
                  <a:pt x="22" y="856"/>
                </a:lnTo>
                <a:lnTo>
                  <a:pt x="27" y="830"/>
                </a:lnTo>
                <a:lnTo>
                  <a:pt x="34" y="804"/>
                </a:lnTo>
                <a:lnTo>
                  <a:pt x="41" y="778"/>
                </a:lnTo>
                <a:lnTo>
                  <a:pt x="49" y="753"/>
                </a:lnTo>
                <a:lnTo>
                  <a:pt x="57" y="727"/>
                </a:lnTo>
                <a:lnTo>
                  <a:pt x="66" y="702"/>
                </a:lnTo>
                <a:lnTo>
                  <a:pt x="75" y="679"/>
                </a:lnTo>
                <a:lnTo>
                  <a:pt x="85" y="654"/>
                </a:lnTo>
                <a:lnTo>
                  <a:pt x="95" y="630"/>
                </a:lnTo>
                <a:lnTo>
                  <a:pt x="106" y="607"/>
                </a:lnTo>
                <a:lnTo>
                  <a:pt x="118" y="583"/>
                </a:lnTo>
                <a:lnTo>
                  <a:pt x="130" y="561"/>
                </a:lnTo>
                <a:lnTo>
                  <a:pt x="142" y="538"/>
                </a:lnTo>
                <a:lnTo>
                  <a:pt x="156" y="516"/>
                </a:lnTo>
                <a:lnTo>
                  <a:pt x="169" y="494"/>
                </a:lnTo>
                <a:lnTo>
                  <a:pt x="184" y="473"/>
                </a:lnTo>
                <a:lnTo>
                  <a:pt x="199" y="451"/>
                </a:lnTo>
                <a:lnTo>
                  <a:pt x="213" y="430"/>
                </a:lnTo>
                <a:lnTo>
                  <a:pt x="229" y="410"/>
                </a:lnTo>
                <a:lnTo>
                  <a:pt x="245" y="390"/>
                </a:lnTo>
                <a:lnTo>
                  <a:pt x="262" y="370"/>
                </a:lnTo>
                <a:lnTo>
                  <a:pt x="278" y="351"/>
                </a:lnTo>
                <a:lnTo>
                  <a:pt x="296" y="332"/>
                </a:lnTo>
                <a:lnTo>
                  <a:pt x="314" y="314"/>
                </a:lnTo>
                <a:lnTo>
                  <a:pt x="332" y="296"/>
                </a:lnTo>
                <a:lnTo>
                  <a:pt x="352" y="278"/>
                </a:lnTo>
                <a:lnTo>
                  <a:pt x="371" y="261"/>
                </a:lnTo>
                <a:lnTo>
                  <a:pt x="390" y="244"/>
                </a:lnTo>
                <a:lnTo>
                  <a:pt x="410" y="229"/>
                </a:lnTo>
                <a:lnTo>
                  <a:pt x="430" y="213"/>
                </a:lnTo>
                <a:lnTo>
                  <a:pt x="452" y="197"/>
                </a:lnTo>
                <a:lnTo>
                  <a:pt x="473" y="182"/>
                </a:lnTo>
                <a:lnTo>
                  <a:pt x="494" y="169"/>
                </a:lnTo>
                <a:lnTo>
                  <a:pt x="516" y="155"/>
                </a:lnTo>
                <a:lnTo>
                  <a:pt x="538" y="142"/>
                </a:lnTo>
                <a:lnTo>
                  <a:pt x="561" y="129"/>
                </a:lnTo>
                <a:lnTo>
                  <a:pt x="585" y="117"/>
                </a:lnTo>
                <a:lnTo>
                  <a:pt x="607" y="106"/>
                </a:lnTo>
                <a:lnTo>
                  <a:pt x="631" y="95"/>
                </a:lnTo>
                <a:lnTo>
                  <a:pt x="654" y="84"/>
                </a:lnTo>
                <a:lnTo>
                  <a:pt x="679" y="74"/>
                </a:lnTo>
                <a:lnTo>
                  <a:pt x="704" y="64"/>
                </a:lnTo>
                <a:lnTo>
                  <a:pt x="729" y="56"/>
                </a:lnTo>
                <a:lnTo>
                  <a:pt x="753" y="47"/>
                </a:lnTo>
                <a:lnTo>
                  <a:pt x="778" y="41"/>
                </a:lnTo>
                <a:lnTo>
                  <a:pt x="804" y="34"/>
                </a:lnTo>
                <a:lnTo>
                  <a:pt x="830" y="27"/>
                </a:lnTo>
                <a:lnTo>
                  <a:pt x="856" y="21"/>
                </a:lnTo>
                <a:lnTo>
                  <a:pt x="882" y="16"/>
                </a:lnTo>
                <a:lnTo>
                  <a:pt x="909" y="12"/>
                </a:lnTo>
                <a:lnTo>
                  <a:pt x="934" y="8"/>
                </a:lnTo>
                <a:lnTo>
                  <a:pt x="961" y="6"/>
                </a:lnTo>
                <a:lnTo>
                  <a:pt x="989" y="2"/>
                </a:lnTo>
                <a:lnTo>
                  <a:pt x="1017" y="1"/>
                </a:lnTo>
                <a:lnTo>
                  <a:pt x="1044" y="0"/>
                </a:lnTo>
                <a:lnTo>
                  <a:pt x="1071" y="0"/>
                </a:lnTo>
                <a:lnTo>
                  <a:pt x="1099" y="0"/>
                </a:lnTo>
                <a:lnTo>
                  <a:pt x="1126" y="1"/>
                </a:lnTo>
                <a:lnTo>
                  <a:pt x="1154" y="2"/>
                </a:lnTo>
                <a:lnTo>
                  <a:pt x="1181" y="6"/>
                </a:lnTo>
                <a:lnTo>
                  <a:pt x="1207" y="8"/>
                </a:lnTo>
                <a:lnTo>
                  <a:pt x="1234" y="12"/>
                </a:lnTo>
                <a:lnTo>
                  <a:pt x="1261" y="16"/>
                </a:lnTo>
                <a:lnTo>
                  <a:pt x="1287" y="21"/>
                </a:lnTo>
                <a:lnTo>
                  <a:pt x="1313" y="27"/>
                </a:lnTo>
                <a:lnTo>
                  <a:pt x="1338" y="34"/>
                </a:lnTo>
                <a:lnTo>
                  <a:pt x="1364" y="41"/>
                </a:lnTo>
                <a:lnTo>
                  <a:pt x="1389" y="47"/>
                </a:lnTo>
                <a:lnTo>
                  <a:pt x="1414" y="56"/>
                </a:lnTo>
                <a:lnTo>
                  <a:pt x="1439" y="64"/>
                </a:lnTo>
                <a:lnTo>
                  <a:pt x="1463" y="74"/>
                </a:lnTo>
                <a:lnTo>
                  <a:pt x="1487" y="84"/>
                </a:lnTo>
                <a:lnTo>
                  <a:pt x="1512" y="95"/>
                </a:lnTo>
                <a:lnTo>
                  <a:pt x="1535" y="106"/>
                </a:lnTo>
                <a:lnTo>
                  <a:pt x="1558" y="117"/>
                </a:lnTo>
                <a:lnTo>
                  <a:pt x="1582" y="129"/>
                </a:lnTo>
                <a:lnTo>
                  <a:pt x="1604" y="142"/>
                </a:lnTo>
                <a:lnTo>
                  <a:pt x="1627" y="155"/>
                </a:lnTo>
                <a:lnTo>
                  <a:pt x="1648" y="169"/>
                </a:lnTo>
                <a:lnTo>
                  <a:pt x="1669" y="182"/>
                </a:lnTo>
                <a:lnTo>
                  <a:pt x="1691" y="197"/>
                </a:lnTo>
                <a:lnTo>
                  <a:pt x="1711" y="213"/>
                </a:lnTo>
                <a:lnTo>
                  <a:pt x="1732" y="229"/>
                </a:lnTo>
                <a:lnTo>
                  <a:pt x="1751" y="244"/>
                </a:lnTo>
                <a:lnTo>
                  <a:pt x="1772" y="261"/>
                </a:lnTo>
                <a:lnTo>
                  <a:pt x="1791" y="278"/>
                </a:lnTo>
                <a:lnTo>
                  <a:pt x="1810" y="296"/>
                </a:lnTo>
                <a:lnTo>
                  <a:pt x="1828" y="314"/>
                </a:lnTo>
                <a:lnTo>
                  <a:pt x="1846" y="332"/>
                </a:lnTo>
                <a:lnTo>
                  <a:pt x="1864" y="351"/>
                </a:lnTo>
                <a:lnTo>
                  <a:pt x="1881" y="370"/>
                </a:lnTo>
                <a:lnTo>
                  <a:pt x="1897" y="390"/>
                </a:lnTo>
                <a:lnTo>
                  <a:pt x="1914" y="410"/>
                </a:lnTo>
                <a:lnTo>
                  <a:pt x="1929" y="430"/>
                </a:lnTo>
                <a:lnTo>
                  <a:pt x="1944" y="451"/>
                </a:lnTo>
                <a:lnTo>
                  <a:pt x="1959" y="473"/>
                </a:lnTo>
                <a:lnTo>
                  <a:pt x="1973" y="494"/>
                </a:lnTo>
                <a:lnTo>
                  <a:pt x="1987" y="516"/>
                </a:lnTo>
                <a:lnTo>
                  <a:pt x="2000" y="538"/>
                </a:lnTo>
                <a:lnTo>
                  <a:pt x="2013" y="561"/>
                </a:lnTo>
                <a:lnTo>
                  <a:pt x="2025" y="583"/>
                </a:lnTo>
                <a:lnTo>
                  <a:pt x="2036" y="607"/>
                </a:lnTo>
                <a:lnTo>
                  <a:pt x="2047" y="630"/>
                </a:lnTo>
                <a:lnTo>
                  <a:pt x="2058" y="654"/>
                </a:lnTo>
                <a:lnTo>
                  <a:pt x="2068" y="679"/>
                </a:lnTo>
                <a:lnTo>
                  <a:pt x="2077" y="702"/>
                </a:lnTo>
                <a:lnTo>
                  <a:pt x="2086" y="727"/>
                </a:lnTo>
                <a:lnTo>
                  <a:pt x="2094" y="753"/>
                </a:lnTo>
                <a:lnTo>
                  <a:pt x="2101" y="778"/>
                </a:lnTo>
                <a:lnTo>
                  <a:pt x="2108" y="804"/>
                </a:lnTo>
                <a:lnTo>
                  <a:pt x="2115" y="830"/>
                </a:lnTo>
                <a:lnTo>
                  <a:pt x="2121" y="856"/>
                </a:lnTo>
                <a:lnTo>
                  <a:pt x="2125" y="881"/>
                </a:lnTo>
                <a:lnTo>
                  <a:pt x="2130" y="908"/>
                </a:lnTo>
                <a:lnTo>
                  <a:pt x="2133" y="934"/>
                </a:lnTo>
                <a:lnTo>
                  <a:pt x="2136" y="961"/>
                </a:lnTo>
                <a:lnTo>
                  <a:pt x="2139" y="988"/>
                </a:lnTo>
                <a:lnTo>
                  <a:pt x="2141" y="1015"/>
                </a:lnTo>
                <a:lnTo>
                  <a:pt x="2142" y="1044"/>
                </a:lnTo>
                <a:lnTo>
                  <a:pt x="2142" y="1071"/>
                </a:lnTo>
                <a:lnTo>
                  <a:pt x="2142" y="1099"/>
                </a:lnTo>
                <a:lnTo>
                  <a:pt x="2141" y="1126"/>
                </a:lnTo>
                <a:lnTo>
                  <a:pt x="2139" y="1153"/>
                </a:lnTo>
                <a:lnTo>
                  <a:pt x="2136" y="1180"/>
                </a:lnTo>
                <a:lnTo>
                  <a:pt x="2133" y="1207"/>
                </a:lnTo>
                <a:lnTo>
                  <a:pt x="2130" y="1234"/>
                </a:lnTo>
                <a:lnTo>
                  <a:pt x="2125" y="1260"/>
                </a:lnTo>
                <a:lnTo>
                  <a:pt x="2121" y="1287"/>
                </a:lnTo>
                <a:lnTo>
                  <a:pt x="2115" y="1313"/>
                </a:lnTo>
                <a:lnTo>
                  <a:pt x="2108" y="1339"/>
                </a:lnTo>
                <a:lnTo>
                  <a:pt x="2101" y="1363"/>
                </a:lnTo>
                <a:lnTo>
                  <a:pt x="2094" y="1389"/>
                </a:lnTo>
                <a:lnTo>
                  <a:pt x="2086" y="1414"/>
                </a:lnTo>
                <a:lnTo>
                  <a:pt x="2077" y="1439"/>
                </a:lnTo>
                <a:lnTo>
                  <a:pt x="2068" y="1463"/>
                </a:lnTo>
                <a:lnTo>
                  <a:pt x="2058" y="1487"/>
                </a:lnTo>
                <a:lnTo>
                  <a:pt x="2047" y="1512"/>
                </a:lnTo>
                <a:lnTo>
                  <a:pt x="2036" y="1534"/>
                </a:lnTo>
                <a:lnTo>
                  <a:pt x="2025" y="1558"/>
                </a:lnTo>
                <a:lnTo>
                  <a:pt x="2013" y="1582"/>
                </a:lnTo>
                <a:lnTo>
                  <a:pt x="2000" y="1604"/>
                </a:lnTo>
                <a:lnTo>
                  <a:pt x="1987" y="1626"/>
                </a:lnTo>
                <a:lnTo>
                  <a:pt x="1973" y="1648"/>
                </a:lnTo>
                <a:lnTo>
                  <a:pt x="1959" y="1670"/>
                </a:lnTo>
                <a:lnTo>
                  <a:pt x="1944" y="1691"/>
                </a:lnTo>
                <a:lnTo>
                  <a:pt x="1929" y="1711"/>
                </a:lnTo>
                <a:lnTo>
                  <a:pt x="1914" y="1731"/>
                </a:lnTo>
                <a:lnTo>
                  <a:pt x="1897" y="1752"/>
                </a:lnTo>
                <a:lnTo>
                  <a:pt x="1881" y="1772"/>
                </a:lnTo>
                <a:lnTo>
                  <a:pt x="1864" y="1791"/>
                </a:lnTo>
                <a:lnTo>
                  <a:pt x="1846" y="1810"/>
                </a:lnTo>
                <a:lnTo>
                  <a:pt x="1828" y="1828"/>
                </a:lnTo>
                <a:lnTo>
                  <a:pt x="1810" y="1846"/>
                </a:lnTo>
                <a:lnTo>
                  <a:pt x="1791" y="1863"/>
                </a:lnTo>
                <a:lnTo>
                  <a:pt x="1772" y="1881"/>
                </a:lnTo>
                <a:lnTo>
                  <a:pt x="1751" y="1897"/>
                </a:lnTo>
                <a:lnTo>
                  <a:pt x="1732" y="1914"/>
                </a:lnTo>
                <a:lnTo>
                  <a:pt x="1711" y="1930"/>
                </a:lnTo>
                <a:lnTo>
                  <a:pt x="1691" y="1944"/>
                </a:lnTo>
                <a:lnTo>
                  <a:pt x="1669" y="1959"/>
                </a:lnTo>
                <a:lnTo>
                  <a:pt x="1648" y="1973"/>
                </a:lnTo>
                <a:lnTo>
                  <a:pt x="1627" y="1987"/>
                </a:lnTo>
                <a:lnTo>
                  <a:pt x="1604" y="2000"/>
                </a:lnTo>
                <a:lnTo>
                  <a:pt x="1582" y="2013"/>
                </a:lnTo>
                <a:lnTo>
                  <a:pt x="1558" y="2025"/>
                </a:lnTo>
                <a:lnTo>
                  <a:pt x="1535" y="2036"/>
                </a:lnTo>
                <a:lnTo>
                  <a:pt x="1512" y="2048"/>
                </a:lnTo>
                <a:lnTo>
                  <a:pt x="1487" y="2058"/>
                </a:lnTo>
                <a:lnTo>
                  <a:pt x="1463" y="2068"/>
                </a:lnTo>
                <a:lnTo>
                  <a:pt x="1439" y="2077"/>
                </a:lnTo>
                <a:lnTo>
                  <a:pt x="1414" y="2086"/>
                </a:lnTo>
                <a:lnTo>
                  <a:pt x="1389" y="2094"/>
                </a:lnTo>
                <a:lnTo>
                  <a:pt x="1364" y="2102"/>
                </a:lnTo>
                <a:lnTo>
                  <a:pt x="1338" y="2109"/>
                </a:lnTo>
                <a:lnTo>
                  <a:pt x="1313" y="2114"/>
                </a:lnTo>
                <a:lnTo>
                  <a:pt x="1287" y="2121"/>
                </a:lnTo>
                <a:lnTo>
                  <a:pt x="1261" y="2125"/>
                </a:lnTo>
                <a:lnTo>
                  <a:pt x="1234" y="2130"/>
                </a:lnTo>
                <a:lnTo>
                  <a:pt x="1207" y="2133"/>
                </a:lnTo>
                <a:lnTo>
                  <a:pt x="1181" y="2137"/>
                </a:lnTo>
                <a:lnTo>
                  <a:pt x="1154" y="2139"/>
                </a:lnTo>
                <a:lnTo>
                  <a:pt x="1126" y="2141"/>
                </a:lnTo>
                <a:lnTo>
                  <a:pt x="1099" y="2142"/>
                </a:lnTo>
                <a:lnTo>
                  <a:pt x="1071" y="2142"/>
                </a:lnTo>
                <a:close/>
                <a:moveTo>
                  <a:pt x="1068" y="651"/>
                </a:moveTo>
                <a:lnTo>
                  <a:pt x="1050" y="652"/>
                </a:lnTo>
                <a:lnTo>
                  <a:pt x="1035" y="652"/>
                </a:lnTo>
                <a:lnTo>
                  <a:pt x="1005" y="654"/>
                </a:lnTo>
                <a:lnTo>
                  <a:pt x="992" y="656"/>
                </a:lnTo>
                <a:lnTo>
                  <a:pt x="981" y="659"/>
                </a:lnTo>
                <a:lnTo>
                  <a:pt x="970" y="661"/>
                </a:lnTo>
                <a:lnTo>
                  <a:pt x="961" y="664"/>
                </a:lnTo>
                <a:lnTo>
                  <a:pt x="952" y="668"/>
                </a:lnTo>
                <a:lnTo>
                  <a:pt x="946" y="672"/>
                </a:lnTo>
                <a:lnTo>
                  <a:pt x="939" y="677"/>
                </a:lnTo>
                <a:lnTo>
                  <a:pt x="932" y="682"/>
                </a:lnTo>
                <a:lnTo>
                  <a:pt x="927" y="689"/>
                </a:lnTo>
                <a:lnTo>
                  <a:pt x="921" y="696"/>
                </a:lnTo>
                <a:lnTo>
                  <a:pt x="916" y="702"/>
                </a:lnTo>
                <a:lnTo>
                  <a:pt x="913" y="710"/>
                </a:lnTo>
                <a:lnTo>
                  <a:pt x="906" y="728"/>
                </a:lnTo>
                <a:lnTo>
                  <a:pt x="903" y="739"/>
                </a:lnTo>
                <a:lnTo>
                  <a:pt x="900" y="750"/>
                </a:lnTo>
                <a:lnTo>
                  <a:pt x="896" y="762"/>
                </a:lnTo>
                <a:lnTo>
                  <a:pt x="893" y="775"/>
                </a:lnTo>
                <a:lnTo>
                  <a:pt x="887" y="803"/>
                </a:lnTo>
                <a:lnTo>
                  <a:pt x="886" y="805"/>
                </a:lnTo>
                <a:lnTo>
                  <a:pt x="886" y="807"/>
                </a:lnTo>
                <a:lnTo>
                  <a:pt x="884" y="812"/>
                </a:lnTo>
                <a:lnTo>
                  <a:pt x="880" y="815"/>
                </a:lnTo>
                <a:lnTo>
                  <a:pt x="877" y="817"/>
                </a:lnTo>
                <a:lnTo>
                  <a:pt x="873" y="820"/>
                </a:lnTo>
                <a:lnTo>
                  <a:pt x="868" y="822"/>
                </a:lnTo>
                <a:lnTo>
                  <a:pt x="864" y="822"/>
                </a:lnTo>
                <a:lnTo>
                  <a:pt x="858" y="822"/>
                </a:lnTo>
                <a:lnTo>
                  <a:pt x="774" y="814"/>
                </a:lnTo>
                <a:lnTo>
                  <a:pt x="769" y="813"/>
                </a:lnTo>
                <a:lnTo>
                  <a:pt x="767" y="812"/>
                </a:lnTo>
                <a:lnTo>
                  <a:pt x="765" y="811"/>
                </a:lnTo>
                <a:lnTo>
                  <a:pt x="761" y="807"/>
                </a:lnTo>
                <a:lnTo>
                  <a:pt x="758" y="804"/>
                </a:lnTo>
                <a:lnTo>
                  <a:pt x="756" y="798"/>
                </a:lnTo>
                <a:lnTo>
                  <a:pt x="754" y="793"/>
                </a:lnTo>
                <a:lnTo>
                  <a:pt x="754" y="787"/>
                </a:lnTo>
                <a:lnTo>
                  <a:pt x="754" y="779"/>
                </a:lnTo>
                <a:lnTo>
                  <a:pt x="757" y="762"/>
                </a:lnTo>
                <a:lnTo>
                  <a:pt x="759" y="746"/>
                </a:lnTo>
                <a:lnTo>
                  <a:pt x="762" y="731"/>
                </a:lnTo>
                <a:lnTo>
                  <a:pt x="766" y="716"/>
                </a:lnTo>
                <a:lnTo>
                  <a:pt x="770" y="701"/>
                </a:lnTo>
                <a:lnTo>
                  <a:pt x="775" y="688"/>
                </a:lnTo>
                <a:lnTo>
                  <a:pt x="779" y="675"/>
                </a:lnTo>
                <a:lnTo>
                  <a:pt x="785" y="663"/>
                </a:lnTo>
                <a:lnTo>
                  <a:pt x="788" y="657"/>
                </a:lnTo>
                <a:lnTo>
                  <a:pt x="790" y="651"/>
                </a:lnTo>
                <a:lnTo>
                  <a:pt x="797" y="641"/>
                </a:lnTo>
                <a:lnTo>
                  <a:pt x="804" y="629"/>
                </a:lnTo>
                <a:lnTo>
                  <a:pt x="811" y="620"/>
                </a:lnTo>
                <a:lnTo>
                  <a:pt x="819" y="611"/>
                </a:lnTo>
                <a:lnTo>
                  <a:pt x="826" y="602"/>
                </a:lnTo>
                <a:lnTo>
                  <a:pt x="834" y="594"/>
                </a:lnTo>
                <a:lnTo>
                  <a:pt x="843" y="588"/>
                </a:lnTo>
                <a:lnTo>
                  <a:pt x="852" y="581"/>
                </a:lnTo>
                <a:lnTo>
                  <a:pt x="862" y="575"/>
                </a:lnTo>
                <a:lnTo>
                  <a:pt x="874" y="569"/>
                </a:lnTo>
                <a:lnTo>
                  <a:pt x="885" y="564"/>
                </a:lnTo>
                <a:lnTo>
                  <a:pt x="897" y="558"/>
                </a:lnTo>
                <a:lnTo>
                  <a:pt x="911" y="555"/>
                </a:lnTo>
                <a:lnTo>
                  <a:pt x="924" y="551"/>
                </a:lnTo>
                <a:lnTo>
                  <a:pt x="931" y="548"/>
                </a:lnTo>
                <a:lnTo>
                  <a:pt x="939" y="547"/>
                </a:lnTo>
                <a:lnTo>
                  <a:pt x="954" y="544"/>
                </a:lnTo>
                <a:lnTo>
                  <a:pt x="970" y="542"/>
                </a:lnTo>
                <a:lnTo>
                  <a:pt x="986" y="539"/>
                </a:lnTo>
                <a:lnTo>
                  <a:pt x="1004" y="537"/>
                </a:lnTo>
                <a:lnTo>
                  <a:pt x="1022" y="536"/>
                </a:lnTo>
                <a:lnTo>
                  <a:pt x="1041" y="535"/>
                </a:lnTo>
                <a:lnTo>
                  <a:pt x="1061" y="535"/>
                </a:lnTo>
                <a:lnTo>
                  <a:pt x="1081" y="535"/>
                </a:lnTo>
                <a:lnTo>
                  <a:pt x="1102" y="535"/>
                </a:lnTo>
                <a:lnTo>
                  <a:pt x="1122" y="536"/>
                </a:lnTo>
                <a:lnTo>
                  <a:pt x="1142" y="537"/>
                </a:lnTo>
                <a:lnTo>
                  <a:pt x="1160" y="539"/>
                </a:lnTo>
                <a:lnTo>
                  <a:pt x="1178" y="542"/>
                </a:lnTo>
                <a:lnTo>
                  <a:pt x="1194" y="544"/>
                </a:lnTo>
                <a:lnTo>
                  <a:pt x="1203" y="545"/>
                </a:lnTo>
                <a:lnTo>
                  <a:pt x="1211" y="547"/>
                </a:lnTo>
                <a:lnTo>
                  <a:pt x="1226" y="551"/>
                </a:lnTo>
                <a:lnTo>
                  <a:pt x="1241" y="555"/>
                </a:lnTo>
                <a:lnTo>
                  <a:pt x="1255" y="560"/>
                </a:lnTo>
                <a:lnTo>
                  <a:pt x="1268" y="565"/>
                </a:lnTo>
                <a:lnTo>
                  <a:pt x="1280" y="571"/>
                </a:lnTo>
                <a:lnTo>
                  <a:pt x="1291" y="578"/>
                </a:lnTo>
                <a:lnTo>
                  <a:pt x="1301" y="584"/>
                </a:lnTo>
                <a:lnTo>
                  <a:pt x="1311" y="591"/>
                </a:lnTo>
                <a:lnTo>
                  <a:pt x="1320" y="599"/>
                </a:lnTo>
                <a:lnTo>
                  <a:pt x="1328" y="608"/>
                </a:lnTo>
                <a:lnTo>
                  <a:pt x="1336" y="617"/>
                </a:lnTo>
                <a:lnTo>
                  <a:pt x="1343" y="626"/>
                </a:lnTo>
                <a:lnTo>
                  <a:pt x="1350" y="636"/>
                </a:lnTo>
                <a:lnTo>
                  <a:pt x="1356" y="647"/>
                </a:lnTo>
                <a:lnTo>
                  <a:pt x="1362" y="659"/>
                </a:lnTo>
                <a:lnTo>
                  <a:pt x="1367" y="670"/>
                </a:lnTo>
                <a:lnTo>
                  <a:pt x="1371" y="682"/>
                </a:lnTo>
                <a:lnTo>
                  <a:pt x="1374" y="695"/>
                </a:lnTo>
                <a:lnTo>
                  <a:pt x="1378" y="708"/>
                </a:lnTo>
                <a:lnTo>
                  <a:pt x="1381" y="723"/>
                </a:lnTo>
                <a:lnTo>
                  <a:pt x="1383" y="737"/>
                </a:lnTo>
                <a:lnTo>
                  <a:pt x="1385" y="752"/>
                </a:lnTo>
                <a:lnTo>
                  <a:pt x="1386" y="768"/>
                </a:lnTo>
                <a:lnTo>
                  <a:pt x="1386" y="784"/>
                </a:lnTo>
                <a:lnTo>
                  <a:pt x="1386" y="800"/>
                </a:lnTo>
                <a:lnTo>
                  <a:pt x="1386" y="811"/>
                </a:lnTo>
                <a:lnTo>
                  <a:pt x="1386" y="821"/>
                </a:lnTo>
                <a:lnTo>
                  <a:pt x="1383" y="841"/>
                </a:lnTo>
                <a:lnTo>
                  <a:pt x="1382" y="850"/>
                </a:lnTo>
                <a:lnTo>
                  <a:pt x="1380" y="860"/>
                </a:lnTo>
                <a:lnTo>
                  <a:pt x="1377" y="879"/>
                </a:lnTo>
                <a:lnTo>
                  <a:pt x="1371" y="897"/>
                </a:lnTo>
                <a:lnTo>
                  <a:pt x="1365" y="916"/>
                </a:lnTo>
                <a:lnTo>
                  <a:pt x="1358" y="934"/>
                </a:lnTo>
                <a:lnTo>
                  <a:pt x="1350" y="951"/>
                </a:lnTo>
                <a:lnTo>
                  <a:pt x="1341" y="969"/>
                </a:lnTo>
                <a:lnTo>
                  <a:pt x="1335" y="977"/>
                </a:lnTo>
                <a:lnTo>
                  <a:pt x="1331" y="986"/>
                </a:lnTo>
                <a:lnTo>
                  <a:pt x="1319" y="1003"/>
                </a:lnTo>
                <a:lnTo>
                  <a:pt x="1308" y="1020"/>
                </a:lnTo>
                <a:lnTo>
                  <a:pt x="1296" y="1037"/>
                </a:lnTo>
                <a:lnTo>
                  <a:pt x="1283" y="1054"/>
                </a:lnTo>
                <a:lnTo>
                  <a:pt x="1270" y="1071"/>
                </a:lnTo>
                <a:lnTo>
                  <a:pt x="1255" y="1086"/>
                </a:lnTo>
                <a:lnTo>
                  <a:pt x="902" y="1486"/>
                </a:lnTo>
                <a:lnTo>
                  <a:pt x="1396" y="1486"/>
                </a:lnTo>
                <a:lnTo>
                  <a:pt x="1400" y="1486"/>
                </a:lnTo>
                <a:lnTo>
                  <a:pt x="1404" y="1486"/>
                </a:lnTo>
                <a:lnTo>
                  <a:pt x="1406" y="1487"/>
                </a:lnTo>
                <a:lnTo>
                  <a:pt x="1408" y="1489"/>
                </a:lnTo>
                <a:lnTo>
                  <a:pt x="1411" y="1492"/>
                </a:lnTo>
                <a:lnTo>
                  <a:pt x="1412" y="1495"/>
                </a:lnTo>
                <a:lnTo>
                  <a:pt x="1413" y="1500"/>
                </a:lnTo>
                <a:lnTo>
                  <a:pt x="1413" y="1505"/>
                </a:lnTo>
                <a:lnTo>
                  <a:pt x="1413" y="1591"/>
                </a:lnTo>
                <a:lnTo>
                  <a:pt x="1413" y="1595"/>
                </a:lnTo>
                <a:lnTo>
                  <a:pt x="1412" y="1599"/>
                </a:lnTo>
                <a:lnTo>
                  <a:pt x="1411" y="1602"/>
                </a:lnTo>
                <a:lnTo>
                  <a:pt x="1408" y="1604"/>
                </a:lnTo>
                <a:lnTo>
                  <a:pt x="1406" y="1605"/>
                </a:lnTo>
                <a:lnTo>
                  <a:pt x="1404" y="1606"/>
                </a:lnTo>
                <a:lnTo>
                  <a:pt x="1400" y="1606"/>
                </a:lnTo>
                <a:lnTo>
                  <a:pt x="1396" y="1606"/>
                </a:lnTo>
                <a:lnTo>
                  <a:pt x="748" y="1606"/>
                </a:lnTo>
                <a:lnTo>
                  <a:pt x="744" y="1606"/>
                </a:lnTo>
                <a:lnTo>
                  <a:pt x="740" y="1606"/>
                </a:lnTo>
                <a:lnTo>
                  <a:pt x="738" y="1605"/>
                </a:lnTo>
                <a:lnTo>
                  <a:pt x="734" y="1604"/>
                </a:lnTo>
                <a:lnTo>
                  <a:pt x="732" y="1602"/>
                </a:lnTo>
                <a:lnTo>
                  <a:pt x="731" y="1599"/>
                </a:lnTo>
                <a:lnTo>
                  <a:pt x="730" y="1595"/>
                </a:lnTo>
                <a:lnTo>
                  <a:pt x="730" y="1591"/>
                </a:lnTo>
                <a:lnTo>
                  <a:pt x="730" y="1516"/>
                </a:lnTo>
                <a:lnTo>
                  <a:pt x="730" y="1509"/>
                </a:lnTo>
                <a:lnTo>
                  <a:pt x="731" y="1501"/>
                </a:lnTo>
                <a:lnTo>
                  <a:pt x="733" y="1494"/>
                </a:lnTo>
                <a:lnTo>
                  <a:pt x="735" y="1488"/>
                </a:lnTo>
                <a:lnTo>
                  <a:pt x="738" y="1483"/>
                </a:lnTo>
                <a:lnTo>
                  <a:pt x="742" y="1477"/>
                </a:lnTo>
                <a:lnTo>
                  <a:pt x="751" y="1466"/>
                </a:lnTo>
                <a:lnTo>
                  <a:pt x="1162" y="1011"/>
                </a:lnTo>
                <a:lnTo>
                  <a:pt x="1172" y="999"/>
                </a:lnTo>
                <a:lnTo>
                  <a:pt x="1183" y="986"/>
                </a:lnTo>
                <a:lnTo>
                  <a:pt x="1192" y="975"/>
                </a:lnTo>
                <a:lnTo>
                  <a:pt x="1201" y="963"/>
                </a:lnTo>
                <a:lnTo>
                  <a:pt x="1209" y="950"/>
                </a:lnTo>
                <a:lnTo>
                  <a:pt x="1216" y="939"/>
                </a:lnTo>
                <a:lnTo>
                  <a:pt x="1223" y="927"/>
                </a:lnTo>
                <a:lnTo>
                  <a:pt x="1228" y="915"/>
                </a:lnTo>
                <a:lnTo>
                  <a:pt x="1237" y="892"/>
                </a:lnTo>
                <a:lnTo>
                  <a:pt x="1241" y="880"/>
                </a:lnTo>
                <a:lnTo>
                  <a:pt x="1244" y="869"/>
                </a:lnTo>
                <a:lnTo>
                  <a:pt x="1246" y="857"/>
                </a:lnTo>
                <a:lnTo>
                  <a:pt x="1247" y="845"/>
                </a:lnTo>
                <a:lnTo>
                  <a:pt x="1248" y="834"/>
                </a:lnTo>
                <a:lnTo>
                  <a:pt x="1248" y="822"/>
                </a:lnTo>
                <a:lnTo>
                  <a:pt x="1248" y="800"/>
                </a:lnTo>
                <a:lnTo>
                  <a:pt x="1247" y="781"/>
                </a:lnTo>
                <a:lnTo>
                  <a:pt x="1246" y="771"/>
                </a:lnTo>
                <a:lnTo>
                  <a:pt x="1245" y="762"/>
                </a:lnTo>
                <a:lnTo>
                  <a:pt x="1241" y="745"/>
                </a:lnTo>
                <a:lnTo>
                  <a:pt x="1238" y="737"/>
                </a:lnTo>
                <a:lnTo>
                  <a:pt x="1236" y="730"/>
                </a:lnTo>
                <a:lnTo>
                  <a:pt x="1229" y="716"/>
                </a:lnTo>
                <a:lnTo>
                  <a:pt x="1226" y="709"/>
                </a:lnTo>
                <a:lnTo>
                  <a:pt x="1223" y="704"/>
                </a:lnTo>
                <a:lnTo>
                  <a:pt x="1218" y="698"/>
                </a:lnTo>
                <a:lnTo>
                  <a:pt x="1214" y="692"/>
                </a:lnTo>
                <a:lnTo>
                  <a:pt x="1209" y="688"/>
                </a:lnTo>
                <a:lnTo>
                  <a:pt x="1203" y="682"/>
                </a:lnTo>
                <a:lnTo>
                  <a:pt x="1197" y="678"/>
                </a:lnTo>
                <a:lnTo>
                  <a:pt x="1190" y="674"/>
                </a:lnTo>
                <a:lnTo>
                  <a:pt x="1183" y="671"/>
                </a:lnTo>
                <a:lnTo>
                  <a:pt x="1175" y="668"/>
                </a:lnTo>
                <a:lnTo>
                  <a:pt x="1167" y="664"/>
                </a:lnTo>
                <a:lnTo>
                  <a:pt x="1158" y="661"/>
                </a:lnTo>
                <a:lnTo>
                  <a:pt x="1139" y="656"/>
                </a:lnTo>
                <a:lnTo>
                  <a:pt x="1129" y="655"/>
                </a:lnTo>
                <a:lnTo>
                  <a:pt x="1118" y="654"/>
                </a:lnTo>
                <a:lnTo>
                  <a:pt x="1094" y="652"/>
                </a:lnTo>
                <a:lnTo>
                  <a:pt x="1068" y="65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36" name="Freeform 8">
            <a:hlinkClick r:id="" action="ppaction://noaction"/>
          </p:cNvPr>
          <p:cNvSpPr>
            <a:spLocks noChangeAspect="1" noEditPoints="1"/>
          </p:cNvSpPr>
          <p:nvPr/>
        </p:nvSpPr>
        <p:spPr bwMode="auto">
          <a:xfrm>
            <a:off x="5895418" y="4144899"/>
            <a:ext cx="431397" cy="432000"/>
          </a:xfrm>
          <a:custGeom>
            <a:avLst/>
            <a:gdLst>
              <a:gd name="T0" fmla="*/ 752 w 2141"/>
              <a:gd name="T1" fmla="*/ 2095 h 2143"/>
              <a:gd name="T2" fmla="*/ 431 w 2141"/>
              <a:gd name="T3" fmla="*/ 1930 h 2143"/>
              <a:gd name="T4" fmla="*/ 183 w 2141"/>
              <a:gd name="T5" fmla="*/ 1670 h 2143"/>
              <a:gd name="T6" fmla="*/ 33 w 2141"/>
              <a:gd name="T7" fmla="*/ 1339 h 2143"/>
              <a:gd name="T8" fmla="*/ 5 w 2141"/>
              <a:gd name="T9" fmla="*/ 963 h 2143"/>
              <a:gd name="T10" fmla="*/ 105 w 2141"/>
              <a:gd name="T11" fmla="*/ 608 h 2143"/>
              <a:gd name="T12" fmla="*/ 314 w 2141"/>
              <a:gd name="T13" fmla="*/ 314 h 2143"/>
              <a:gd name="T14" fmla="*/ 606 w 2141"/>
              <a:gd name="T15" fmla="*/ 106 h 2143"/>
              <a:gd name="T16" fmla="*/ 961 w 2141"/>
              <a:gd name="T17" fmla="*/ 6 h 2143"/>
              <a:gd name="T18" fmla="*/ 1338 w 2141"/>
              <a:gd name="T19" fmla="*/ 34 h 2143"/>
              <a:gd name="T20" fmla="*/ 1668 w 2141"/>
              <a:gd name="T21" fmla="*/ 184 h 2143"/>
              <a:gd name="T22" fmla="*/ 1928 w 2141"/>
              <a:gd name="T23" fmla="*/ 432 h 2143"/>
              <a:gd name="T24" fmla="*/ 2093 w 2141"/>
              <a:gd name="T25" fmla="*/ 753 h 2143"/>
              <a:gd name="T26" fmla="*/ 2140 w 2141"/>
              <a:gd name="T27" fmla="*/ 1127 h 2143"/>
              <a:gd name="T28" fmla="*/ 2057 w 2141"/>
              <a:gd name="T29" fmla="*/ 1489 h 2143"/>
              <a:gd name="T30" fmla="*/ 1863 w 2141"/>
              <a:gd name="T31" fmla="*/ 1791 h 2143"/>
              <a:gd name="T32" fmla="*/ 1581 w 2141"/>
              <a:gd name="T33" fmla="*/ 2013 h 2143"/>
              <a:gd name="T34" fmla="*/ 1233 w 2141"/>
              <a:gd name="T35" fmla="*/ 2130 h 2143"/>
              <a:gd name="T36" fmla="*/ 924 w 2141"/>
              <a:gd name="T37" fmla="*/ 115 h 2143"/>
              <a:gd name="T38" fmla="*/ 610 w 2141"/>
              <a:gd name="T39" fmla="*/ 221 h 2143"/>
              <a:gd name="T40" fmla="*/ 354 w 2141"/>
              <a:gd name="T41" fmla="*/ 421 h 2143"/>
              <a:gd name="T42" fmla="*/ 180 w 2141"/>
              <a:gd name="T43" fmla="*/ 695 h 2143"/>
              <a:gd name="T44" fmla="*/ 104 w 2141"/>
              <a:gd name="T45" fmla="*/ 1023 h 2143"/>
              <a:gd name="T46" fmla="*/ 147 w 2141"/>
              <a:gd name="T47" fmla="*/ 1359 h 2143"/>
              <a:gd name="T48" fmla="*/ 296 w 2141"/>
              <a:gd name="T49" fmla="*/ 1651 h 2143"/>
              <a:gd name="T50" fmla="*/ 530 w 2141"/>
              <a:gd name="T51" fmla="*/ 1875 h 2143"/>
              <a:gd name="T52" fmla="*/ 829 w 2141"/>
              <a:gd name="T53" fmla="*/ 2009 h 2143"/>
              <a:gd name="T54" fmla="*/ 1169 w 2141"/>
              <a:gd name="T55" fmla="*/ 2035 h 2143"/>
              <a:gd name="T56" fmla="*/ 1490 w 2141"/>
              <a:gd name="T57" fmla="*/ 1945 h 2143"/>
              <a:gd name="T58" fmla="*/ 1754 w 2141"/>
              <a:gd name="T59" fmla="*/ 1755 h 2143"/>
              <a:gd name="T60" fmla="*/ 1943 w 2141"/>
              <a:gd name="T61" fmla="*/ 1491 h 2143"/>
              <a:gd name="T62" fmla="*/ 2033 w 2141"/>
              <a:gd name="T63" fmla="*/ 1171 h 2143"/>
              <a:gd name="T64" fmla="*/ 2007 w 2141"/>
              <a:gd name="T65" fmla="*/ 830 h 2143"/>
              <a:gd name="T66" fmla="*/ 1873 w 2141"/>
              <a:gd name="T67" fmla="*/ 531 h 2143"/>
              <a:gd name="T68" fmla="*/ 1649 w 2141"/>
              <a:gd name="T69" fmla="*/ 296 h 2143"/>
              <a:gd name="T70" fmla="*/ 1358 w 2141"/>
              <a:gd name="T71" fmla="*/ 148 h 2143"/>
              <a:gd name="T72" fmla="*/ 1078 w 2141"/>
              <a:gd name="T73" fmla="*/ 536 h 2143"/>
              <a:gd name="T74" fmla="*/ 1292 w 2141"/>
              <a:gd name="T75" fmla="*/ 582 h 2143"/>
              <a:gd name="T76" fmla="*/ 1371 w 2141"/>
              <a:gd name="T77" fmla="*/ 735 h 2143"/>
              <a:gd name="T78" fmla="*/ 1332 w 2141"/>
              <a:gd name="T79" fmla="*/ 935 h 2143"/>
              <a:gd name="T80" fmla="*/ 1349 w 2141"/>
              <a:gd name="T81" fmla="*/ 1073 h 2143"/>
              <a:gd name="T82" fmla="*/ 1414 w 2141"/>
              <a:gd name="T83" fmla="*/ 1252 h 2143"/>
              <a:gd name="T84" fmla="*/ 1367 w 2141"/>
              <a:gd name="T85" fmla="*/ 1485 h 2143"/>
              <a:gd name="T86" fmla="*/ 1250 w 2141"/>
              <a:gd name="T87" fmla="*/ 1578 h 2143"/>
              <a:gd name="T88" fmla="*/ 983 w 2141"/>
              <a:gd name="T89" fmla="*/ 1606 h 2143"/>
              <a:gd name="T90" fmla="*/ 801 w 2141"/>
              <a:gd name="T91" fmla="*/ 1544 h 2143"/>
              <a:gd name="T92" fmla="*/ 727 w 2141"/>
              <a:gd name="T93" fmla="*/ 1354 h 2143"/>
              <a:gd name="T94" fmla="*/ 846 w 2141"/>
              <a:gd name="T95" fmla="*/ 1312 h 2143"/>
              <a:gd name="T96" fmla="*/ 895 w 2141"/>
              <a:gd name="T97" fmla="*/ 1432 h 2143"/>
              <a:gd name="T98" fmla="*/ 1035 w 2141"/>
              <a:gd name="T99" fmla="*/ 1487 h 2143"/>
              <a:gd name="T100" fmla="*/ 1208 w 2141"/>
              <a:gd name="T101" fmla="*/ 1463 h 2143"/>
              <a:gd name="T102" fmla="*/ 1271 w 2141"/>
              <a:gd name="T103" fmla="*/ 1333 h 2143"/>
              <a:gd name="T104" fmla="*/ 1251 w 2141"/>
              <a:gd name="T105" fmla="*/ 1184 h 2143"/>
              <a:gd name="T106" fmla="*/ 1137 w 2141"/>
              <a:gd name="T107" fmla="*/ 1125 h 2143"/>
              <a:gd name="T108" fmla="*/ 895 w 2141"/>
              <a:gd name="T109" fmla="*/ 1020 h 2143"/>
              <a:gd name="T110" fmla="*/ 1186 w 2141"/>
              <a:gd name="T111" fmla="*/ 943 h 2143"/>
              <a:gd name="T112" fmla="*/ 1237 w 2141"/>
              <a:gd name="T113" fmla="*/ 783 h 2143"/>
              <a:gd name="T114" fmla="*/ 1179 w 2141"/>
              <a:gd name="T115" fmla="*/ 671 h 2143"/>
              <a:gd name="T116" fmla="*/ 1002 w 2141"/>
              <a:gd name="T117" fmla="*/ 654 h 2143"/>
              <a:gd name="T118" fmla="*/ 898 w 2141"/>
              <a:gd name="T119" fmla="*/ 749 h 2143"/>
              <a:gd name="T120" fmla="*/ 764 w 2141"/>
              <a:gd name="T121" fmla="*/ 809 h 2143"/>
              <a:gd name="T122" fmla="*/ 784 w 2141"/>
              <a:gd name="T123" fmla="*/ 662 h 2143"/>
              <a:gd name="T124" fmla="*/ 883 w 2141"/>
              <a:gd name="T125" fmla="*/ 564 h 2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41" h="2143">
                <a:moveTo>
                  <a:pt x="1071" y="2143"/>
                </a:moveTo>
                <a:lnTo>
                  <a:pt x="1016" y="2142"/>
                </a:lnTo>
                <a:lnTo>
                  <a:pt x="961" y="2137"/>
                </a:lnTo>
                <a:lnTo>
                  <a:pt x="908" y="2130"/>
                </a:lnTo>
                <a:lnTo>
                  <a:pt x="855" y="2121"/>
                </a:lnTo>
                <a:lnTo>
                  <a:pt x="803" y="2109"/>
                </a:lnTo>
                <a:lnTo>
                  <a:pt x="752" y="2095"/>
                </a:lnTo>
                <a:lnTo>
                  <a:pt x="703" y="2078"/>
                </a:lnTo>
                <a:lnTo>
                  <a:pt x="655" y="2059"/>
                </a:lnTo>
                <a:lnTo>
                  <a:pt x="606" y="2037"/>
                </a:lnTo>
                <a:lnTo>
                  <a:pt x="560" y="2013"/>
                </a:lnTo>
                <a:lnTo>
                  <a:pt x="516" y="1987"/>
                </a:lnTo>
                <a:lnTo>
                  <a:pt x="472" y="1960"/>
                </a:lnTo>
                <a:lnTo>
                  <a:pt x="431" y="1930"/>
                </a:lnTo>
                <a:lnTo>
                  <a:pt x="390" y="1898"/>
                </a:lnTo>
                <a:lnTo>
                  <a:pt x="351" y="1865"/>
                </a:lnTo>
                <a:lnTo>
                  <a:pt x="314" y="1829"/>
                </a:lnTo>
                <a:lnTo>
                  <a:pt x="279" y="1791"/>
                </a:lnTo>
                <a:lnTo>
                  <a:pt x="245" y="1753"/>
                </a:lnTo>
                <a:lnTo>
                  <a:pt x="212" y="1713"/>
                </a:lnTo>
                <a:lnTo>
                  <a:pt x="183" y="1670"/>
                </a:lnTo>
                <a:lnTo>
                  <a:pt x="155" y="1627"/>
                </a:lnTo>
                <a:lnTo>
                  <a:pt x="129" y="1582"/>
                </a:lnTo>
                <a:lnTo>
                  <a:pt x="105" y="1536"/>
                </a:lnTo>
                <a:lnTo>
                  <a:pt x="84" y="1489"/>
                </a:lnTo>
                <a:lnTo>
                  <a:pt x="65" y="1440"/>
                </a:lnTo>
                <a:lnTo>
                  <a:pt x="48" y="1390"/>
                </a:lnTo>
                <a:lnTo>
                  <a:pt x="33" y="1339"/>
                </a:lnTo>
                <a:lnTo>
                  <a:pt x="21" y="1287"/>
                </a:lnTo>
                <a:lnTo>
                  <a:pt x="12" y="1235"/>
                </a:lnTo>
                <a:lnTo>
                  <a:pt x="5" y="1181"/>
                </a:lnTo>
                <a:lnTo>
                  <a:pt x="1" y="1127"/>
                </a:lnTo>
                <a:lnTo>
                  <a:pt x="0" y="1072"/>
                </a:lnTo>
                <a:lnTo>
                  <a:pt x="1" y="1017"/>
                </a:lnTo>
                <a:lnTo>
                  <a:pt x="5" y="963"/>
                </a:lnTo>
                <a:lnTo>
                  <a:pt x="12" y="909"/>
                </a:lnTo>
                <a:lnTo>
                  <a:pt x="21" y="856"/>
                </a:lnTo>
                <a:lnTo>
                  <a:pt x="33" y="804"/>
                </a:lnTo>
                <a:lnTo>
                  <a:pt x="48" y="753"/>
                </a:lnTo>
                <a:lnTo>
                  <a:pt x="65" y="704"/>
                </a:lnTo>
                <a:lnTo>
                  <a:pt x="84" y="656"/>
                </a:lnTo>
                <a:lnTo>
                  <a:pt x="105" y="608"/>
                </a:lnTo>
                <a:lnTo>
                  <a:pt x="129" y="562"/>
                </a:lnTo>
                <a:lnTo>
                  <a:pt x="155" y="517"/>
                </a:lnTo>
                <a:lnTo>
                  <a:pt x="183" y="473"/>
                </a:lnTo>
                <a:lnTo>
                  <a:pt x="212" y="432"/>
                </a:lnTo>
                <a:lnTo>
                  <a:pt x="245" y="391"/>
                </a:lnTo>
                <a:lnTo>
                  <a:pt x="279" y="352"/>
                </a:lnTo>
                <a:lnTo>
                  <a:pt x="314" y="314"/>
                </a:lnTo>
                <a:lnTo>
                  <a:pt x="351" y="280"/>
                </a:lnTo>
                <a:lnTo>
                  <a:pt x="390" y="246"/>
                </a:lnTo>
                <a:lnTo>
                  <a:pt x="431" y="213"/>
                </a:lnTo>
                <a:lnTo>
                  <a:pt x="472" y="184"/>
                </a:lnTo>
                <a:lnTo>
                  <a:pt x="516" y="156"/>
                </a:lnTo>
                <a:lnTo>
                  <a:pt x="560" y="130"/>
                </a:lnTo>
                <a:lnTo>
                  <a:pt x="606" y="106"/>
                </a:lnTo>
                <a:lnTo>
                  <a:pt x="655" y="85"/>
                </a:lnTo>
                <a:lnTo>
                  <a:pt x="703" y="66"/>
                </a:lnTo>
                <a:lnTo>
                  <a:pt x="752" y="49"/>
                </a:lnTo>
                <a:lnTo>
                  <a:pt x="803" y="34"/>
                </a:lnTo>
                <a:lnTo>
                  <a:pt x="855" y="22"/>
                </a:lnTo>
                <a:lnTo>
                  <a:pt x="908" y="13"/>
                </a:lnTo>
                <a:lnTo>
                  <a:pt x="961" y="6"/>
                </a:lnTo>
                <a:lnTo>
                  <a:pt x="1016" y="1"/>
                </a:lnTo>
                <a:lnTo>
                  <a:pt x="1071" y="0"/>
                </a:lnTo>
                <a:lnTo>
                  <a:pt x="1126" y="1"/>
                </a:lnTo>
                <a:lnTo>
                  <a:pt x="1180" y="6"/>
                </a:lnTo>
                <a:lnTo>
                  <a:pt x="1233" y="13"/>
                </a:lnTo>
                <a:lnTo>
                  <a:pt x="1286" y="22"/>
                </a:lnTo>
                <a:lnTo>
                  <a:pt x="1338" y="34"/>
                </a:lnTo>
                <a:lnTo>
                  <a:pt x="1388" y="49"/>
                </a:lnTo>
                <a:lnTo>
                  <a:pt x="1439" y="66"/>
                </a:lnTo>
                <a:lnTo>
                  <a:pt x="1487" y="85"/>
                </a:lnTo>
                <a:lnTo>
                  <a:pt x="1535" y="106"/>
                </a:lnTo>
                <a:lnTo>
                  <a:pt x="1581" y="130"/>
                </a:lnTo>
                <a:lnTo>
                  <a:pt x="1626" y="156"/>
                </a:lnTo>
                <a:lnTo>
                  <a:pt x="1668" y="184"/>
                </a:lnTo>
                <a:lnTo>
                  <a:pt x="1711" y="213"/>
                </a:lnTo>
                <a:lnTo>
                  <a:pt x="1752" y="246"/>
                </a:lnTo>
                <a:lnTo>
                  <a:pt x="1790" y="280"/>
                </a:lnTo>
                <a:lnTo>
                  <a:pt x="1827" y="314"/>
                </a:lnTo>
                <a:lnTo>
                  <a:pt x="1863" y="352"/>
                </a:lnTo>
                <a:lnTo>
                  <a:pt x="1897" y="391"/>
                </a:lnTo>
                <a:lnTo>
                  <a:pt x="1928" y="432"/>
                </a:lnTo>
                <a:lnTo>
                  <a:pt x="1959" y="473"/>
                </a:lnTo>
                <a:lnTo>
                  <a:pt x="1986" y="517"/>
                </a:lnTo>
                <a:lnTo>
                  <a:pt x="2012" y="562"/>
                </a:lnTo>
                <a:lnTo>
                  <a:pt x="2035" y="608"/>
                </a:lnTo>
                <a:lnTo>
                  <a:pt x="2057" y="656"/>
                </a:lnTo>
                <a:lnTo>
                  <a:pt x="2076" y="704"/>
                </a:lnTo>
                <a:lnTo>
                  <a:pt x="2093" y="753"/>
                </a:lnTo>
                <a:lnTo>
                  <a:pt x="2107" y="804"/>
                </a:lnTo>
                <a:lnTo>
                  <a:pt x="2120" y="856"/>
                </a:lnTo>
                <a:lnTo>
                  <a:pt x="2129" y="909"/>
                </a:lnTo>
                <a:lnTo>
                  <a:pt x="2135" y="963"/>
                </a:lnTo>
                <a:lnTo>
                  <a:pt x="2140" y="1017"/>
                </a:lnTo>
                <a:lnTo>
                  <a:pt x="2141" y="1072"/>
                </a:lnTo>
                <a:lnTo>
                  <a:pt x="2140" y="1127"/>
                </a:lnTo>
                <a:lnTo>
                  <a:pt x="2135" y="1181"/>
                </a:lnTo>
                <a:lnTo>
                  <a:pt x="2129" y="1235"/>
                </a:lnTo>
                <a:lnTo>
                  <a:pt x="2120" y="1287"/>
                </a:lnTo>
                <a:lnTo>
                  <a:pt x="2107" y="1339"/>
                </a:lnTo>
                <a:lnTo>
                  <a:pt x="2093" y="1390"/>
                </a:lnTo>
                <a:lnTo>
                  <a:pt x="2076" y="1440"/>
                </a:lnTo>
                <a:lnTo>
                  <a:pt x="2057" y="1489"/>
                </a:lnTo>
                <a:lnTo>
                  <a:pt x="2035" y="1536"/>
                </a:lnTo>
                <a:lnTo>
                  <a:pt x="2012" y="1582"/>
                </a:lnTo>
                <a:lnTo>
                  <a:pt x="1986" y="1627"/>
                </a:lnTo>
                <a:lnTo>
                  <a:pt x="1959" y="1670"/>
                </a:lnTo>
                <a:lnTo>
                  <a:pt x="1928" y="1713"/>
                </a:lnTo>
                <a:lnTo>
                  <a:pt x="1897" y="1753"/>
                </a:lnTo>
                <a:lnTo>
                  <a:pt x="1863" y="1791"/>
                </a:lnTo>
                <a:lnTo>
                  <a:pt x="1827" y="1829"/>
                </a:lnTo>
                <a:lnTo>
                  <a:pt x="1790" y="1865"/>
                </a:lnTo>
                <a:lnTo>
                  <a:pt x="1752" y="1898"/>
                </a:lnTo>
                <a:lnTo>
                  <a:pt x="1711" y="1930"/>
                </a:lnTo>
                <a:lnTo>
                  <a:pt x="1668" y="1960"/>
                </a:lnTo>
                <a:lnTo>
                  <a:pt x="1626" y="1987"/>
                </a:lnTo>
                <a:lnTo>
                  <a:pt x="1581" y="2013"/>
                </a:lnTo>
                <a:lnTo>
                  <a:pt x="1535" y="2037"/>
                </a:lnTo>
                <a:lnTo>
                  <a:pt x="1487" y="2059"/>
                </a:lnTo>
                <a:lnTo>
                  <a:pt x="1439" y="2078"/>
                </a:lnTo>
                <a:lnTo>
                  <a:pt x="1388" y="2095"/>
                </a:lnTo>
                <a:lnTo>
                  <a:pt x="1338" y="2109"/>
                </a:lnTo>
                <a:lnTo>
                  <a:pt x="1286" y="2121"/>
                </a:lnTo>
                <a:lnTo>
                  <a:pt x="1233" y="2130"/>
                </a:lnTo>
                <a:lnTo>
                  <a:pt x="1180" y="2137"/>
                </a:lnTo>
                <a:lnTo>
                  <a:pt x="1126" y="2142"/>
                </a:lnTo>
                <a:lnTo>
                  <a:pt x="1071" y="2143"/>
                </a:lnTo>
                <a:close/>
                <a:moveTo>
                  <a:pt x="1071" y="104"/>
                </a:moveTo>
                <a:lnTo>
                  <a:pt x="1020" y="105"/>
                </a:lnTo>
                <a:lnTo>
                  <a:pt x="972" y="108"/>
                </a:lnTo>
                <a:lnTo>
                  <a:pt x="924" y="115"/>
                </a:lnTo>
                <a:lnTo>
                  <a:pt x="876" y="123"/>
                </a:lnTo>
                <a:lnTo>
                  <a:pt x="829" y="134"/>
                </a:lnTo>
                <a:lnTo>
                  <a:pt x="783" y="148"/>
                </a:lnTo>
                <a:lnTo>
                  <a:pt x="738" y="162"/>
                </a:lnTo>
                <a:lnTo>
                  <a:pt x="694" y="180"/>
                </a:lnTo>
                <a:lnTo>
                  <a:pt x="651" y="200"/>
                </a:lnTo>
                <a:lnTo>
                  <a:pt x="610" y="221"/>
                </a:lnTo>
                <a:lnTo>
                  <a:pt x="569" y="245"/>
                </a:lnTo>
                <a:lnTo>
                  <a:pt x="530" y="269"/>
                </a:lnTo>
                <a:lnTo>
                  <a:pt x="493" y="296"/>
                </a:lnTo>
                <a:lnTo>
                  <a:pt x="455" y="325"/>
                </a:lnTo>
                <a:lnTo>
                  <a:pt x="420" y="356"/>
                </a:lnTo>
                <a:lnTo>
                  <a:pt x="387" y="388"/>
                </a:lnTo>
                <a:lnTo>
                  <a:pt x="354" y="421"/>
                </a:lnTo>
                <a:lnTo>
                  <a:pt x="324" y="456"/>
                </a:lnTo>
                <a:lnTo>
                  <a:pt x="296" y="493"/>
                </a:lnTo>
                <a:lnTo>
                  <a:pt x="269" y="531"/>
                </a:lnTo>
                <a:lnTo>
                  <a:pt x="244" y="570"/>
                </a:lnTo>
                <a:lnTo>
                  <a:pt x="220" y="611"/>
                </a:lnTo>
                <a:lnTo>
                  <a:pt x="199" y="652"/>
                </a:lnTo>
                <a:lnTo>
                  <a:pt x="180" y="695"/>
                </a:lnTo>
                <a:lnTo>
                  <a:pt x="162" y="739"/>
                </a:lnTo>
                <a:lnTo>
                  <a:pt x="147" y="784"/>
                </a:lnTo>
                <a:lnTo>
                  <a:pt x="134" y="830"/>
                </a:lnTo>
                <a:lnTo>
                  <a:pt x="122" y="877"/>
                </a:lnTo>
                <a:lnTo>
                  <a:pt x="114" y="925"/>
                </a:lnTo>
                <a:lnTo>
                  <a:pt x="108" y="973"/>
                </a:lnTo>
                <a:lnTo>
                  <a:pt x="104" y="1023"/>
                </a:lnTo>
                <a:lnTo>
                  <a:pt x="103" y="1072"/>
                </a:lnTo>
                <a:lnTo>
                  <a:pt x="104" y="1122"/>
                </a:lnTo>
                <a:lnTo>
                  <a:pt x="108" y="1171"/>
                </a:lnTo>
                <a:lnTo>
                  <a:pt x="114" y="1220"/>
                </a:lnTo>
                <a:lnTo>
                  <a:pt x="122" y="1267"/>
                </a:lnTo>
                <a:lnTo>
                  <a:pt x="134" y="1313"/>
                </a:lnTo>
                <a:lnTo>
                  <a:pt x="147" y="1359"/>
                </a:lnTo>
                <a:lnTo>
                  <a:pt x="162" y="1404"/>
                </a:lnTo>
                <a:lnTo>
                  <a:pt x="180" y="1448"/>
                </a:lnTo>
                <a:lnTo>
                  <a:pt x="199" y="1491"/>
                </a:lnTo>
                <a:lnTo>
                  <a:pt x="220" y="1533"/>
                </a:lnTo>
                <a:lnTo>
                  <a:pt x="244" y="1573"/>
                </a:lnTo>
                <a:lnTo>
                  <a:pt x="269" y="1612"/>
                </a:lnTo>
                <a:lnTo>
                  <a:pt x="296" y="1651"/>
                </a:lnTo>
                <a:lnTo>
                  <a:pt x="324" y="1687"/>
                </a:lnTo>
                <a:lnTo>
                  <a:pt x="354" y="1723"/>
                </a:lnTo>
                <a:lnTo>
                  <a:pt x="387" y="1755"/>
                </a:lnTo>
                <a:lnTo>
                  <a:pt x="420" y="1788"/>
                </a:lnTo>
                <a:lnTo>
                  <a:pt x="455" y="1818"/>
                </a:lnTo>
                <a:lnTo>
                  <a:pt x="493" y="1848"/>
                </a:lnTo>
                <a:lnTo>
                  <a:pt x="530" y="1875"/>
                </a:lnTo>
                <a:lnTo>
                  <a:pt x="569" y="1900"/>
                </a:lnTo>
                <a:lnTo>
                  <a:pt x="610" y="1923"/>
                </a:lnTo>
                <a:lnTo>
                  <a:pt x="651" y="1945"/>
                </a:lnTo>
                <a:lnTo>
                  <a:pt x="694" y="1964"/>
                </a:lnTo>
                <a:lnTo>
                  <a:pt x="738" y="1981"/>
                </a:lnTo>
                <a:lnTo>
                  <a:pt x="783" y="1996"/>
                </a:lnTo>
                <a:lnTo>
                  <a:pt x="829" y="2009"/>
                </a:lnTo>
                <a:lnTo>
                  <a:pt x="876" y="2020"/>
                </a:lnTo>
                <a:lnTo>
                  <a:pt x="924" y="2029"/>
                </a:lnTo>
                <a:lnTo>
                  <a:pt x="972" y="2035"/>
                </a:lnTo>
                <a:lnTo>
                  <a:pt x="1020" y="2038"/>
                </a:lnTo>
                <a:lnTo>
                  <a:pt x="1071" y="2040"/>
                </a:lnTo>
                <a:lnTo>
                  <a:pt x="1120" y="2038"/>
                </a:lnTo>
                <a:lnTo>
                  <a:pt x="1169" y="2035"/>
                </a:lnTo>
                <a:lnTo>
                  <a:pt x="1217" y="2029"/>
                </a:lnTo>
                <a:lnTo>
                  <a:pt x="1266" y="2020"/>
                </a:lnTo>
                <a:lnTo>
                  <a:pt x="1312" y="2009"/>
                </a:lnTo>
                <a:lnTo>
                  <a:pt x="1358" y="1996"/>
                </a:lnTo>
                <a:lnTo>
                  <a:pt x="1403" y="1981"/>
                </a:lnTo>
                <a:lnTo>
                  <a:pt x="1447" y="1964"/>
                </a:lnTo>
                <a:lnTo>
                  <a:pt x="1490" y="1945"/>
                </a:lnTo>
                <a:lnTo>
                  <a:pt x="1531" y="1923"/>
                </a:lnTo>
                <a:lnTo>
                  <a:pt x="1572" y="1900"/>
                </a:lnTo>
                <a:lnTo>
                  <a:pt x="1611" y="1875"/>
                </a:lnTo>
                <a:lnTo>
                  <a:pt x="1649" y="1848"/>
                </a:lnTo>
                <a:lnTo>
                  <a:pt x="1685" y="1818"/>
                </a:lnTo>
                <a:lnTo>
                  <a:pt x="1721" y="1788"/>
                </a:lnTo>
                <a:lnTo>
                  <a:pt x="1754" y="1755"/>
                </a:lnTo>
                <a:lnTo>
                  <a:pt x="1787" y="1723"/>
                </a:lnTo>
                <a:lnTo>
                  <a:pt x="1817" y="1687"/>
                </a:lnTo>
                <a:lnTo>
                  <a:pt x="1846" y="1651"/>
                </a:lnTo>
                <a:lnTo>
                  <a:pt x="1873" y="1612"/>
                </a:lnTo>
                <a:lnTo>
                  <a:pt x="1898" y="1573"/>
                </a:lnTo>
                <a:lnTo>
                  <a:pt x="1922" y="1533"/>
                </a:lnTo>
                <a:lnTo>
                  <a:pt x="1943" y="1491"/>
                </a:lnTo>
                <a:lnTo>
                  <a:pt x="1962" y="1448"/>
                </a:lnTo>
                <a:lnTo>
                  <a:pt x="1979" y="1404"/>
                </a:lnTo>
                <a:lnTo>
                  <a:pt x="1995" y="1359"/>
                </a:lnTo>
                <a:lnTo>
                  <a:pt x="2007" y="1313"/>
                </a:lnTo>
                <a:lnTo>
                  <a:pt x="2018" y="1267"/>
                </a:lnTo>
                <a:lnTo>
                  <a:pt x="2027" y="1220"/>
                </a:lnTo>
                <a:lnTo>
                  <a:pt x="2033" y="1171"/>
                </a:lnTo>
                <a:lnTo>
                  <a:pt x="2036" y="1122"/>
                </a:lnTo>
                <a:lnTo>
                  <a:pt x="2039" y="1072"/>
                </a:lnTo>
                <a:lnTo>
                  <a:pt x="2036" y="1023"/>
                </a:lnTo>
                <a:lnTo>
                  <a:pt x="2033" y="973"/>
                </a:lnTo>
                <a:lnTo>
                  <a:pt x="2027" y="925"/>
                </a:lnTo>
                <a:lnTo>
                  <a:pt x="2018" y="877"/>
                </a:lnTo>
                <a:lnTo>
                  <a:pt x="2007" y="830"/>
                </a:lnTo>
                <a:lnTo>
                  <a:pt x="1995" y="784"/>
                </a:lnTo>
                <a:lnTo>
                  <a:pt x="1979" y="739"/>
                </a:lnTo>
                <a:lnTo>
                  <a:pt x="1962" y="695"/>
                </a:lnTo>
                <a:lnTo>
                  <a:pt x="1943" y="652"/>
                </a:lnTo>
                <a:lnTo>
                  <a:pt x="1922" y="611"/>
                </a:lnTo>
                <a:lnTo>
                  <a:pt x="1898" y="570"/>
                </a:lnTo>
                <a:lnTo>
                  <a:pt x="1873" y="531"/>
                </a:lnTo>
                <a:lnTo>
                  <a:pt x="1846" y="493"/>
                </a:lnTo>
                <a:lnTo>
                  <a:pt x="1817" y="456"/>
                </a:lnTo>
                <a:lnTo>
                  <a:pt x="1787" y="421"/>
                </a:lnTo>
                <a:lnTo>
                  <a:pt x="1754" y="388"/>
                </a:lnTo>
                <a:lnTo>
                  <a:pt x="1721" y="356"/>
                </a:lnTo>
                <a:lnTo>
                  <a:pt x="1685" y="325"/>
                </a:lnTo>
                <a:lnTo>
                  <a:pt x="1649" y="296"/>
                </a:lnTo>
                <a:lnTo>
                  <a:pt x="1611" y="269"/>
                </a:lnTo>
                <a:lnTo>
                  <a:pt x="1572" y="245"/>
                </a:lnTo>
                <a:lnTo>
                  <a:pt x="1531" y="221"/>
                </a:lnTo>
                <a:lnTo>
                  <a:pt x="1490" y="200"/>
                </a:lnTo>
                <a:lnTo>
                  <a:pt x="1447" y="180"/>
                </a:lnTo>
                <a:lnTo>
                  <a:pt x="1403" y="162"/>
                </a:lnTo>
                <a:lnTo>
                  <a:pt x="1358" y="148"/>
                </a:lnTo>
                <a:lnTo>
                  <a:pt x="1312" y="134"/>
                </a:lnTo>
                <a:lnTo>
                  <a:pt x="1266" y="123"/>
                </a:lnTo>
                <a:lnTo>
                  <a:pt x="1217" y="115"/>
                </a:lnTo>
                <a:lnTo>
                  <a:pt x="1169" y="108"/>
                </a:lnTo>
                <a:lnTo>
                  <a:pt x="1120" y="105"/>
                </a:lnTo>
                <a:lnTo>
                  <a:pt x="1071" y="104"/>
                </a:lnTo>
                <a:close/>
                <a:moveTo>
                  <a:pt x="1078" y="536"/>
                </a:moveTo>
                <a:lnTo>
                  <a:pt x="1117" y="536"/>
                </a:lnTo>
                <a:lnTo>
                  <a:pt x="1154" y="540"/>
                </a:lnTo>
                <a:lnTo>
                  <a:pt x="1188" y="544"/>
                </a:lnTo>
                <a:lnTo>
                  <a:pt x="1218" y="551"/>
                </a:lnTo>
                <a:lnTo>
                  <a:pt x="1246" y="560"/>
                </a:lnTo>
                <a:lnTo>
                  <a:pt x="1270" y="570"/>
                </a:lnTo>
                <a:lnTo>
                  <a:pt x="1292" y="582"/>
                </a:lnTo>
                <a:lnTo>
                  <a:pt x="1311" y="597"/>
                </a:lnTo>
                <a:lnTo>
                  <a:pt x="1326" y="615"/>
                </a:lnTo>
                <a:lnTo>
                  <a:pt x="1340" y="634"/>
                </a:lnTo>
                <a:lnTo>
                  <a:pt x="1351" y="656"/>
                </a:lnTo>
                <a:lnTo>
                  <a:pt x="1360" y="680"/>
                </a:lnTo>
                <a:lnTo>
                  <a:pt x="1367" y="706"/>
                </a:lnTo>
                <a:lnTo>
                  <a:pt x="1371" y="735"/>
                </a:lnTo>
                <a:lnTo>
                  <a:pt x="1375" y="767"/>
                </a:lnTo>
                <a:lnTo>
                  <a:pt x="1375" y="801"/>
                </a:lnTo>
                <a:lnTo>
                  <a:pt x="1374" y="831"/>
                </a:lnTo>
                <a:lnTo>
                  <a:pt x="1368" y="859"/>
                </a:lnTo>
                <a:lnTo>
                  <a:pt x="1360" y="886"/>
                </a:lnTo>
                <a:lnTo>
                  <a:pt x="1348" y="910"/>
                </a:lnTo>
                <a:lnTo>
                  <a:pt x="1332" y="935"/>
                </a:lnTo>
                <a:lnTo>
                  <a:pt x="1312" y="962"/>
                </a:lnTo>
                <a:lnTo>
                  <a:pt x="1286" y="989"/>
                </a:lnTo>
                <a:lnTo>
                  <a:pt x="1257" y="1019"/>
                </a:lnTo>
                <a:lnTo>
                  <a:pt x="1290" y="1032"/>
                </a:lnTo>
                <a:lnTo>
                  <a:pt x="1322" y="1050"/>
                </a:lnTo>
                <a:lnTo>
                  <a:pt x="1335" y="1061"/>
                </a:lnTo>
                <a:lnTo>
                  <a:pt x="1349" y="1073"/>
                </a:lnTo>
                <a:lnTo>
                  <a:pt x="1371" y="1101"/>
                </a:lnTo>
                <a:lnTo>
                  <a:pt x="1391" y="1135"/>
                </a:lnTo>
                <a:lnTo>
                  <a:pt x="1398" y="1155"/>
                </a:lnTo>
                <a:lnTo>
                  <a:pt x="1404" y="1177"/>
                </a:lnTo>
                <a:lnTo>
                  <a:pt x="1409" y="1200"/>
                </a:lnTo>
                <a:lnTo>
                  <a:pt x="1412" y="1225"/>
                </a:lnTo>
                <a:lnTo>
                  <a:pt x="1414" y="1252"/>
                </a:lnTo>
                <a:lnTo>
                  <a:pt x="1415" y="1280"/>
                </a:lnTo>
                <a:lnTo>
                  <a:pt x="1414" y="1322"/>
                </a:lnTo>
                <a:lnTo>
                  <a:pt x="1411" y="1360"/>
                </a:lnTo>
                <a:lnTo>
                  <a:pt x="1404" y="1396"/>
                </a:lnTo>
                <a:lnTo>
                  <a:pt x="1394" y="1429"/>
                </a:lnTo>
                <a:lnTo>
                  <a:pt x="1382" y="1458"/>
                </a:lnTo>
                <a:lnTo>
                  <a:pt x="1367" y="1485"/>
                </a:lnTo>
                <a:lnTo>
                  <a:pt x="1358" y="1498"/>
                </a:lnTo>
                <a:lnTo>
                  <a:pt x="1349" y="1509"/>
                </a:lnTo>
                <a:lnTo>
                  <a:pt x="1329" y="1530"/>
                </a:lnTo>
                <a:lnTo>
                  <a:pt x="1317" y="1539"/>
                </a:lnTo>
                <a:lnTo>
                  <a:pt x="1305" y="1548"/>
                </a:lnTo>
                <a:lnTo>
                  <a:pt x="1279" y="1564"/>
                </a:lnTo>
                <a:lnTo>
                  <a:pt x="1250" y="1578"/>
                </a:lnTo>
                <a:lnTo>
                  <a:pt x="1218" y="1589"/>
                </a:lnTo>
                <a:lnTo>
                  <a:pt x="1183" y="1598"/>
                </a:lnTo>
                <a:lnTo>
                  <a:pt x="1145" y="1603"/>
                </a:lnTo>
                <a:lnTo>
                  <a:pt x="1105" y="1607"/>
                </a:lnTo>
                <a:lnTo>
                  <a:pt x="1061" y="1608"/>
                </a:lnTo>
                <a:lnTo>
                  <a:pt x="1021" y="1608"/>
                </a:lnTo>
                <a:lnTo>
                  <a:pt x="983" y="1606"/>
                </a:lnTo>
                <a:lnTo>
                  <a:pt x="949" y="1602"/>
                </a:lnTo>
                <a:lnTo>
                  <a:pt x="917" y="1598"/>
                </a:lnTo>
                <a:lnTo>
                  <a:pt x="889" y="1590"/>
                </a:lnTo>
                <a:lnTo>
                  <a:pt x="863" y="1582"/>
                </a:lnTo>
                <a:lnTo>
                  <a:pt x="839" y="1571"/>
                </a:lnTo>
                <a:lnTo>
                  <a:pt x="819" y="1558"/>
                </a:lnTo>
                <a:lnTo>
                  <a:pt x="801" y="1544"/>
                </a:lnTo>
                <a:lnTo>
                  <a:pt x="785" y="1527"/>
                </a:lnTo>
                <a:lnTo>
                  <a:pt x="770" y="1505"/>
                </a:lnTo>
                <a:lnTo>
                  <a:pt x="758" y="1482"/>
                </a:lnTo>
                <a:lnTo>
                  <a:pt x="747" y="1455"/>
                </a:lnTo>
                <a:lnTo>
                  <a:pt x="738" y="1424"/>
                </a:lnTo>
                <a:lnTo>
                  <a:pt x="731" y="1391"/>
                </a:lnTo>
                <a:lnTo>
                  <a:pt x="727" y="1354"/>
                </a:lnTo>
                <a:lnTo>
                  <a:pt x="725" y="1341"/>
                </a:lnTo>
                <a:lnTo>
                  <a:pt x="727" y="1336"/>
                </a:lnTo>
                <a:lnTo>
                  <a:pt x="729" y="1330"/>
                </a:lnTo>
                <a:lnTo>
                  <a:pt x="736" y="1324"/>
                </a:lnTo>
                <a:lnTo>
                  <a:pt x="746" y="1322"/>
                </a:lnTo>
                <a:lnTo>
                  <a:pt x="837" y="1312"/>
                </a:lnTo>
                <a:lnTo>
                  <a:pt x="846" y="1312"/>
                </a:lnTo>
                <a:lnTo>
                  <a:pt x="855" y="1316"/>
                </a:lnTo>
                <a:lnTo>
                  <a:pt x="862" y="1323"/>
                </a:lnTo>
                <a:lnTo>
                  <a:pt x="865" y="1333"/>
                </a:lnTo>
                <a:lnTo>
                  <a:pt x="872" y="1364"/>
                </a:lnTo>
                <a:lnTo>
                  <a:pt x="879" y="1391"/>
                </a:lnTo>
                <a:lnTo>
                  <a:pt x="886" y="1413"/>
                </a:lnTo>
                <a:lnTo>
                  <a:pt x="895" y="1432"/>
                </a:lnTo>
                <a:lnTo>
                  <a:pt x="906" y="1448"/>
                </a:lnTo>
                <a:lnTo>
                  <a:pt x="918" y="1460"/>
                </a:lnTo>
                <a:lnTo>
                  <a:pt x="934" y="1471"/>
                </a:lnTo>
                <a:lnTo>
                  <a:pt x="952" y="1477"/>
                </a:lnTo>
                <a:lnTo>
                  <a:pt x="974" y="1482"/>
                </a:lnTo>
                <a:lnTo>
                  <a:pt x="1002" y="1485"/>
                </a:lnTo>
                <a:lnTo>
                  <a:pt x="1035" y="1487"/>
                </a:lnTo>
                <a:lnTo>
                  <a:pt x="1073" y="1487"/>
                </a:lnTo>
                <a:lnTo>
                  <a:pt x="1101" y="1487"/>
                </a:lnTo>
                <a:lnTo>
                  <a:pt x="1128" y="1485"/>
                </a:lnTo>
                <a:lnTo>
                  <a:pt x="1152" y="1482"/>
                </a:lnTo>
                <a:lnTo>
                  <a:pt x="1173" y="1476"/>
                </a:lnTo>
                <a:lnTo>
                  <a:pt x="1192" y="1471"/>
                </a:lnTo>
                <a:lnTo>
                  <a:pt x="1208" y="1463"/>
                </a:lnTo>
                <a:lnTo>
                  <a:pt x="1223" y="1453"/>
                </a:lnTo>
                <a:lnTo>
                  <a:pt x="1234" y="1441"/>
                </a:lnTo>
                <a:lnTo>
                  <a:pt x="1244" y="1429"/>
                </a:lnTo>
                <a:lnTo>
                  <a:pt x="1252" y="1413"/>
                </a:lnTo>
                <a:lnTo>
                  <a:pt x="1264" y="1377"/>
                </a:lnTo>
                <a:lnTo>
                  <a:pt x="1269" y="1357"/>
                </a:lnTo>
                <a:lnTo>
                  <a:pt x="1271" y="1333"/>
                </a:lnTo>
                <a:lnTo>
                  <a:pt x="1272" y="1308"/>
                </a:lnTo>
                <a:lnTo>
                  <a:pt x="1272" y="1280"/>
                </a:lnTo>
                <a:lnTo>
                  <a:pt x="1272" y="1261"/>
                </a:lnTo>
                <a:lnTo>
                  <a:pt x="1271" y="1243"/>
                </a:lnTo>
                <a:lnTo>
                  <a:pt x="1268" y="1226"/>
                </a:lnTo>
                <a:lnTo>
                  <a:pt x="1263" y="1211"/>
                </a:lnTo>
                <a:lnTo>
                  <a:pt x="1251" y="1184"/>
                </a:lnTo>
                <a:lnTo>
                  <a:pt x="1243" y="1172"/>
                </a:lnTo>
                <a:lnTo>
                  <a:pt x="1234" y="1161"/>
                </a:lnTo>
                <a:lnTo>
                  <a:pt x="1223" y="1152"/>
                </a:lnTo>
                <a:lnTo>
                  <a:pt x="1209" y="1144"/>
                </a:lnTo>
                <a:lnTo>
                  <a:pt x="1178" y="1133"/>
                </a:lnTo>
                <a:lnTo>
                  <a:pt x="1159" y="1128"/>
                </a:lnTo>
                <a:lnTo>
                  <a:pt x="1137" y="1125"/>
                </a:lnTo>
                <a:lnTo>
                  <a:pt x="1089" y="1123"/>
                </a:lnTo>
                <a:lnTo>
                  <a:pt x="913" y="1123"/>
                </a:lnTo>
                <a:lnTo>
                  <a:pt x="906" y="1123"/>
                </a:lnTo>
                <a:lnTo>
                  <a:pt x="900" y="1119"/>
                </a:lnTo>
                <a:lnTo>
                  <a:pt x="897" y="1115"/>
                </a:lnTo>
                <a:lnTo>
                  <a:pt x="895" y="1107"/>
                </a:lnTo>
                <a:lnTo>
                  <a:pt x="895" y="1020"/>
                </a:lnTo>
                <a:lnTo>
                  <a:pt x="897" y="1011"/>
                </a:lnTo>
                <a:lnTo>
                  <a:pt x="900" y="1006"/>
                </a:lnTo>
                <a:lnTo>
                  <a:pt x="906" y="1003"/>
                </a:lnTo>
                <a:lnTo>
                  <a:pt x="913" y="1002"/>
                </a:lnTo>
                <a:lnTo>
                  <a:pt x="1132" y="1002"/>
                </a:lnTo>
                <a:lnTo>
                  <a:pt x="1161" y="971"/>
                </a:lnTo>
                <a:lnTo>
                  <a:pt x="1186" y="943"/>
                </a:lnTo>
                <a:lnTo>
                  <a:pt x="1205" y="919"/>
                </a:lnTo>
                <a:lnTo>
                  <a:pt x="1218" y="899"/>
                </a:lnTo>
                <a:lnTo>
                  <a:pt x="1227" y="881"/>
                </a:lnTo>
                <a:lnTo>
                  <a:pt x="1234" y="862"/>
                </a:lnTo>
                <a:lnTo>
                  <a:pt x="1237" y="842"/>
                </a:lnTo>
                <a:lnTo>
                  <a:pt x="1239" y="823"/>
                </a:lnTo>
                <a:lnTo>
                  <a:pt x="1237" y="783"/>
                </a:lnTo>
                <a:lnTo>
                  <a:pt x="1232" y="747"/>
                </a:lnTo>
                <a:lnTo>
                  <a:pt x="1227" y="732"/>
                </a:lnTo>
                <a:lnTo>
                  <a:pt x="1223" y="717"/>
                </a:lnTo>
                <a:lnTo>
                  <a:pt x="1207" y="694"/>
                </a:lnTo>
                <a:lnTo>
                  <a:pt x="1198" y="684"/>
                </a:lnTo>
                <a:lnTo>
                  <a:pt x="1186" y="675"/>
                </a:lnTo>
                <a:lnTo>
                  <a:pt x="1179" y="671"/>
                </a:lnTo>
                <a:lnTo>
                  <a:pt x="1171" y="668"/>
                </a:lnTo>
                <a:lnTo>
                  <a:pt x="1155" y="661"/>
                </a:lnTo>
                <a:lnTo>
                  <a:pt x="1115" y="653"/>
                </a:lnTo>
                <a:lnTo>
                  <a:pt x="1090" y="652"/>
                </a:lnTo>
                <a:lnTo>
                  <a:pt x="1064" y="651"/>
                </a:lnTo>
                <a:lnTo>
                  <a:pt x="1032" y="652"/>
                </a:lnTo>
                <a:lnTo>
                  <a:pt x="1002" y="654"/>
                </a:lnTo>
                <a:lnTo>
                  <a:pt x="979" y="658"/>
                </a:lnTo>
                <a:lnTo>
                  <a:pt x="958" y="663"/>
                </a:lnTo>
                <a:lnTo>
                  <a:pt x="943" y="671"/>
                </a:lnTo>
                <a:lnTo>
                  <a:pt x="930" y="683"/>
                </a:lnTo>
                <a:lnTo>
                  <a:pt x="919" y="695"/>
                </a:lnTo>
                <a:lnTo>
                  <a:pt x="911" y="710"/>
                </a:lnTo>
                <a:lnTo>
                  <a:pt x="898" y="749"/>
                </a:lnTo>
                <a:lnTo>
                  <a:pt x="885" y="801"/>
                </a:lnTo>
                <a:lnTo>
                  <a:pt x="882" y="810"/>
                </a:lnTo>
                <a:lnTo>
                  <a:pt x="875" y="817"/>
                </a:lnTo>
                <a:lnTo>
                  <a:pt x="866" y="820"/>
                </a:lnTo>
                <a:lnTo>
                  <a:pt x="856" y="820"/>
                </a:lnTo>
                <a:lnTo>
                  <a:pt x="774" y="812"/>
                </a:lnTo>
                <a:lnTo>
                  <a:pt x="764" y="809"/>
                </a:lnTo>
                <a:lnTo>
                  <a:pt x="758" y="802"/>
                </a:lnTo>
                <a:lnTo>
                  <a:pt x="755" y="792"/>
                </a:lnTo>
                <a:lnTo>
                  <a:pt x="754" y="778"/>
                </a:lnTo>
                <a:lnTo>
                  <a:pt x="759" y="746"/>
                </a:lnTo>
                <a:lnTo>
                  <a:pt x="766" y="715"/>
                </a:lnTo>
                <a:lnTo>
                  <a:pt x="774" y="688"/>
                </a:lnTo>
                <a:lnTo>
                  <a:pt x="784" y="662"/>
                </a:lnTo>
                <a:lnTo>
                  <a:pt x="796" y="640"/>
                </a:lnTo>
                <a:lnTo>
                  <a:pt x="810" y="621"/>
                </a:lnTo>
                <a:lnTo>
                  <a:pt x="817" y="612"/>
                </a:lnTo>
                <a:lnTo>
                  <a:pt x="824" y="603"/>
                </a:lnTo>
                <a:lnTo>
                  <a:pt x="841" y="588"/>
                </a:lnTo>
                <a:lnTo>
                  <a:pt x="862" y="576"/>
                </a:lnTo>
                <a:lnTo>
                  <a:pt x="883" y="564"/>
                </a:lnTo>
                <a:lnTo>
                  <a:pt x="909" y="555"/>
                </a:lnTo>
                <a:lnTo>
                  <a:pt x="937" y="547"/>
                </a:lnTo>
                <a:lnTo>
                  <a:pt x="967" y="542"/>
                </a:lnTo>
                <a:lnTo>
                  <a:pt x="1001" y="538"/>
                </a:lnTo>
                <a:lnTo>
                  <a:pt x="1038" y="536"/>
                </a:lnTo>
                <a:lnTo>
                  <a:pt x="1078" y="5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38" name="Rectangle 37">
            <a:hlinkClick r:id="rId16" action="ppaction://hlinksldjump"/>
            <a:extLst>
              <a:ext uri="{FF2B5EF4-FFF2-40B4-BE49-F238E27FC236}">
                <a16:creationId xmlns:a16="http://schemas.microsoft.com/office/drawing/2014/main" id="{D245BEDB-2641-46BC-8C75-76ED06C7B9EB}"/>
              </a:ext>
            </a:extLst>
          </p:cNvPr>
          <p:cNvSpPr/>
          <p:nvPr/>
        </p:nvSpPr>
        <p:spPr>
          <a:xfrm>
            <a:off x="5097626" y="4865941"/>
            <a:ext cx="2086726" cy="133441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lnSpc>
                <a:spcPct val="120000"/>
              </a:lnSpc>
              <a:defRPr/>
            </a:pPr>
            <a:r>
              <a:rPr lang="en-US">
                <a:cs typeface="Arial"/>
              </a:rPr>
              <a:t>Around the clock support at your fingertips</a:t>
            </a:r>
            <a:endParaRPr lang="en-US">
              <a:ea typeface="+mn-ea"/>
              <a:cs typeface="+mn-cs"/>
            </a:endParaRPr>
          </a:p>
        </p:txBody>
      </p:sp>
      <p:pic>
        <p:nvPicPr>
          <p:cNvPr id="45" name="Graphic 45">
            <a:hlinkClick r:id="rId12" action="ppaction://hlinksldjump"/>
            <a:extLst>
              <a:ext uri="{FF2B5EF4-FFF2-40B4-BE49-F238E27FC236}">
                <a16:creationId xmlns:a16="http://schemas.microsoft.com/office/drawing/2014/main" id="{67D97782-90A8-4CAF-B6A2-9B1E78F50F20}"/>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8272855" y="4139770"/>
            <a:ext cx="450057" cy="435769"/>
          </a:xfrm>
          <a:prstGeom prst="rect">
            <a:avLst/>
          </a:prstGeom>
        </p:spPr>
      </p:pic>
      <p:sp>
        <p:nvSpPr>
          <p:cNvPr id="24" name="Freeform: Shape 23">
            <a:hlinkClick r:id="rId10" action="ppaction://hlinksldjump"/>
            <a:extLst>
              <a:ext uri="{FF2B5EF4-FFF2-40B4-BE49-F238E27FC236}">
                <a16:creationId xmlns:a16="http://schemas.microsoft.com/office/drawing/2014/main" id="{48C051C6-119F-4866-8275-B3A7C39FB0CD}"/>
              </a:ext>
            </a:extLst>
          </p:cNvPr>
          <p:cNvSpPr/>
          <p:nvPr/>
        </p:nvSpPr>
        <p:spPr>
          <a:xfrm>
            <a:off x="10768185" y="4139769"/>
            <a:ext cx="449588" cy="435769"/>
          </a:xfrm>
          <a:custGeom>
            <a:avLst/>
            <a:gdLst>
              <a:gd name="connsiteX0" fmla="*/ 225029 w 449588"/>
              <a:gd name="connsiteY0" fmla="*/ 435769 h 435769"/>
              <a:gd name="connsiteX1" fmla="*/ 219403 w 449588"/>
              <a:gd name="connsiteY1" fmla="*/ 435769 h 435769"/>
              <a:gd name="connsiteX2" fmla="*/ 213777 w 449588"/>
              <a:gd name="connsiteY2" fmla="*/ 435769 h 435769"/>
              <a:gd name="connsiteX3" fmla="*/ 207683 w 449588"/>
              <a:gd name="connsiteY3" fmla="*/ 435320 h 435769"/>
              <a:gd name="connsiteX4" fmla="*/ 201588 w 449588"/>
              <a:gd name="connsiteY4" fmla="*/ 434871 h 435769"/>
              <a:gd name="connsiteX5" fmla="*/ 195962 w 449588"/>
              <a:gd name="connsiteY5" fmla="*/ 433972 h 435769"/>
              <a:gd name="connsiteX6" fmla="*/ 190805 w 449588"/>
              <a:gd name="connsiteY6" fmla="*/ 433523 h 435769"/>
              <a:gd name="connsiteX7" fmla="*/ 185180 w 449588"/>
              <a:gd name="connsiteY7" fmla="*/ 432624 h 435769"/>
              <a:gd name="connsiteX8" fmla="*/ 180023 w 449588"/>
              <a:gd name="connsiteY8" fmla="*/ 431277 h 435769"/>
              <a:gd name="connsiteX9" fmla="*/ 174397 w 449588"/>
              <a:gd name="connsiteY9" fmla="*/ 429929 h 435769"/>
              <a:gd name="connsiteX10" fmla="*/ 168771 w 449588"/>
              <a:gd name="connsiteY10" fmla="*/ 429030 h 435769"/>
              <a:gd name="connsiteX11" fmla="*/ 163146 w 449588"/>
              <a:gd name="connsiteY11" fmla="*/ 427683 h 435769"/>
              <a:gd name="connsiteX12" fmla="*/ 157989 w 449588"/>
              <a:gd name="connsiteY12" fmla="*/ 425886 h 435769"/>
              <a:gd name="connsiteX13" fmla="*/ 152832 w 449588"/>
              <a:gd name="connsiteY13" fmla="*/ 424089 h 435769"/>
              <a:gd name="connsiteX14" fmla="*/ 147675 w 449588"/>
              <a:gd name="connsiteY14" fmla="*/ 422292 h 435769"/>
              <a:gd name="connsiteX15" fmla="*/ 142518 w 449588"/>
              <a:gd name="connsiteY15" fmla="*/ 420495 h 435769"/>
              <a:gd name="connsiteX16" fmla="*/ 137361 w 449588"/>
              <a:gd name="connsiteY16" fmla="*/ 418248 h 435769"/>
              <a:gd name="connsiteX17" fmla="*/ 132673 w 449588"/>
              <a:gd name="connsiteY17" fmla="*/ 416002 h 435769"/>
              <a:gd name="connsiteX18" fmla="*/ 127516 w 449588"/>
              <a:gd name="connsiteY18" fmla="*/ 413756 h 435769"/>
              <a:gd name="connsiteX19" fmla="*/ 122828 w 449588"/>
              <a:gd name="connsiteY19" fmla="*/ 411510 h 435769"/>
              <a:gd name="connsiteX20" fmla="*/ 117671 w 449588"/>
              <a:gd name="connsiteY20" fmla="*/ 409263 h 435769"/>
              <a:gd name="connsiteX21" fmla="*/ 112983 w 449588"/>
              <a:gd name="connsiteY21" fmla="*/ 406568 h 435769"/>
              <a:gd name="connsiteX22" fmla="*/ 108295 w 449588"/>
              <a:gd name="connsiteY22" fmla="*/ 403873 h 435769"/>
              <a:gd name="connsiteX23" fmla="*/ 103607 w 449588"/>
              <a:gd name="connsiteY23" fmla="*/ 401177 h 435769"/>
              <a:gd name="connsiteX24" fmla="*/ 99388 w 449588"/>
              <a:gd name="connsiteY24" fmla="*/ 398482 h 435769"/>
              <a:gd name="connsiteX25" fmla="*/ 95168 w 449588"/>
              <a:gd name="connsiteY25" fmla="*/ 395337 h 435769"/>
              <a:gd name="connsiteX26" fmla="*/ 90480 w 449588"/>
              <a:gd name="connsiteY26" fmla="*/ 392641 h 435769"/>
              <a:gd name="connsiteX27" fmla="*/ 86261 w 449588"/>
              <a:gd name="connsiteY27" fmla="*/ 389497 h 435769"/>
              <a:gd name="connsiteX28" fmla="*/ 82042 w 449588"/>
              <a:gd name="connsiteY28" fmla="*/ 385903 h 435769"/>
              <a:gd name="connsiteX29" fmla="*/ 77822 w 449588"/>
              <a:gd name="connsiteY29" fmla="*/ 382758 h 435769"/>
              <a:gd name="connsiteX30" fmla="*/ 73603 w 449588"/>
              <a:gd name="connsiteY30" fmla="*/ 379164 h 435769"/>
              <a:gd name="connsiteX31" fmla="*/ 69384 w 449588"/>
              <a:gd name="connsiteY31" fmla="*/ 375570 h 435769"/>
              <a:gd name="connsiteX32" fmla="*/ 65633 w 449588"/>
              <a:gd name="connsiteY32" fmla="*/ 371976 h 435769"/>
              <a:gd name="connsiteX33" fmla="*/ 61883 w 449588"/>
              <a:gd name="connsiteY33" fmla="*/ 368382 h 435769"/>
              <a:gd name="connsiteX34" fmla="*/ 58132 w 449588"/>
              <a:gd name="connsiteY34" fmla="*/ 364339 h 435769"/>
              <a:gd name="connsiteX35" fmla="*/ 54851 w 449588"/>
              <a:gd name="connsiteY35" fmla="*/ 360296 h 435769"/>
              <a:gd name="connsiteX36" fmla="*/ 51569 w 449588"/>
              <a:gd name="connsiteY36" fmla="*/ 356252 h 435769"/>
              <a:gd name="connsiteX37" fmla="*/ 48287 w 449588"/>
              <a:gd name="connsiteY37" fmla="*/ 351760 h 435769"/>
              <a:gd name="connsiteX38" fmla="*/ 45006 w 449588"/>
              <a:gd name="connsiteY38" fmla="*/ 347717 h 435769"/>
              <a:gd name="connsiteX39" fmla="*/ 42193 w 449588"/>
              <a:gd name="connsiteY39" fmla="*/ 343674 h 435769"/>
              <a:gd name="connsiteX40" fmla="*/ 38911 w 449588"/>
              <a:gd name="connsiteY40" fmla="*/ 339181 h 435769"/>
              <a:gd name="connsiteX41" fmla="*/ 35630 w 449588"/>
              <a:gd name="connsiteY41" fmla="*/ 334689 h 435769"/>
              <a:gd name="connsiteX42" fmla="*/ 32817 w 449588"/>
              <a:gd name="connsiteY42" fmla="*/ 330196 h 435769"/>
              <a:gd name="connsiteX43" fmla="*/ 30004 w 449588"/>
              <a:gd name="connsiteY43" fmla="*/ 325704 h 435769"/>
              <a:gd name="connsiteX44" fmla="*/ 27660 w 449588"/>
              <a:gd name="connsiteY44" fmla="*/ 321211 h 435769"/>
              <a:gd name="connsiteX45" fmla="*/ 25316 w 449588"/>
              <a:gd name="connsiteY45" fmla="*/ 316269 h 435769"/>
              <a:gd name="connsiteX46" fmla="*/ 22972 w 449588"/>
              <a:gd name="connsiteY46" fmla="*/ 311328 h 435769"/>
              <a:gd name="connsiteX47" fmla="*/ 20628 w 449588"/>
              <a:gd name="connsiteY47" fmla="*/ 306835 h 435769"/>
              <a:gd name="connsiteX48" fmla="*/ 18752 w 449588"/>
              <a:gd name="connsiteY48" fmla="*/ 301894 h 435769"/>
              <a:gd name="connsiteX49" fmla="*/ 16877 w 449588"/>
              <a:gd name="connsiteY49" fmla="*/ 296952 h 435769"/>
              <a:gd name="connsiteX50" fmla="*/ 14064 w 449588"/>
              <a:gd name="connsiteY50" fmla="*/ 292459 h 435769"/>
              <a:gd name="connsiteX51" fmla="*/ 12189 w 449588"/>
              <a:gd name="connsiteY51" fmla="*/ 287518 h 435769"/>
              <a:gd name="connsiteX52" fmla="*/ 10314 w 449588"/>
              <a:gd name="connsiteY52" fmla="*/ 282576 h 435769"/>
              <a:gd name="connsiteX53" fmla="*/ 8439 w 449588"/>
              <a:gd name="connsiteY53" fmla="*/ 277185 h 435769"/>
              <a:gd name="connsiteX54" fmla="*/ 7032 w 449588"/>
              <a:gd name="connsiteY54" fmla="*/ 272243 h 435769"/>
              <a:gd name="connsiteX55" fmla="*/ 5626 w 449588"/>
              <a:gd name="connsiteY55" fmla="*/ 266852 h 435769"/>
              <a:gd name="connsiteX56" fmla="*/ 4688 w 449588"/>
              <a:gd name="connsiteY56" fmla="*/ 261461 h 435769"/>
              <a:gd name="connsiteX57" fmla="*/ 3750 w 449588"/>
              <a:gd name="connsiteY57" fmla="*/ 256070 h 435769"/>
              <a:gd name="connsiteX58" fmla="*/ 2813 w 449588"/>
              <a:gd name="connsiteY58" fmla="*/ 250679 h 435769"/>
              <a:gd name="connsiteX59" fmla="*/ 1875 w 449588"/>
              <a:gd name="connsiteY59" fmla="*/ 245289 h 435769"/>
              <a:gd name="connsiteX60" fmla="*/ 1406 w 449588"/>
              <a:gd name="connsiteY60" fmla="*/ 239898 h 435769"/>
              <a:gd name="connsiteX61" fmla="*/ 938 w 449588"/>
              <a:gd name="connsiteY61" fmla="*/ 234507 h 435769"/>
              <a:gd name="connsiteX62" fmla="*/ 469 w 449588"/>
              <a:gd name="connsiteY62" fmla="*/ 229116 h 435769"/>
              <a:gd name="connsiteX63" fmla="*/ 0 w 449588"/>
              <a:gd name="connsiteY63" fmla="*/ 223275 h 435769"/>
              <a:gd name="connsiteX64" fmla="*/ 0 w 449588"/>
              <a:gd name="connsiteY64" fmla="*/ 217435 h 435769"/>
              <a:gd name="connsiteX65" fmla="*/ 0 w 449588"/>
              <a:gd name="connsiteY65" fmla="*/ 212044 h 435769"/>
              <a:gd name="connsiteX66" fmla="*/ 469 w 449588"/>
              <a:gd name="connsiteY66" fmla="*/ 206204 h 435769"/>
              <a:gd name="connsiteX67" fmla="*/ 938 w 449588"/>
              <a:gd name="connsiteY67" fmla="*/ 200813 h 435769"/>
              <a:gd name="connsiteX68" fmla="*/ 1406 w 449588"/>
              <a:gd name="connsiteY68" fmla="*/ 195422 h 435769"/>
              <a:gd name="connsiteX69" fmla="*/ 1875 w 449588"/>
              <a:gd name="connsiteY69" fmla="*/ 190031 h 435769"/>
              <a:gd name="connsiteX70" fmla="*/ 2813 w 449588"/>
              <a:gd name="connsiteY70" fmla="*/ 184191 h 435769"/>
              <a:gd name="connsiteX71" fmla="*/ 3750 w 449588"/>
              <a:gd name="connsiteY71" fmla="*/ 178800 h 435769"/>
              <a:gd name="connsiteX72" fmla="*/ 4688 w 449588"/>
              <a:gd name="connsiteY72" fmla="*/ 173858 h 435769"/>
              <a:gd name="connsiteX73" fmla="*/ 5626 w 449588"/>
              <a:gd name="connsiteY73" fmla="*/ 168467 h 435769"/>
              <a:gd name="connsiteX74" fmla="*/ 7032 w 449588"/>
              <a:gd name="connsiteY74" fmla="*/ 163076 h 435769"/>
              <a:gd name="connsiteX75" fmla="*/ 8439 w 449588"/>
              <a:gd name="connsiteY75" fmla="*/ 157685 h 435769"/>
              <a:gd name="connsiteX76" fmla="*/ 10314 w 449588"/>
              <a:gd name="connsiteY76" fmla="*/ 152744 h 435769"/>
              <a:gd name="connsiteX77" fmla="*/ 12189 w 449588"/>
              <a:gd name="connsiteY77" fmla="*/ 147353 h 435769"/>
              <a:gd name="connsiteX78" fmla="*/ 14064 w 449588"/>
              <a:gd name="connsiteY78" fmla="*/ 142411 h 435769"/>
              <a:gd name="connsiteX79" fmla="*/ 15940 w 449588"/>
              <a:gd name="connsiteY79" fmla="*/ 137919 h 435769"/>
              <a:gd name="connsiteX80" fmla="*/ 17815 w 449588"/>
              <a:gd name="connsiteY80" fmla="*/ 132977 h 435769"/>
              <a:gd name="connsiteX81" fmla="*/ 19690 w 449588"/>
              <a:gd name="connsiteY81" fmla="*/ 128035 h 435769"/>
              <a:gd name="connsiteX82" fmla="*/ 22034 w 449588"/>
              <a:gd name="connsiteY82" fmla="*/ 123543 h 435769"/>
              <a:gd name="connsiteX83" fmla="*/ 24378 w 449588"/>
              <a:gd name="connsiteY83" fmla="*/ 118601 h 435769"/>
              <a:gd name="connsiteX84" fmla="*/ 26722 w 449588"/>
              <a:gd name="connsiteY84" fmla="*/ 114109 h 435769"/>
              <a:gd name="connsiteX85" fmla="*/ 29066 w 449588"/>
              <a:gd name="connsiteY85" fmla="*/ 109616 h 435769"/>
              <a:gd name="connsiteX86" fmla="*/ 31879 w 449588"/>
              <a:gd name="connsiteY86" fmla="*/ 105124 h 435769"/>
              <a:gd name="connsiteX87" fmla="*/ 34692 w 449588"/>
              <a:gd name="connsiteY87" fmla="*/ 100631 h 435769"/>
              <a:gd name="connsiteX88" fmla="*/ 37974 w 449588"/>
              <a:gd name="connsiteY88" fmla="*/ 96139 h 435769"/>
              <a:gd name="connsiteX89" fmla="*/ 41255 w 449588"/>
              <a:gd name="connsiteY89" fmla="*/ 91646 h 435769"/>
              <a:gd name="connsiteX90" fmla="*/ 44068 w 449588"/>
              <a:gd name="connsiteY90" fmla="*/ 87154 h 435769"/>
              <a:gd name="connsiteX91" fmla="*/ 47350 w 449588"/>
              <a:gd name="connsiteY91" fmla="*/ 83111 h 435769"/>
              <a:gd name="connsiteX92" fmla="*/ 50631 w 449588"/>
              <a:gd name="connsiteY92" fmla="*/ 79067 h 435769"/>
              <a:gd name="connsiteX93" fmla="*/ 54382 w 449588"/>
              <a:gd name="connsiteY93" fmla="*/ 75024 h 435769"/>
              <a:gd name="connsiteX94" fmla="*/ 57664 w 449588"/>
              <a:gd name="connsiteY94" fmla="*/ 70981 h 435769"/>
              <a:gd name="connsiteX95" fmla="*/ 61414 w 449588"/>
              <a:gd name="connsiteY95" fmla="*/ 66938 h 435769"/>
              <a:gd name="connsiteX96" fmla="*/ 65165 w 449588"/>
              <a:gd name="connsiteY96" fmla="*/ 63344 h 435769"/>
              <a:gd name="connsiteX97" fmla="*/ 68915 w 449588"/>
              <a:gd name="connsiteY97" fmla="*/ 59750 h 435769"/>
              <a:gd name="connsiteX98" fmla="*/ 73134 w 449588"/>
              <a:gd name="connsiteY98" fmla="*/ 56156 h 435769"/>
              <a:gd name="connsiteX99" fmla="*/ 77354 w 449588"/>
              <a:gd name="connsiteY99" fmla="*/ 52562 h 435769"/>
              <a:gd name="connsiteX100" fmla="*/ 81573 w 449588"/>
              <a:gd name="connsiteY100" fmla="*/ 48968 h 435769"/>
              <a:gd name="connsiteX101" fmla="*/ 85792 w 449588"/>
              <a:gd name="connsiteY101" fmla="*/ 45823 h 435769"/>
              <a:gd name="connsiteX102" fmla="*/ 90011 w 449588"/>
              <a:gd name="connsiteY102" fmla="*/ 42678 h 435769"/>
              <a:gd name="connsiteX103" fmla="*/ 94700 w 449588"/>
              <a:gd name="connsiteY103" fmla="*/ 39534 h 435769"/>
              <a:gd name="connsiteX104" fmla="*/ 98919 w 449588"/>
              <a:gd name="connsiteY104" fmla="*/ 36389 h 435769"/>
              <a:gd name="connsiteX105" fmla="*/ 103138 w 449588"/>
              <a:gd name="connsiteY105" fmla="*/ 33693 h 435769"/>
              <a:gd name="connsiteX106" fmla="*/ 107826 w 449588"/>
              <a:gd name="connsiteY106" fmla="*/ 30998 h 435769"/>
              <a:gd name="connsiteX107" fmla="*/ 112514 w 449588"/>
              <a:gd name="connsiteY107" fmla="*/ 28303 h 435769"/>
              <a:gd name="connsiteX108" fmla="*/ 117202 w 449588"/>
              <a:gd name="connsiteY108" fmla="*/ 25607 h 435769"/>
              <a:gd name="connsiteX109" fmla="*/ 122359 w 449588"/>
              <a:gd name="connsiteY109" fmla="*/ 23361 h 435769"/>
              <a:gd name="connsiteX110" fmla="*/ 127047 w 449588"/>
              <a:gd name="connsiteY110" fmla="*/ 21115 h 435769"/>
              <a:gd name="connsiteX111" fmla="*/ 132204 w 449588"/>
              <a:gd name="connsiteY111" fmla="*/ 18868 h 435769"/>
              <a:gd name="connsiteX112" fmla="*/ 136892 w 449588"/>
              <a:gd name="connsiteY112" fmla="*/ 16622 h 435769"/>
              <a:gd name="connsiteX113" fmla="*/ 142049 w 449588"/>
              <a:gd name="connsiteY113" fmla="*/ 14376 h 435769"/>
              <a:gd name="connsiteX114" fmla="*/ 147206 w 449588"/>
              <a:gd name="connsiteY114" fmla="*/ 12130 h 435769"/>
              <a:gd name="connsiteX115" fmla="*/ 152363 w 449588"/>
              <a:gd name="connsiteY115" fmla="*/ 10333 h 435769"/>
              <a:gd name="connsiteX116" fmla="*/ 157989 w 449588"/>
              <a:gd name="connsiteY116" fmla="*/ 8985 h 435769"/>
              <a:gd name="connsiteX117" fmla="*/ 163146 w 449588"/>
              <a:gd name="connsiteY117" fmla="*/ 7637 h 435769"/>
              <a:gd name="connsiteX118" fmla="*/ 168771 w 449588"/>
              <a:gd name="connsiteY118" fmla="*/ 6289 h 435769"/>
              <a:gd name="connsiteX119" fmla="*/ 174397 w 449588"/>
              <a:gd name="connsiteY119" fmla="*/ 4942 h 435769"/>
              <a:gd name="connsiteX120" fmla="*/ 180023 w 449588"/>
              <a:gd name="connsiteY120" fmla="*/ 3594 h 435769"/>
              <a:gd name="connsiteX121" fmla="*/ 185649 w 449588"/>
              <a:gd name="connsiteY121" fmla="*/ 2695 h 435769"/>
              <a:gd name="connsiteX122" fmla="*/ 191274 w 449588"/>
              <a:gd name="connsiteY122" fmla="*/ 1797 h 435769"/>
              <a:gd name="connsiteX123" fmla="*/ 196431 w 449588"/>
              <a:gd name="connsiteY123" fmla="*/ 898 h 435769"/>
              <a:gd name="connsiteX124" fmla="*/ 202057 w 449588"/>
              <a:gd name="connsiteY124" fmla="*/ 449 h 435769"/>
              <a:gd name="connsiteX125" fmla="*/ 207683 w 449588"/>
              <a:gd name="connsiteY125" fmla="*/ 0 h 435769"/>
              <a:gd name="connsiteX126" fmla="*/ 213777 w 449588"/>
              <a:gd name="connsiteY126" fmla="*/ 0 h 435769"/>
              <a:gd name="connsiteX127" fmla="*/ 219403 w 449588"/>
              <a:gd name="connsiteY127" fmla="*/ 0 h 435769"/>
              <a:gd name="connsiteX128" fmla="*/ 225029 w 449588"/>
              <a:gd name="connsiteY128" fmla="*/ 0 h 435769"/>
              <a:gd name="connsiteX129" fmla="*/ 231123 w 449588"/>
              <a:gd name="connsiteY129" fmla="*/ 0 h 435769"/>
              <a:gd name="connsiteX130" fmla="*/ 236749 w 449588"/>
              <a:gd name="connsiteY130" fmla="*/ 0 h 435769"/>
              <a:gd name="connsiteX131" fmla="*/ 242843 w 449588"/>
              <a:gd name="connsiteY131" fmla="*/ 0 h 435769"/>
              <a:gd name="connsiteX132" fmla="*/ 248469 w 449588"/>
              <a:gd name="connsiteY132" fmla="*/ 898 h 435769"/>
              <a:gd name="connsiteX133" fmla="*/ 254095 w 449588"/>
              <a:gd name="connsiteY133" fmla="*/ 1348 h 435769"/>
              <a:gd name="connsiteX134" fmla="*/ 259720 w 449588"/>
              <a:gd name="connsiteY134" fmla="*/ 2246 h 435769"/>
              <a:gd name="connsiteX135" fmla="*/ 265346 w 449588"/>
              <a:gd name="connsiteY135" fmla="*/ 3145 h 435769"/>
              <a:gd name="connsiteX136" fmla="*/ 270972 w 449588"/>
              <a:gd name="connsiteY136" fmla="*/ 4043 h 435769"/>
              <a:gd name="connsiteX137" fmla="*/ 276598 w 449588"/>
              <a:gd name="connsiteY137" fmla="*/ 5391 h 435769"/>
              <a:gd name="connsiteX138" fmla="*/ 281286 w 449588"/>
              <a:gd name="connsiteY138" fmla="*/ 6289 h 435769"/>
              <a:gd name="connsiteX139" fmla="*/ 286911 w 449588"/>
              <a:gd name="connsiteY139" fmla="*/ 7637 h 435769"/>
              <a:gd name="connsiteX140" fmla="*/ 292068 w 449588"/>
              <a:gd name="connsiteY140" fmla="*/ 8985 h 435769"/>
              <a:gd name="connsiteX141" fmla="*/ 297225 w 449588"/>
              <a:gd name="connsiteY141" fmla="*/ 10782 h 435769"/>
              <a:gd name="connsiteX142" fmla="*/ 302382 w 449588"/>
              <a:gd name="connsiteY142" fmla="*/ 12579 h 435769"/>
              <a:gd name="connsiteX143" fmla="*/ 307539 w 449588"/>
              <a:gd name="connsiteY143" fmla="*/ 14825 h 435769"/>
              <a:gd name="connsiteX144" fmla="*/ 312696 w 449588"/>
              <a:gd name="connsiteY144" fmla="*/ 17071 h 435769"/>
              <a:gd name="connsiteX145" fmla="*/ 317853 w 449588"/>
              <a:gd name="connsiteY145" fmla="*/ 19318 h 435769"/>
              <a:gd name="connsiteX146" fmla="*/ 322541 w 449588"/>
              <a:gd name="connsiteY146" fmla="*/ 21564 h 435769"/>
              <a:gd name="connsiteX147" fmla="*/ 327229 w 449588"/>
              <a:gd name="connsiteY147" fmla="*/ 23810 h 435769"/>
              <a:gd name="connsiteX148" fmla="*/ 332386 w 449588"/>
              <a:gd name="connsiteY148" fmla="*/ 26056 h 435769"/>
              <a:gd name="connsiteX149" fmla="*/ 337074 w 449588"/>
              <a:gd name="connsiteY149" fmla="*/ 28752 h 435769"/>
              <a:gd name="connsiteX150" fmla="*/ 341762 w 449588"/>
              <a:gd name="connsiteY150" fmla="*/ 31447 h 435769"/>
              <a:gd name="connsiteX151" fmla="*/ 345981 w 449588"/>
              <a:gd name="connsiteY151" fmla="*/ 34143 h 435769"/>
              <a:gd name="connsiteX152" fmla="*/ 350201 w 449588"/>
              <a:gd name="connsiteY152" fmla="*/ 36838 h 435769"/>
              <a:gd name="connsiteX153" fmla="*/ 354889 w 449588"/>
              <a:gd name="connsiteY153" fmla="*/ 39983 h 435769"/>
              <a:gd name="connsiteX154" fmla="*/ 359108 w 449588"/>
              <a:gd name="connsiteY154" fmla="*/ 43128 h 435769"/>
              <a:gd name="connsiteX155" fmla="*/ 363327 w 449588"/>
              <a:gd name="connsiteY155" fmla="*/ 46272 h 435769"/>
              <a:gd name="connsiteX156" fmla="*/ 367547 w 449588"/>
              <a:gd name="connsiteY156" fmla="*/ 49417 h 435769"/>
              <a:gd name="connsiteX157" fmla="*/ 371766 w 449588"/>
              <a:gd name="connsiteY157" fmla="*/ 53011 h 435769"/>
              <a:gd name="connsiteX158" fmla="*/ 375985 w 449588"/>
              <a:gd name="connsiteY158" fmla="*/ 56605 h 435769"/>
              <a:gd name="connsiteX159" fmla="*/ 380204 w 449588"/>
              <a:gd name="connsiteY159" fmla="*/ 60199 h 435769"/>
              <a:gd name="connsiteX160" fmla="*/ 383955 w 449588"/>
              <a:gd name="connsiteY160" fmla="*/ 63793 h 435769"/>
              <a:gd name="connsiteX161" fmla="*/ 387705 w 449588"/>
              <a:gd name="connsiteY161" fmla="*/ 67387 h 435769"/>
              <a:gd name="connsiteX162" fmla="*/ 391456 w 449588"/>
              <a:gd name="connsiteY162" fmla="*/ 71430 h 435769"/>
              <a:gd name="connsiteX163" fmla="*/ 395206 w 449588"/>
              <a:gd name="connsiteY163" fmla="*/ 75473 h 435769"/>
              <a:gd name="connsiteX164" fmla="*/ 398488 w 449588"/>
              <a:gd name="connsiteY164" fmla="*/ 79517 h 435769"/>
              <a:gd name="connsiteX165" fmla="*/ 402238 w 449588"/>
              <a:gd name="connsiteY165" fmla="*/ 83560 h 435769"/>
              <a:gd name="connsiteX166" fmla="*/ 405520 w 449588"/>
              <a:gd name="connsiteY166" fmla="*/ 87603 h 435769"/>
              <a:gd name="connsiteX167" fmla="*/ 408802 w 449588"/>
              <a:gd name="connsiteY167" fmla="*/ 92096 h 435769"/>
              <a:gd name="connsiteX168" fmla="*/ 412083 w 449588"/>
              <a:gd name="connsiteY168" fmla="*/ 96588 h 435769"/>
              <a:gd name="connsiteX169" fmla="*/ 414896 w 449588"/>
              <a:gd name="connsiteY169" fmla="*/ 101080 h 435769"/>
              <a:gd name="connsiteX170" fmla="*/ 417709 w 449588"/>
              <a:gd name="connsiteY170" fmla="*/ 105573 h 435769"/>
              <a:gd name="connsiteX171" fmla="*/ 420522 w 449588"/>
              <a:gd name="connsiteY171" fmla="*/ 110065 h 435769"/>
              <a:gd name="connsiteX172" fmla="*/ 423335 w 449588"/>
              <a:gd name="connsiteY172" fmla="*/ 114558 h 435769"/>
              <a:gd name="connsiteX173" fmla="*/ 425679 w 449588"/>
              <a:gd name="connsiteY173" fmla="*/ 119050 h 435769"/>
              <a:gd name="connsiteX174" fmla="*/ 428023 w 449588"/>
              <a:gd name="connsiteY174" fmla="*/ 123992 h 435769"/>
              <a:gd name="connsiteX175" fmla="*/ 430367 w 449588"/>
              <a:gd name="connsiteY175" fmla="*/ 128484 h 435769"/>
              <a:gd name="connsiteX176" fmla="*/ 432711 w 449588"/>
              <a:gd name="connsiteY176" fmla="*/ 133426 h 435769"/>
              <a:gd name="connsiteX177" fmla="*/ 434586 w 449588"/>
              <a:gd name="connsiteY177" fmla="*/ 138368 h 435769"/>
              <a:gd name="connsiteX178" fmla="*/ 436462 w 449588"/>
              <a:gd name="connsiteY178" fmla="*/ 142860 h 435769"/>
              <a:gd name="connsiteX179" fmla="*/ 438337 w 449588"/>
              <a:gd name="connsiteY179" fmla="*/ 147802 h 435769"/>
              <a:gd name="connsiteX180" fmla="*/ 440212 w 449588"/>
              <a:gd name="connsiteY180" fmla="*/ 153193 h 435769"/>
              <a:gd name="connsiteX181" fmla="*/ 441618 w 449588"/>
              <a:gd name="connsiteY181" fmla="*/ 158135 h 435769"/>
              <a:gd name="connsiteX182" fmla="*/ 443025 w 449588"/>
              <a:gd name="connsiteY182" fmla="*/ 163526 h 435769"/>
              <a:gd name="connsiteX183" fmla="*/ 444431 w 449588"/>
              <a:gd name="connsiteY183" fmla="*/ 168917 h 435769"/>
              <a:gd name="connsiteX184" fmla="*/ 445838 w 449588"/>
              <a:gd name="connsiteY184" fmla="*/ 174308 h 435769"/>
              <a:gd name="connsiteX185" fmla="*/ 446775 w 449588"/>
              <a:gd name="connsiteY185" fmla="*/ 179249 h 435769"/>
              <a:gd name="connsiteX186" fmla="*/ 447713 w 449588"/>
              <a:gd name="connsiteY186" fmla="*/ 184640 h 435769"/>
              <a:gd name="connsiteX187" fmla="*/ 448182 w 449588"/>
              <a:gd name="connsiteY187" fmla="*/ 190031 h 435769"/>
              <a:gd name="connsiteX188" fmla="*/ 448651 w 449588"/>
              <a:gd name="connsiteY188" fmla="*/ 195422 h 435769"/>
              <a:gd name="connsiteX189" fmla="*/ 449119 w 449588"/>
              <a:gd name="connsiteY189" fmla="*/ 200813 h 435769"/>
              <a:gd name="connsiteX190" fmla="*/ 449588 w 449588"/>
              <a:gd name="connsiteY190" fmla="*/ 206204 h 435769"/>
              <a:gd name="connsiteX191" fmla="*/ 449588 w 449588"/>
              <a:gd name="connsiteY191" fmla="*/ 212044 h 435769"/>
              <a:gd name="connsiteX192" fmla="*/ 449588 w 449588"/>
              <a:gd name="connsiteY192" fmla="*/ 217435 h 435769"/>
              <a:gd name="connsiteX193" fmla="*/ 449588 w 449588"/>
              <a:gd name="connsiteY193" fmla="*/ 223275 h 435769"/>
              <a:gd name="connsiteX194" fmla="*/ 449588 w 449588"/>
              <a:gd name="connsiteY194" fmla="*/ 228666 h 435769"/>
              <a:gd name="connsiteX195" fmla="*/ 449119 w 449588"/>
              <a:gd name="connsiteY195" fmla="*/ 234057 h 435769"/>
              <a:gd name="connsiteX196" fmla="*/ 448651 w 449588"/>
              <a:gd name="connsiteY196" fmla="*/ 239448 h 435769"/>
              <a:gd name="connsiteX197" fmla="*/ 448182 w 449588"/>
              <a:gd name="connsiteY197" fmla="*/ 244839 h 435769"/>
              <a:gd name="connsiteX198" fmla="*/ 447713 w 449588"/>
              <a:gd name="connsiteY198" fmla="*/ 250230 h 435769"/>
              <a:gd name="connsiteX199" fmla="*/ 446307 w 449588"/>
              <a:gd name="connsiteY199" fmla="*/ 256070 h 435769"/>
              <a:gd name="connsiteX200" fmla="*/ 445369 w 449588"/>
              <a:gd name="connsiteY200" fmla="*/ 261461 h 435769"/>
              <a:gd name="connsiteX201" fmla="*/ 443962 w 449588"/>
              <a:gd name="connsiteY201" fmla="*/ 266852 h 435769"/>
              <a:gd name="connsiteX202" fmla="*/ 442556 w 449588"/>
              <a:gd name="connsiteY202" fmla="*/ 272243 h 435769"/>
              <a:gd name="connsiteX203" fmla="*/ 441150 w 449588"/>
              <a:gd name="connsiteY203" fmla="*/ 277185 h 435769"/>
              <a:gd name="connsiteX204" fmla="*/ 439743 w 449588"/>
              <a:gd name="connsiteY204" fmla="*/ 282576 h 435769"/>
              <a:gd name="connsiteX205" fmla="*/ 438337 w 449588"/>
              <a:gd name="connsiteY205" fmla="*/ 287518 h 435769"/>
              <a:gd name="connsiteX206" fmla="*/ 436462 w 449588"/>
              <a:gd name="connsiteY206" fmla="*/ 292459 h 435769"/>
              <a:gd name="connsiteX207" fmla="*/ 434586 w 449588"/>
              <a:gd name="connsiteY207" fmla="*/ 297401 h 435769"/>
              <a:gd name="connsiteX208" fmla="*/ 432711 w 449588"/>
              <a:gd name="connsiteY208" fmla="*/ 302343 h 435769"/>
              <a:gd name="connsiteX209" fmla="*/ 430367 w 449588"/>
              <a:gd name="connsiteY209" fmla="*/ 307285 h 435769"/>
              <a:gd name="connsiteX210" fmla="*/ 428023 w 449588"/>
              <a:gd name="connsiteY210" fmla="*/ 311777 h 435769"/>
              <a:gd name="connsiteX211" fmla="*/ 425679 w 449588"/>
              <a:gd name="connsiteY211" fmla="*/ 316719 h 435769"/>
              <a:gd name="connsiteX212" fmla="*/ 423335 w 449588"/>
              <a:gd name="connsiteY212" fmla="*/ 321660 h 435769"/>
              <a:gd name="connsiteX213" fmla="*/ 420522 w 449588"/>
              <a:gd name="connsiteY213" fmla="*/ 326153 h 435769"/>
              <a:gd name="connsiteX214" fmla="*/ 417709 w 449588"/>
              <a:gd name="connsiteY214" fmla="*/ 330645 h 435769"/>
              <a:gd name="connsiteX215" fmla="*/ 414896 w 449588"/>
              <a:gd name="connsiteY215" fmla="*/ 335138 h 435769"/>
              <a:gd name="connsiteX216" fmla="*/ 412083 w 449588"/>
              <a:gd name="connsiteY216" fmla="*/ 339630 h 435769"/>
              <a:gd name="connsiteX217" fmla="*/ 408802 w 449588"/>
              <a:gd name="connsiteY217" fmla="*/ 344123 h 435769"/>
              <a:gd name="connsiteX218" fmla="*/ 405520 w 449588"/>
              <a:gd name="connsiteY218" fmla="*/ 348166 h 435769"/>
              <a:gd name="connsiteX219" fmla="*/ 402238 w 449588"/>
              <a:gd name="connsiteY219" fmla="*/ 352209 h 435769"/>
              <a:gd name="connsiteX220" fmla="*/ 398488 w 449588"/>
              <a:gd name="connsiteY220" fmla="*/ 356702 h 435769"/>
              <a:gd name="connsiteX221" fmla="*/ 395206 w 449588"/>
              <a:gd name="connsiteY221" fmla="*/ 360745 h 435769"/>
              <a:gd name="connsiteX222" fmla="*/ 391456 w 449588"/>
              <a:gd name="connsiteY222" fmla="*/ 364788 h 435769"/>
              <a:gd name="connsiteX223" fmla="*/ 387705 w 449588"/>
              <a:gd name="connsiteY223" fmla="*/ 368831 h 435769"/>
              <a:gd name="connsiteX224" fmla="*/ 383955 w 449588"/>
              <a:gd name="connsiteY224" fmla="*/ 372425 h 435769"/>
              <a:gd name="connsiteX225" fmla="*/ 380204 w 449588"/>
              <a:gd name="connsiteY225" fmla="*/ 376019 h 435769"/>
              <a:gd name="connsiteX226" fmla="*/ 375985 w 449588"/>
              <a:gd name="connsiteY226" fmla="*/ 379613 h 435769"/>
              <a:gd name="connsiteX227" fmla="*/ 371766 w 449588"/>
              <a:gd name="connsiteY227" fmla="*/ 383207 h 435769"/>
              <a:gd name="connsiteX228" fmla="*/ 367547 w 449588"/>
              <a:gd name="connsiteY228" fmla="*/ 386352 h 435769"/>
              <a:gd name="connsiteX229" fmla="*/ 363327 w 449588"/>
              <a:gd name="connsiteY229" fmla="*/ 389946 h 435769"/>
              <a:gd name="connsiteX230" fmla="*/ 359108 w 449588"/>
              <a:gd name="connsiteY230" fmla="*/ 393091 h 435769"/>
              <a:gd name="connsiteX231" fmla="*/ 355358 w 449588"/>
              <a:gd name="connsiteY231" fmla="*/ 395337 h 435769"/>
              <a:gd name="connsiteX232" fmla="*/ 350669 w 449588"/>
              <a:gd name="connsiteY232" fmla="*/ 398482 h 435769"/>
              <a:gd name="connsiteX233" fmla="*/ 346450 w 449588"/>
              <a:gd name="connsiteY233" fmla="*/ 401177 h 435769"/>
              <a:gd name="connsiteX234" fmla="*/ 341762 w 449588"/>
              <a:gd name="connsiteY234" fmla="*/ 404322 h 435769"/>
              <a:gd name="connsiteX235" fmla="*/ 337074 w 449588"/>
              <a:gd name="connsiteY235" fmla="*/ 407017 h 435769"/>
              <a:gd name="connsiteX236" fmla="*/ 332386 w 449588"/>
              <a:gd name="connsiteY236" fmla="*/ 409713 h 435769"/>
              <a:gd name="connsiteX237" fmla="*/ 327229 w 449588"/>
              <a:gd name="connsiteY237" fmla="*/ 411959 h 435769"/>
              <a:gd name="connsiteX238" fmla="*/ 322541 w 449588"/>
              <a:gd name="connsiteY238" fmla="*/ 414205 h 435769"/>
              <a:gd name="connsiteX239" fmla="*/ 317853 w 449588"/>
              <a:gd name="connsiteY239" fmla="*/ 416451 h 435769"/>
              <a:gd name="connsiteX240" fmla="*/ 312696 w 449588"/>
              <a:gd name="connsiteY240" fmla="*/ 418698 h 435769"/>
              <a:gd name="connsiteX241" fmla="*/ 307539 w 449588"/>
              <a:gd name="connsiteY241" fmla="*/ 420944 h 435769"/>
              <a:gd name="connsiteX242" fmla="*/ 302382 w 449588"/>
              <a:gd name="connsiteY242" fmla="*/ 422741 h 435769"/>
              <a:gd name="connsiteX243" fmla="*/ 297225 w 449588"/>
              <a:gd name="connsiteY243" fmla="*/ 424538 h 435769"/>
              <a:gd name="connsiteX244" fmla="*/ 292068 w 449588"/>
              <a:gd name="connsiteY244" fmla="*/ 426335 h 435769"/>
              <a:gd name="connsiteX245" fmla="*/ 286911 w 449588"/>
              <a:gd name="connsiteY245" fmla="*/ 428132 h 435769"/>
              <a:gd name="connsiteX246" fmla="*/ 281286 w 449588"/>
              <a:gd name="connsiteY246" fmla="*/ 429030 h 435769"/>
              <a:gd name="connsiteX247" fmla="*/ 276129 w 449588"/>
              <a:gd name="connsiteY247" fmla="*/ 429929 h 435769"/>
              <a:gd name="connsiteX248" fmla="*/ 270503 w 449588"/>
              <a:gd name="connsiteY248" fmla="*/ 431277 h 435769"/>
              <a:gd name="connsiteX249" fmla="*/ 264877 w 449588"/>
              <a:gd name="connsiteY249" fmla="*/ 432175 h 435769"/>
              <a:gd name="connsiteX250" fmla="*/ 259252 w 449588"/>
              <a:gd name="connsiteY250" fmla="*/ 433074 h 435769"/>
              <a:gd name="connsiteX251" fmla="*/ 253626 w 449588"/>
              <a:gd name="connsiteY251" fmla="*/ 433523 h 435769"/>
              <a:gd name="connsiteX252" fmla="*/ 248000 w 449588"/>
              <a:gd name="connsiteY252" fmla="*/ 434421 h 435769"/>
              <a:gd name="connsiteX253" fmla="*/ 242374 w 449588"/>
              <a:gd name="connsiteY253" fmla="*/ 434871 h 435769"/>
              <a:gd name="connsiteX254" fmla="*/ 236749 w 449588"/>
              <a:gd name="connsiteY254" fmla="*/ 435769 h 435769"/>
              <a:gd name="connsiteX255" fmla="*/ 231123 w 449588"/>
              <a:gd name="connsiteY255" fmla="*/ 435769 h 435769"/>
              <a:gd name="connsiteX256" fmla="*/ 225029 w 449588"/>
              <a:gd name="connsiteY256" fmla="*/ 435769 h 435769"/>
              <a:gd name="connsiteX257" fmla="*/ 225029 w 449588"/>
              <a:gd name="connsiteY257" fmla="*/ 20216 h 435769"/>
              <a:gd name="connsiteX258" fmla="*/ 219872 w 449588"/>
              <a:gd name="connsiteY258" fmla="*/ 20665 h 435769"/>
              <a:gd name="connsiteX259" fmla="*/ 214715 w 449588"/>
              <a:gd name="connsiteY259" fmla="*/ 20665 h 435769"/>
              <a:gd name="connsiteX260" fmla="*/ 209558 w 449588"/>
              <a:gd name="connsiteY260" fmla="*/ 21115 h 435769"/>
              <a:gd name="connsiteX261" fmla="*/ 204870 w 449588"/>
              <a:gd name="connsiteY261" fmla="*/ 21564 h 435769"/>
              <a:gd name="connsiteX262" fmla="*/ 199713 w 449588"/>
              <a:gd name="connsiteY262" fmla="*/ 22013 h 435769"/>
              <a:gd name="connsiteX263" fmla="*/ 194087 w 449588"/>
              <a:gd name="connsiteY263" fmla="*/ 22462 h 435769"/>
              <a:gd name="connsiteX264" fmla="*/ 188930 w 449588"/>
              <a:gd name="connsiteY264" fmla="*/ 23361 h 435769"/>
              <a:gd name="connsiteX265" fmla="*/ 183773 w 449588"/>
              <a:gd name="connsiteY265" fmla="*/ 24259 h 435769"/>
              <a:gd name="connsiteX266" fmla="*/ 178616 w 449588"/>
              <a:gd name="connsiteY266" fmla="*/ 25158 h 435769"/>
              <a:gd name="connsiteX267" fmla="*/ 173928 w 449588"/>
              <a:gd name="connsiteY267" fmla="*/ 26506 h 435769"/>
              <a:gd name="connsiteX268" fmla="*/ 168771 w 449588"/>
              <a:gd name="connsiteY268" fmla="*/ 27853 h 435769"/>
              <a:gd name="connsiteX269" fmla="*/ 164083 w 449588"/>
              <a:gd name="connsiteY269" fmla="*/ 29201 h 435769"/>
              <a:gd name="connsiteX270" fmla="*/ 159395 w 449588"/>
              <a:gd name="connsiteY270" fmla="*/ 30998 h 435769"/>
              <a:gd name="connsiteX271" fmla="*/ 154707 w 449588"/>
              <a:gd name="connsiteY271" fmla="*/ 32795 h 435769"/>
              <a:gd name="connsiteX272" fmla="*/ 150019 w 449588"/>
              <a:gd name="connsiteY272" fmla="*/ 34592 h 435769"/>
              <a:gd name="connsiteX273" fmla="*/ 145800 w 449588"/>
              <a:gd name="connsiteY273" fmla="*/ 35940 h 435769"/>
              <a:gd name="connsiteX274" fmla="*/ 141112 w 449588"/>
              <a:gd name="connsiteY274" fmla="*/ 37737 h 435769"/>
              <a:gd name="connsiteX275" fmla="*/ 136892 w 449588"/>
              <a:gd name="connsiteY275" fmla="*/ 39983 h 435769"/>
              <a:gd name="connsiteX276" fmla="*/ 132673 w 449588"/>
              <a:gd name="connsiteY276" fmla="*/ 42229 h 435769"/>
              <a:gd name="connsiteX277" fmla="*/ 128454 w 449588"/>
              <a:gd name="connsiteY277" fmla="*/ 44475 h 435769"/>
              <a:gd name="connsiteX278" fmla="*/ 124234 w 449588"/>
              <a:gd name="connsiteY278" fmla="*/ 46722 h 435769"/>
              <a:gd name="connsiteX279" fmla="*/ 120015 w 449588"/>
              <a:gd name="connsiteY279" fmla="*/ 48968 h 435769"/>
              <a:gd name="connsiteX280" fmla="*/ 115796 w 449588"/>
              <a:gd name="connsiteY280" fmla="*/ 51663 h 435769"/>
              <a:gd name="connsiteX281" fmla="*/ 111577 w 449588"/>
              <a:gd name="connsiteY281" fmla="*/ 53910 h 435769"/>
              <a:gd name="connsiteX282" fmla="*/ 107357 w 449588"/>
              <a:gd name="connsiteY282" fmla="*/ 56605 h 435769"/>
              <a:gd name="connsiteX283" fmla="*/ 103138 w 449588"/>
              <a:gd name="connsiteY283" fmla="*/ 59301 h 435769"/>
              <a:gd name="connsiteX284" fmla="*/ 99388 w 449588"/>
              <a:gd name="connsiteY284" fmla="*/ 62445 h 435769"/>
              <a:gd name="connsiteX285" fmla="*/ 95637 w 449588"/>
              <a:gd name="connsiteY285" fmla="*/ 65141 h 435769"/>
              <a:gd name="connsiteX286" fmla="*/ 91887 w 449588"/>
              <a:gd name="connsiteY286" fmla="*/ 68285 h 435769"/>
              <a:gd name="connsiteX287" fmla="*/ 88605 w 449588"/>
              <a:gd name="connsiteY287" fmla="*/ 71879 h 435769"/>
              <a:gd name="connsiteX288" fmla="*/ 84855 w 449588"/>
              <a:gd name="connsiteY288" fmla="*/ 75024 h 435769"/>
              <a:gd name="connsiteX289" fmla="*/ 81573 w 449588"/>
              <a:gd name="connsiteY289" fmla="*/ 78169 h 435769"/>
              <a:gd name="connsiteX290" fmla="*/ 77822 w 449588"/>
              <a:gd name="connsiteY290" fmla="*/ 81763 h 435769"/>
              <a:gd name="connsiteX291" fmla="*/ 74541 w 449588"/>
              <a:gd name="connsiteY291" fmla="*/ 85357 h 435769"/>
              <a:gd name="connsiteX292" fmla="*/ 71259 w 449588"/>
              <a:gd name="connsiteY292" fmla="*/ 88951 h 435769"/>
              <a:gd name="connsiteX293" fmla="*/ 67977 w 449588"/>
              <a:gd name="connsiteY293" fmla="*/ 92545 h 435769"/>
              <a:gd name="connsiteX294" fmla="*/ 64696 w 449588"/>
              <a:gd name="connsiteY294" fmla="*/ 96139 h 435769"/>
              <a:gd name="connsiteX295" fmla="*/ 61883 w 449588"/>
              <a:gd name="connsiteY295" fmla="*/ 99733 h 435769"/>
              <a:gd name="connsiteX296" fmla="*/ 59070 w 449588"/>
              <a:gd name="connsiteY296" fmla="*/ 103327 h 435769"/>
              <a:gd name="connsiteX297" fmla="*/ 56257 w 449588"/>
              <a:gd name="connsiteY297" fmla="*/ 107370 h 435769"/>
              <a:gd name="connsiteX298" fmla="*/ 53444 w 449588"/>
              <a:gd name="connsiteY298" fmla="*/ 111413 h 435769"/>
              <a:gd name="connsiteX299" fmla="*/ 51100 w 449588"/>
              <a:gd name="connsiteY299" fmla="*/ 115906 h 435769"/>
              <a:gd name="connsiteX300" fmla="*/ 48756 w 449588"/>
              <a:gd name="connsiteY300" fmla="*/ 119949 h 435769"/>
              <a:gd name="connsiteX301" fmla="*/ 46412 w 449588"/>
              <a:gd name="connsiteY301" fmla="*/ 123992 h 435769"/>
              <a:gd name="connsiteX302" fmla="*/ 44068 w 449588"/>
              <a:gd name="connsiteY302" fmla="*/ 128035 h 435769"/>
              <a:gd name="connsiteX303" fmla="*/ 42193 w 449588"/>
              <a:gd name="connsiteY303" fmla="*/ 132528 h 435769"/>
              <a:gd name="connsiteX304" fmla="*/ 40318 w 449588"/>
              <a:gd name="connsiteY304" fmla="*/ 137020 h 435769"/>
              <a:gd name="connsiteX305" fmla="*/ 37974 w 449588"/>
              <a:gd name="connsiteY305" fmla="*/ 141513 h 435769"/>
              <a:gd name="connsiteX306" fmla="*/ 36098 w 449588"/>
              <a:gd name="connsiteY306" fmla="*/ 146005 h 435769"/>
              <a:gd name="connsiteX307" fmla="*/ 34692 w 449588"/>
              <a:gd name="connsiteY307" fmla="*/ 150498 h 435769"/>
              <a:gd name="connsiteX308" fmla="*/ 32817 w 449588"/>
              <a:gd name="connsiteY308" fmla="*/ 154990 h 435769"/>
              <a:gd name="connsiteX309" fmla="*/ 30941 w 449588"/>
              <a:gd name="connsiteY309" fmla="*/ 159482 h 435769"/>
              <a:gd name="connsiteX310" fmla="*/ 29535 w 449588"/>
              <a:gd name="connsiteY310" fmla="*/ 163975 h 435769"/>
              <a:gd name="connsiteX311" fmla="*/ 28129 w 449588"/>
              <a:gd name="connsiteY311" fmla="*/ 168467 h 435769"/>
              <a:gd name="connsiteX312" fmla="*/ 27191 w 449588"/>
              <a:gd name="connsiteY312" fmla="*/ 172960 h 435769"/>
              <a:gd name="connsiteX313" fmla="*/ 25785 w 449588"/>
              <a:gd name="connsiteY313" fmla="*/ 177902 h 435769"/>
              <a:gd name="connsiteX314" fmla="*/ 24847 w 449588"/>
              <a:gd name="connsiteY314" fmla="*/ 182394 h 435769"/>
              <a:gd name="connsiteX315" fmla="*/ 23909 w 449588"/>
              <a:gd name="connsiteY315" fmla="*/ 187336 h 435769"/>
              <a:gd name="connsiteX316" fmla="*/ 23440 w 449588"/>
              <a:gd name="connsiteY316" fmla="*/ 192727 h 435769"/>
              <a:gd name="connsiteX317" fmla="*/ 22503 w 449588"/>
              <a:gd name="connsiteY317" fmla="*/ 197668 h 435769"/>
              <a:gd name="connsiteX318" fmla="*/ 22503 w 449588"/>
              <a:gd name="connsiteY318" fmla="*/ 202161 h 435769"/>
              <a:gd name="connsiteX319" fmla="*/ 22503 w 449588"/>
              <a:gd name="connsiteY319" fmla="*/ 207103 h 435769"/>
              <a:gd name="connsiteX320" fmla="*/ 22503 w 449588"/>
              <a:gd name="connsiteY320" fmla="*/ 212044 h 435769"/>
              <a:gd name="connsiteX321" fmla="*/ 22503 w 449588"/>
              <a:gd name="connsiteY321" fmla="*/ 216986 h 435769"/>
              <a:gd name="connsiteX322" fmla="*/ 22503 w 449588"/>
              <a:gd name="connsiteY322" fmla="*/ 221928 h 435769"/>
              <a:gd name="connsiteX323" fmla="*/ 22503 w 449588"/>
              <a:gd name="connsiteY323" fmla="*/ 226869 h 435769"/>
              <a:gd name="connsiteX324" fmla="*/ 22503 w 449588"/>
              <a:gd name="connsiteY324" fmla="*/ 231811 h 435769"/>
              <a:gd name="connsiteX325" fmla="*/ 22972 w 449588"/>
              <a:gd name="connsiteY325" fmla="*/ 236753 h 435769"/>
              <a:gd name="connsiteX326" fmla="*/ 23440 w 449588"/>
              <a:gd name="connsiteY326" fmla="*/ 242593 h 435769"/>
              <a:gd name="connsiteX327" fmla="*/ 23909 w 449588"/>
              <a:gd name="connsiteY327" fmla="*/ 247535 h 435769"/>
              <a:gd name="connsiteX328" fmla="*/ 24847 w 449588"/>
              <a:gd name="connsiteY328" fmla="*/ 252476 h 435769"/>
              <a:gd name="connsiteX329" fmla="*/ 25785 w 449588"/>
              <a:gd name="connsiteY329" fmla="*/ 256969 h 435769"/>
              <a:gd name="connsiteX330" fmla="*/ 27191 w 449588"/>
              <a:gd name="connsiteY330" fmla="*/ 261911 h 435769"/>
              <a:gd name="connsiteX331" fmla="*/ 28129 w 449588"/>
              <a:gd name="connsiteY331" fmla="*/ 266852 h 435769"/>
              <a:gd name="connsiteX332" fmla="*/ 29535 w 449588"/>
              <a:gd name="connsiteY332" fmla="*/ 271345 h 435769"/>
              <a:gd name="connsiteX333" fmla="*/ 30941 w 449588"/>
              <a:gd name="connsiteY333" fmla="*/ 276287 h 435769"/>
              <a:gd name="connsiteX334" fmla="*/ 32817 w 449588"/>
              <a:gd name="connsiteY334" fmla="*/ 280779 h 435769"/>
              <a:gd name="connsiteX335" fmla="*/ 34692 w 449588"/>
              <a:gd name="connsiteY335" fmla="*/ 285271 h 435769"/>
              <a:gd name="connsiteX336" fmla="*/ 36098 w 449588"/>
              <a:gd name="connsiteY336" fmla="*/ 289764 h 435769"/>
              <a:gd name="connsiteX337" fmla="*/ 37974 w 449588"/>
              <a:gd name="connsiteY337" fmla="*/ 294256 h 435769"/>
              <a:gd name="connsiteX338" fmla="*/ 40318 w 449588"/>
              <a:gd name="connsiteY338" fmla="*/ 298749 h 435769"/>
              <a:gd name="connsiteX339" fmla="*/ 42193 w 449588"/>
              <a:gd name="connsiteY339" fmla="*/ 303241 h 435769"/>
              <a:gd name="connsiteX340" fmla="*/ 44068 w 449588"/>
              <a:gd name="connsiteY340" fmla="*/ 307285 h 435769"/>
              <a:gd name="connsiteX341" fmla="*/ 46412 w 449588"/>
              <a:gd name="connsiteY341" fmla="*/ 311777 h 435769"/>
              <a:gd name="connsiteX342" fmla="*/ 48756 w 449588"/>
              <a:gd name="connsiteY342" fmla="*/ 315820 h 435769"/>
              <a:gd name="connsiteX343" fmla="*/ 51100 w 449588"/>
              <a:gd name="connsiteY343" fmla="*/ 320313 h 435769"/>
              <a:gd name="connsiteX344" fmla="*/ 53444 w 449588"/>
              <a:gd name="connsiteY344" fmla="*/ 324356 h 435769"/>
              <a:gd name="connsiteX345" fmla="*/ 56257 w 449588"/>
              <a:gd name="connsiteY345" fmla="*/ 328399 h 435769"/>
              <a:gd name="connsiteX346" fmla="*/ 59070 w 449588"/>
              <a:gd name="connsiteY346" fmla="*/ 332442 h 435769"/>
              <a:gd name="connsiteX347" fmla="*/ 61883 w 449588"/>
              <a:gd name="connsiteY347" fmla="*/ 336036 h 435769"/>
              <a:gd name="connsiteX348" fmla="*/ 64696 w 449588"/>
              <a:gd name="connsiteY348" fmla="*/ 340080 h 435769"/>
              <a:gd name="connsiteX349" fmla="*/ 67977 w 449588"/>
              <a:gd name="connsiteY349" fmla="*/ 343674 h 435769"/>
              <a:gd name="connsiteX350" fmla="*/ 71259 w 449588"/>
              <a:gd name="connsiteY350" fmla="*/ 347267 h 435769"/>
              <a:gd name="connsiteX351" fmla="*/ 74541 w 449588"/>
              <a:gd name="connsiteY351" fmla="*/ 350861 h 435769"/>
              <a:gd name="connsiteX352" fmla="*/ 77822 w 449588"/>
              <a:gd name="connsiteY352" fmla="*/ 354455 h 435769"/>
              <a:gd name="connsiteX353" fmla="*/ 81573 w 449588"/>
              <a:gd name="connsiteY353" fmla="*/ 358049 h 435769"/>
              <a:gd name="connsiteX354" fmla="*/ 84855 w 449588"/>
              <a:gd name="connsiteY354" fmla="*/ 361194 h 435769"/>
              <a:gd name="connsiteX355" fmla="*/ 88605 w 449588"/>
              <a:gd name="connsiteY355" fmla="*/ 364339 h 435769"/>
              <a:gd name="connsiteX356" fmla="*/ 92355 w 449588"/>
              <a:gd name="connsiteY356" fmla="*/ 367484 h 435769"/>
              <a:gd name="connsiteX357" fmla="*/ 96106 w 449588"/>
              <a:gd name="connsiteY357" fmla="*/ 370628 h 435769"/>
              <a:gd name="connsiteX358" fmla="*/ 99856 w 449588"/>
              <a:gd name="connsiteY358" fmla="*/ 373773 h 435769"/>
              <a:gd name="connsiteX359" fmla="*/ 103607 w 449588"/>
              <a:gd name="connsiteY359" fmla="*/ 376469 h 435769"/>
              <a:gd name="connsiteX360" fmla="*/ 107826 w 449588"/>
              <a:gd name="connsiteY360" fmla="*/ 379164 h 435769"/>
              <a:gd name="connsiteX361" fmla="*/ 112045 w 449588"/>
              <a:gd name="connsiteY361" fmla="*/ 381859 h 435769"/>
              <a:gd name="connsiteX362" fmla="*/ 116265 w 449588"/>
              <a:gd name="connsiteY362" fmla="*/ 384555 h 435769"/>
              <a:gd name="connsiteX363" fmla="*/ 120484 w 449588"/>
              <a:gd name="connsiteY363" fmla="*/ 386801 h 435769"/>
              <a:gd name="connsiteX364" fmla="*/ 124703 w 449588"/>
              <a:gd name="connsiteY364" fmla="*/ 389047 h 435769"/>
              <a:gd name="connsiteX365" fmla="*/ 128923 w 449588"/>
              <a:gd name="connsiteY365" fmla="*/ 391294 h 435769"/>
              <a:gd name="connsiteX366" fmla="*/ 133142 w 449588"/>
              <a:gd name="connsiteY366" fmla="*/ 393540 h 435769"/>
              <a:gd name="connsiteX367" fmla="*/ 137361 w 449588"/>
              <a:gd name="connsiteY367" fmla="*/ 395786 h 435769"/>
              <a:gd name="connsiteX368" fmla="*/ 141580 w 449588"/>
              <a:gd name="connsiteY368" fmla="*/ 398032 h 435769"/>
              <a:gd name="connsiteX369" fmla="*/ 146269 w 449588"/>
              <a:gd name="connsiteY369" fmla="*/ 399829 h 435769"/>
              <a:gd name="connsiteX370" fmla="*/ 150488 w 449588"/>
              <a:gd name="connsiteY370" fmla="*/ 401626 h 435769"/>
              <a:gd name="connsiteX371" fmla="*/ 155176 w 449588"/>
              <a:gd name="connsiteY371" fmla="*/ 403423 h 435769"/>
              <a:gd name="connsiteX372" fmla="*/ 159864 w 449588"/>
              <a:gd name="connsiteY372" fmla="*/ 405220 h 435769"/>
              <a:gd name="connsiteX373" fmla="*/ 164552 w 449588"/>
              <a:gd name="connsiteY373" fmla="*/ 406568 h 435769"/>
              <a:gd name="connsiteX374" fmla="*/ 169240 w 449588"/>
              <a:gd name="connsiteY374" fmla="*/ 407916 h 435769"/>
              <a:gd name="connsiteX375" fmla="*/ 174397 w 449588"/>
              <a:gd name="connsiteY375" fmla="*/ 409263 h 435769"/>
              <a:gd name="connsiteX376" fmla="*/ 179085 w 449588"/>
              <a:gd name="connsiteY376" fmla="*/ 410611 h 435769"/>
              <a:gd name="connsiteX377" fmla="*/ 184242 w 449588"/>
              <a:gd name="connsiteY377" fmla="*/ 411959 h 435769"/>
              <a:gd name="connsiteX378" fmla="*/ 189399 w 449588"/>
              <a:gd name="connsiteY378" fmla="*/ 412857 h 435769"/>
              <a:gd name="connsiteX379" fmla="*/ 194556 w 449588"/>
              <a:gd name="connsiteY379" fmla="*/ 413307 h 435769"/>
              <a:gd name="connsiteX380" fmla="*/ 199713 w 449588"/>
              <a:gd name="connsiteY380" fmla="*/ 414205 h 435769"/>
              <a:gd name="connsiteX381" fmla="*/ 204870 w 449588"/>
              <a:gd name="connsiteY381" fmla="*/ 414654 h 435769"/>
              <a:gd name="connsiteX382" fmla="*/ 209558 w 449588"/>
              <a:gd name="connsiteY382" fmla="*/ 415104 h 435769"/>
              <a:gd name="connsiteX383" fmla="*/ 214715 w 449588"/>
              <a:gd name="connsiteY383" fmla="*/ 415553 h 435769"/>
              <a:gd name="connsiteX384" fmla="*/ 219872 w 449588"/>
              <a:gd name="connsiteY384" fmla="*/ 415553 h 435769"/>
              <a:gd name="connsiteX385" fmla="*/ 225029 w 449588"/>
              <a:gd name="connsiteY385" fmla="*/ 415553 h 435769"/>
              <a:gd name="connsiteX386" fmla="*/ 230654 w 449588"/>
              <a:gd name="connsiteY386" fmla="*/ 415553 h 435769"/>
              <a:gd name="connsiteX387" fmla="*/ 235811 w 449588"/>
              <a:gd name="connsiteY387" fmla="*/ 415553 h 435769"/>
              <a:gd name="connsiteX388" fmla="*/ 240968 w 449588"/>
              <a:gd name="connsiteY388" fmla="*/ 415104 h 435769"/>
              <a:gd name="connsiteX389" fmla="*/ 246125 w 449588"/>
              <a:gd name="connsiteY389" fmla="*/ 414654 h 435769"/>
              <a:gd name="connsiteX390" fmla="*/ 251282 w 449588"/>
              <a:gd name="connsiteY390" fmla="*/ 414205 h 435769"/>
              <a:gd name="connsiteX391" fmla="*/ 256439 w 449588"/>
              <a:gd name="connsiteY391" fmla="*/ 413307 h 435769"/>
              <a:gd name="connsiteX392" fmla="*/ 261596 w 449588"/>
              <a:gd name="connsiteY392" fmla="*/ 412857 h 435769"/>
              <a:gd name="connsiteX393" fmla="*/ 266284 w 449588"/>
              <a:gd name="connsiteY393" fmla="*/ 411959 h 435769"/>
              <a:gd name="connsiteX394" fmla="*/ 271441 w 449588"/>
              <a:gd name="connsiteY394" fmla="*/ 410611 h 435769"/>
              <a:gd name="connsiteX395" fmla="*/ 276598 w 449588"/>
              <a:gd name="connsiteY395" fmla="*/ 409263 h 435769"/>
              <a:gd name="connsiteX396" fmla="*/ 281286 w 449588"/>
              <a:gd name="connsiteY396" fmla="*/ 407916 h 435769"/>
              <a:gd name="connsiteX397" fmla="*/ 285974 w 449588"/>
              <a:gd name="connsiteY397" fmla="*/ 406568 h 435769"/>
              <a:gd name="connsiteX398" fmla="*/ 290662 w 449588"/>
              <a:gd name="connsiteY398" fmla="*/ 405220 h 435769"/>
              <a:gd name="connsiteX399" fmla="*/ 295350 w 449588"/>
              <a:gd name="connsiteY399" fmla="*/ 403423 h 435769"/>
              <a:gd name="connsiteX400" fmla="*/ 299569 w 449588"/>
              <a:gd name="connsiteY400" fmla="*/ 401626 h 435769"/>
              <a:gd name="connsiteX401" fmla="*/ 304257 w 449588"/>
              <a:gd name="connsiteY401" fmla="*/ 399829 h 435769"/>
              <a:gd name="connsiteX402" fmla="*/ 308477 w 449588"/>
              <a:gd name="connsiteY402" fmla="*/ 398032 h 435769"/>
              <a:gd name="connsiteX403" fmla="*/ 312696 w 449588"/>
              <a:gd name="connsiteY403" fmla="*/ 395786 h 435769"/>
              <a:gd name="connsiteX404" fmla="*/ 317384 w 449588"/>
              <a:gd name="connsiteY404" fmla="*/ 393540 h 435769"/>
              <a:gd name="connsiteX405" fmla="*/ 321603 w 449588"/>
              <a:gd name="connsiteY405" fmla="*/ 391294 h 435769"/>
              <a:gd name="connsiteX406" fmla="*/ 325823 w 449588"/>
              <a:gd name="connsiteY406" fmla="*/ 389047 h 435769"/>
              <a:gd name="connsiteX407" fmla="*/ 330042 w 449588"/>
              <a:gd name="connsiteY407" fmla="*/ 386801 h 435769"/>
              <a:gd name="connsiteX408" fmla="*/ 334261 w 449588"/>
              <a:gd name="connsiteY408" fmla="*/ 384555 h 435769"/>
              <a:gd name="connsiteX409" fmla="*/ 338480 w 449588"/>
              <a:gd name="connsiteY409" fmla="*/ 381859 h 435769"/>
              <a:gd name="connsiteX410" fmla="*/ 342700 w 449588"/>
              <a:gd name="connsiteY410" fmla="*/ 379164 h 435769"/>
              <a:gd name="connsiteX411" fmla="*/ 346919 w 449588"/>
              <a:gd name="connsiteY411" fmla="*/ 376469 h 435769"/>
              <a:gd name="connsiteX412" fmla="*/ 350669 w 449588"/>
              <a:gd name="connsiteY412" fmla="*/ 373773 h 435769"/>
              <a:gd name="connsiteX413" fmla="*/ 354420 w 449588"/>
              <a:gd name="connsiteY413" fmla="*/ 370628 h 435769"/>
              <a:gd name="connsiteX414" fmla="*/ 358170 w 449588"/>
              <a:gd name="connsiteY414" fmla="*/ 367484 h 435769"/>
              <a:gd name="connsiteX415" fmla="*/ 361921 w 449588"/>
              <a:gd name="connsiteY415" fmla="*/ 364339 h 435769"/>
              <a:gd name="connsiteX416" fmla="*/ 365671 w 449588"/>
              <a:gd name="connsiteY416" fmla="*/ 361194 h 435769"/>
              <a:gd name="connsiteX417" fmla="*/ 369422 w 449588"/>
              <a:gd name="connsiteY417" fmla="*/ 358049 h 435769"/>
              <a:gd name="connsiteX418" fmla="*/ 373172 w 449588"/>
              <a:gd name="connsiteY418" fmla="*/ 354455 h 435769"/>
              <a:gd name="connsiteX419" fmla="*/ 376454 w 449588"/>
              <a:gd name="connsiteY419" fmla="*/ 350861 h 435769"/>
              <a:gd name="connsiteX420" fmla="*/ 379736 w 449588"/>
              <a:gd name="connsiteY420" fmla="*/ 347267 h 435769"/>
              <a:gd name="connsiteX421" fmla="*/ 383017 w 449588"/>
              <a:gd name="connsiteY421" fmla="*/ 343674 h 435769"/>
              <a:gd name="connsiteX422" fmla="*/ 386299 w 449588"/>
              <a:gd name="connsiteY422" fmla="*/ 340080 h 435769"/>
              <a:gd name="connsiteX423" fmla="*/ 389112 w 449588"/>
              <a:gd name="connsiteY423" fmla="*/ 336036 h 435769"/>
              <a:gd name="connsiteX424" fmla="*/ 391925 w 449588"/>
              <a:gd name="connsiteY424" fmla="*/ 332442 h 435769"/>
              <a:gd name="connsiteX425" fmla="*/ 394737 w 449588"/>
              <a:gd name="connsiteY425" fmla="*/ 328399 h 435769"/>
              <a:gd name="connsiteX426" fmla="*/ 397550 w 449588"/>
              <a:gd name="connsiteY426" fmla="*/ 324356 h 435769"/>
              <a:gd name="connsiteX427" fmla="*/ 399894 w 449588"/>
              <a:gd name="connsiteY427" fmla="*/ 320313 h 435769"/>
              <a:gd name="connsiteX428" fmla="*/ 402238 w 449588"/>
              <a:gd name="connsiteY428" fmla="*/ 315820 h 435769"/>
              <a:gd name="connsiteX429" fmla="*/ 404583 w 449588"/>
              <a:gd name="connsiteY429" fmla="*/ 311777 h 435769"/>
              <a:gd name="connsiteX430" fmla="*/ 406927 w 449588"/>
              <a:gd name="connsiteY430" fmla="*/ 307285 h 435769"/>
              <a:gd name="connsiteX431" fmla="*/ 408802 w 449588"/>
              <a:gd name="connsiteY431" fmla="*/ 303241 h 435769"/>
              <a:gd name="connsiteX432" fmla="*/ 410677 w 449588"/>
              <a:gd name="connsiteY432" fmla="*/ 298749 h 435769"/>
              <a:gd name="connsiteX433" fmla="*/ 412552 w 449588"/>
              <a:gd name="connsiteY433" fmla="*/ 294256 h 435769"/>
              <a:gd name="connsiteX434" fmla="*/ 414428 w 449588"/>
              <a:gd name="connsiteY434" fmla="*/ 289764 h 435769"/>
              <a:gd name="connsiteX435" fmla="*/ 416303 w 449588"/>
              <a:gd name="connsiteY435" fmla="*/ 285271 h 435769"/>
              <a:gd name="connsiteX436" fmla="*/ 418178 w 449588"/>
              <a:gd name="connsiteY436" fmla="*/ 280779 h 435769"/>
              <a:gd name="connsiteX437" fmla="*/ 420053 w 449588"/>
              <a:gd name="connsiteY437" fmla="*/ 276287 h 435769"/>
              <a:gd name="connsiteX438" fmla="*/ 421460 w 449588"/>
              <a:gd name="connsiteY438" fmla="*/ 271345 h 435769"/>
              <a:gd name="connsiteX439" fmla="*/ 422866 w 449588"/>
              <a:gd name="connsiteY439" fmla="*/ 266852 h 435769"/>
              <a:gd name="connsiteX440" fmla="*/ 424273 w 449588"/>
              <a:gd name="connsiteY440" fmla="*/ 261911 h 435769"/>
              <a:gd name="connsiteX441" fmla="*/ 425210 w 449588"/>
              <a:gd name="connsiteY441" fmla="*/ 256969 h 435769"/>
              <a:gd name="connsiteX442" fmla="*/ 426148 w 449588"/>
              <a:gd name="connsiteY442" fmla="*/ 252476 h 435769"/>
              <a:gd name="connsiteX443" fmla="*/ 426617 w 449588"/>
              <a:gd name="connsiteY443" fmla="*/ 247535 h 435769"/>
              <a:gd name="connsiteX444" fmla="*/ 426617 w 449588"/>
              <a:gd name="connsiteY444" fmla="*/ 242593 h 435769"/>
              <a:gd name="connsiteX445" fmla="*/ 427085 w 449588"/>
              <a:gd name="connsiteY445" fmla="*/ 237651 h 435769"/>
              <a:gd name="connsiteX446" fmla="*/ 427554 w 449588"/>
              <a:gd name="connsiteY446" fmla="*/ 232710 h 435769"/>
              <a:gd name="connsiteX447" fmla="*/ 427554 w 449588"/>
              <a:gd name="connsiteY447" fmla="*/ 227768 h 435769"/>
              <a:gd name="connsiteX448" fmla="*/ 427554 w 449588"/>
              <a:gd name="connsiteY448" fmla="*/ 222826 h 435769"/>
              <a:gd name="connsiteX449" fmla="*/ 427554 w 449588"/>
              <a:gd name="connsiteY449" fmla="*/ 217885 h 435769"/>
              <a:gd name="connsiteX450" fmla="*/ 427554 w 449588"/>
              <a:gd name="connsiteY450" fmla="*/ 212943 h 435769"/>
              <a:gd name="connsiteX451" fmla="*/ 427554 w 449588"/>
              <a:gd name="connsiteY451" fmla="*/ 208001 h 435769"/>
              <a:gd name="connsiteX452" fmla="*/ 427554 w 449588"/>
              <a:gd name="connsiteY452" fmla="*/ 203059 h 435769"/>
              <a:gd name="connsiteX453" fmla="*/ 427085 w 449588"/>
              <a:gd name="connsiteY453" fmla="*/ 198118 h 435769"/>
              <a:gd name="connsiteX454" fmla="*/ 426617 w 449588"/>
              <a:gd name="connsiteY454" fmla="*/ 192727 h 435769"/>
              <a:gd name="connsiteX455" fmla="*/ 425679 w 449588"/>
              <a:gd name="connsiteY455" fmla="*/ 187785 h 435769"/>
              <a:gd name="connsiteX456" fmla="*/ 425210 w 449588"/>
              <a:gd name="connsiteY456" fmla="*/ 182843 h 435769"/>
              <a:gd name="connsiteX457" fmla="*/ 424273 w 449588"/>
              <a:gd name="connsiteY457" fmla="*/ 178351 h 435769"/>
              <a:gd name="connsiteX458" fmla="*/ 423335 w 449588"/>
              <a:gd name="connsiteY458" fmla="*/ 173409 h 435769"/>
              <a:gd name="connsiteX459" fmla="*/ 421928 w 449588"/>
              <a:gd name="connsiteY459" fmla="*/ 168917 h 435769"/>
              <a:gd name="connsiteX460" fmla="*/ 420522 w 449588"/>
              <a:gd name="connsiteY460" fmla="*/ 163975 h 435769"/>
              <a:gd name="connsiteX461" fmla="*/ 419116 w 449588"/>
              <a:gd name="connsiteY461" fmla="*/ 159482 h 435769"/>
              <a:gd name="connsiteX462" fmla="*/ 417240 w 449588"/>
              <a:gd name="connsiteY462" fmla="*/ 154990 h 435769"/>
              <a:gd name="connsiteX463" fmla="*/ 415365 w 449588"/>
              <a:gd name="connsiteY463" fmla="*/ 150498 h 435769"/>
              <a:gd name="connsiteX464" fmla="*/ 413490 w 449588"/>
              <a:gd name="connsiteY464" fmla="*/ 146005 h 435769"/>
              <a:gd name="connsiteX465" fmla="*/ 411615 w 449588"/>
              <a:gd name="connsiteY465" fmla="*/ 141513 h 435769"/>
              <a:gd name="connsiteX466" fmla="*/ 409739 w 449588"/>
              <a:gd name="connsiteY466" fmla="*/ 137020 h 435769"/>
              <a:gd name="connsiteX467" fmla="*/ 407864 w 449588"/>
              <a:gd name="connsiteY467" fmla="*/ 132528 h 435769"/>
              <a:gd name="connsiteX468" fmla="*/ 405989 w 449588"/>
              <a:gd name="connsiteY468" fmla="*/ 128035 h 435769"/>
              <a:gd name="connsiteX469" fmla="*/ 403645 w 449588"/>
              <a:gd name="connsiteY469" fmla="*/ 123992 h 435769"/>
              <a:gd name="connsiteX470" fmla="*/ 401301 w 449588"/>
              <a:gd name="connsiteY470" fmla="*/ 119949 h 435769"/>
              <a:gd name="connsiteX471" fmla="*/ 398957 w 449588"/>
              <a:gd name="connsiteY471" fmla="*/ 115906 h 435769"/>
              <a:gd name="connsiteX472" fmla="*/ 396613 w 449588"/>
              <a:gd name="connsiteY472" fmla="*/ 111413 h 435769"/>
              <a:gd name="connsiteX473" fmla="*/ 393800 w 449588"/>
              <a:gd name="connsiteY473" fmla="*/ 107370 h 435769"/>
              <a:gd name="connsiteX474" fmla="*/ 390987 w 449588"/>
              <a:gd name="connsiteY474" fmla="*/ 103327 h 435769"/>
              <a:gd name="connsiteX475" fmla="*/ 388174 w 449588"/>
              <a:gd name="connsiteY475" fmla="*/ 99283 h 435769"/>
              <a:gd name="connsiteX476" fmla="*/ 385361 w 449588"/>
              <a:gd name="connsiteY476" fmla="*/ 95689 h 435769"/>
              <a:gd name="connsiteX477" fmla="*/ 382080 w 449588"/>
              <a:gd name="connsiteY477" fmla="*/ 92096 h 435769"/>
              <a:gd name="connsiteX478" fmla="*/ 378798 w 449588"/>
              <a:gd name="connsiteY478" fmla="*/ 88502 h 435769"/>
              <a:gd name="connsiteX479" fmla="*/ 375516 w 449588"/>
              <a:gd name="connsiteY479" fmla="*/ 84908 h 435769"/>
              <a:gd name="connsiteX480" fmla="*/ 372235 w 449588"/>
              <a:gd name="connsiteY480" fmla="*/ 81314 h 435769"/>
              <a:gd name="connsiteX481" fmla="*/ 368484 w 449588"/>
              <a:gd name="connsiteY481" fmla="*/ 77720 h 435769"/>
              <a:gd name="connsiteX482" fmla="*/ 364734 w 449588"/>
              <a:gd name="connsiteY482" fmla="*/ 74575 h 435769"/>
              <a:gd name="connsiteX483" fmla="*/ 361452 w 449588"/>
              <a:gd name="connsiteY483" fmla="*/ 71879 h 435769"/>
              <a:gd name="connsiteX484" fmla="*/ 357702 w 449588"/>
              <a:gd name="connsiteY484" fmla="*/ 68735 h 435769"/>
              <a:gd name="connsiteX485" fmla="*/ 353951 w 449588"/>
              <a:gd name="connsiteY485" fmla="*/ 65590 h 435769"/>
              <a:gd name="connsiteX486" fmla="*/ 350201 w 449588"/>
              <a:gd name="connsiteY486" fmla="*/ 62894 h 435769"/>
              <a:gd name="connsiteX487" fmla="*/ 346450 w 449588"/>
              <a:gd name="connsiteY487" fmla="*/ 59750 h 435769"/>
              <a:gd name="connsiteX488" fmla="*/ 342231 w 449588"/>
              <a:gd name="connsiteY488" fmla="*/ 57054 h 435769"/>
              <a:gd name="connsiteX489" fmla="*/ 338480 w 449588"/>
              <a:gd name="connsiteY489" fmla="*/ 53910 h 435769"/>
              <a:gd name="connsiteX490" fmla="*/ 334261 w 449588"/>
              <a:gd name="connsiteY490" fmla="*/ 51663 h 435769"/>
              <a:gd name="connsiteX491" fmla="*/ 330042 w 449588"/>
              <a:gd name="connsiteY491" fmla="*/ 48968 h 435769"/>
              <a:gd name="connsiteX492" fmla="*/ 325823 w 449588"/>
              <a:gd name="connsiteY492" fmla="*/ 46722 h 435769"/>
              <a:gd name="connsiteX493" fmla="*/ 321603 w 449588"/>
              <a:gd name="connsiteY493" fmla="*/ 44475 h 435769"/>
              <a:gd name="connsiteX494" fmla="*/ 317384 w 449588"/>
              <a:gd name="connsiteY494" fmla="*/ 42229 h 435769"/>
              <a:gd name="connsiteX495" fmla="*/ 312696 w 449588"/>
              <a:gd name="connsiteY495" fmla="*/ 39983 h 435769"/>
              <a:gd name="connsiteX496" fmla="*/ 308477 w 449588"/>
              <a:gd name="connsiteY496" fmla="*/ 37737 h 435769"/>
              <a:gd name="connsiteX497" fmla="*/ 304257 w 449588"/>
              <a:gd name="connsiteY497" fmla="*/ 35940 h 435769"/>
              <a:gd name="connsiteX498" fmla="*/ 299569 w 449588"/>
              <a:gd name="connsiteY498" fmla="*/ 34143 h 435769"/>
              <a:gd name="connsiteX499" fmla="*/ 295350 w 449588"/>
              <a:gd name="connsiteY499" fmla="*/ 32346 h 435769"/>
              <a:gd name="connsiteX500" fmla="*/ 290662 w 449588"/>
              <a:gd name="connsiteY500" fmla="*/ 30549 h 435769"/>
              <a:gd name="connsiteX501" fmla="*/ 285974 w 449588"/>
              <a:gd name="connsiteY501" fmla="*/ 28752 h 435769"/>
              <a:gd name="connsiteX502" fmla="*/ 281286 w 449588"/>
              <a:gd name="connsiteY502" fmla="*/ 27404 h 435769"/>
              <a:gd name="connsiteX503" fmla="*/ 276598 w 449588"/>
              <a:gd name="connsiteY503" fmla="*/ 26056 h 435769"/>
              <a:gd name="connsiteX504" fmla="*/ 271441 w 449588"/>
              <a:gd name="connsiteY504" fmla="*/ 24709 h 435769"/>
              <a:gd name="connsiteX505" fmla="*/ 266284 w 449588"/>
              <a:gd name="connsiteY505" fmla="*/ 23810 h 435769"/>
              <a:gd name="connsiteX506" fmla="*/ 261596 w 449588"/>
              <a:gd name="connsiteY506" fmla="*/ 22912 h 435769"/>
              <a:gd name="connsiteX507" fmla="*/ 255970 w 449588"/>
              <a:gd name="connsiteY507" fmla="*/ 22462 h 435769"/>
              <a:gd name="connsiteX508" fmla="*/ 250813 w 449588"/>
              <a:gd name="connsiteY508" fmla="*/ 21564 h 435769"/>
              <a:gd name="connsiteX509" fmla="*/ 245656 w 449588"/>
              <a:gd name="connsiteY509" fmla="*/ 21115 h 435769"/>
              <a:gd name="connsiteX510" fmla="*/ 240499 w 449588"/>
              <a:gd name="connsiteY510" fmla="*/ 20665 h 435769"/>
              <a:gd name="connsiteX511" fmla="*/ 235342 w 449588"/>
              <a:gd name="connsiteY511" fmla="*/ 20216 h 435769"/>
              <a:gd name="connsiteX512" fmla="*/ 230185 w 449588"/>
              <a:gd name="connsiteY512" fmla="*/ 20216 h 435769"/>
              <a:gd name="connsiteX513" fmla="*/ 225029 w 449588"/>
              <a:gd name="connsiteY513" fmla="*/ 20216 h 43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449588" h="435769">
                <a:moveTo>
                  <a:pt x="225029" y="435769"/>
                </a:moveTo>
                <a:lnTo>
                  <a:pt x="219403" y="435769"/>
                </a:lnTo>
                <a:lnTo>
                  <a:pt x="213777" y="435769"/>
                </a:lnTo>
                <a:lnTo>
                  <a:pt x="207683" y="435320"/>
                </a:lnTo>
                <a:lnTo>
                  <a:pt x="201588" y="434871"/>
                </a:lnTo>
                <a:lnTo>
                  <a:pt x="195962" y="433972"/>
                </a:lnTo>
                <a:lnTo>
                  <a:pt x="190805" y="433523"/>
                </a:lnTo>
                <a:lnTo>
                  <a:pt x="185180" y="432624"/>
                </a:lnTo>
                <a:lnTo>
                  <a:pt x="180023" y="431277"/>
                </a:lnTo>
                <a:lnTo>
                  <a:pt x="174397" y="429929"/>
                </a:lnTo>
                <a:lnTo>
                  <a:pt x="168771" y="429030"/>
                </a:lnTo>
                <a:lnTo>
                  <a:pt x="163146" y="427683"/>
                </a:lnTo>
                <a:lnTo>
                  <a:pt x="157989" y="425886"/>
                </a:lnTo>
                <a:lnTo>
                  <a:pt x="152832" y="424089"/>
                </a:lnTo>
                <a:lnTo>
                  <a:pt x="147675" y="422292"/>
                </a:lnTo>
                <a:lnTo>
                  <a:pt x="142518" y="420495"/>
                </a:lnTo>
                <a:lnTo>
                  <a:pt x="137361" y="418248"/>
                </a:lnTo>
                <a:lnTo>
                  <a:pt x="132673" y="416002"/>
                </a:lnTo>
                <a:lnTo>
                  <a:pt x="127516" y="413756"/>
                </a:lnTo>
                <a:lnTo>
                  <a:pt x="122828" y="411510"/>
                </a:lnTo>
                <a:lnTo>
                  <a:pt x="117671" y="409263"/>
                </a:lnTo>
                <a:lnTo>
                  <a:pt x="112983" y="406568"/>
                </a:lnTo>
                <a:lnTo>
                  <a:pt x="108295" y="403873"/>
                </a:lnTo>
                <a:lnTo>
                  <a:pt x="103607" y="401177"/>
                </a:lnTo>
                <a:lnTo>
                  <a:pt x="99388" y="398482"/>
                </a:lnTo>
                <a:lnTo>
                  <a:pt x="95168" y="395337"/>
                </a:lnTo>
                <a:lnTo>
                  <a:pt x="90480" y="392641"/>
                </a:lnTo>
                <a:lnTo>
                  <a:pt x="86261" y="389497"/>
                </a:lnTo>
                <a:lnTo>
                  <a:pt x="82042" y="385903"/>
                </a:lnTo>
                <a:lnTo>
                  <a:pt x="77822" y="382758"/>
                </a:lnTo>
                <a:lnTo>
                  <a:pt x="73603" y="379164"/>
                </a:lnTo>
                <a:lnTo>
                  <a:pt x="69384" y="375570"/>
                </a:lnTo>
                <a:lnTo>
                  <a:pt x="65633" y="371976"/>
                </a:lnTo>
                <a:lnTo>
                  <a:pt x="61883" y="368382"/>
                </a:lnTo>
                <a:lnTo>
                  <a:pt x="58132" y="364339"/>
                </a:lnTo>
                <a:lnTo>
                  <a:pt x="54851" y="360296"/>
                </a:lnTo>
                <a:lnTo>
                  <a:pt x="51569" y="356252"/>
                </a:lnTo>
                <a:lnTo>
                  <a:pt x="48287" y="351760"/>
                </a:lnTo>
                <a:lnTo>
                  <a:pt x="45006" y="347717"/>
                </a:lnTo>
                <a:lnTo>
                  <a:pt x="42193" y="343674"/>
                </a:lnTo>
                <a:lnTo>
                  <a:pt x="38911" y="339181"/>
                </a:lnTo>
                <a:lnTo>
                  <a:pt x="35630" y="334689"/>
                </a:lnTo>
                <a:lnTo>
                  <a:pt x="32817" y="330196"/>
                </a:lnTo>
                <a:lnTo>
                  <a:pt x="30004" y="325704"/>
                </a:lnTo>
                <a:lnTo>
                  <a:pt x="27660" y="321211"/>
                </a:lnTo>
                <a:lnTo>
                  <a:pt x="25316" y="316269"/>
                </a:lnTo>
                <a:lnTo>
                  <a:pt x="22972" y="311328"/>
                </a:lnTo>
                <a:lnTo>
                  <a:pt x="20628" y="306835"/>
                </a:lnTo>
                <a:lnTo>
                  <a:pt x="18752" y="301894"/>
                </a:lnTo>
                <a:lnTo>
                  <a:pt x="16877" y="296952"/>
                </a:lnTo>
                <a:lnTo>
                  <a:pt x="14064" y="292459"/>
                </a:lnTo>
                <a:lnTo>
                  <a:pt x="12189" y="287518"/>
                </a:lnTo>
                <a:lnTo>
                  <a:pt x="10314" y="282576"/>
                </a:lnTo>
                <a:lnTo>
                  <a:pt x="8439" y="277185"/>
                </a:lnTo>
                <a:lnTo>
                  <a:pt x="7032" y="272243"/>
                </a:lnTo>
                <a:lnTo>
                  <a:pt x="5626" y="266852"/>
                </a:lnTo>
                <a:lnTo>
                  <a:pt x="4688" y="261461"/>
                </a:lnTo>
                <a:lnTo>
                  <a:pt x="3750" y="256070"/>
                </a:lnTo>
                <a:lnTo>
                  <a:pt x="2813" y="250679"/>
                </a:lnTo>
                <a:lnTo>
                  <a:pt x="1875" y="245289"/>
                </a:lnTo>
                <a:lnTo>
                  <a:pt x="1406" y="239898"/>
                </a:lnTo>
                <a:lnTo>
                  <a:pt x="938" y="234507"/>
                </a:lnTo>
                <a:lnTo>
                  <a:pt x="469" y="229116"/>
                </a:lnTo>
                <a:lnTo>
                  <a:pt x="0" y="223275"/>
                </a:lnTo>
                <a:lnTo>
                  <a:pt x="0" y="217435"/>
                </a:lnTo>
                <a:lnTo>
                  <a:pt x="0" y="212044"/>
                </a:lnTo>
                <a:lnTo>
                  <a:pt x="469" y="206204"/>
                </a:lnTo>
                <a:lnTo>
                  <a:pt x="938" y="200813"/>
                </a:lnTo>
                <a:lnTo>
                  <a:pt x="1406" y="195422"/>
                </a:lnTo>
                <a:lnTo>
                  <a:pt x="1875" y="190031"/>
                </a:lnTo>
                <a:lnTo>
                  <a:pt x="2813" y="184191"/>
                </a:lnTo>
                <a:lnTo>
                  <a:pt x="3750" y="178800"/>
                </a:lnTo>
                <a:lnTo>
                  <a:pt x="4688" y="173858"/>
                </a:lnTo>
                <a:lnTo>
                  <a:pt x="5626" y="168467"/>
                </a:lnTo>
                <a:lnTo>
                  <a:pt x="7032" y="163076"/>
                </a:lnTo>
                <a:lnTo>
                  <a:pt x="8439" y="157685"/>
                </a:lnTo>
                <a:lnTo>
                  <a:pt x="10314" y="152744"/>
                </a:lnTo>
                <a:lnTo>
                  <a:pt x="12189" y="147353"/>
                </a:lnTo>
                <a:lnTo>
                  <a:pt x="14064" y="142411"/>
                </a:lnTo>
                <a:lnTo>
                  <a:pt x="15940" y="137919"/>
                </a:lnTo>
                <a:lnTo>
                  <a:pt x="17815" y="132977"/>
                </a:lnTo>
                <a:lnTo>
                  <a:pt x="19690" y="128035"/>
                </a:lnTo>
                <a:lnTo>
                  <a:pt x="22034" y="123543"/>
                </a:lnTo>
                <a:lnTo>
                  <a:pt x="24378" y="118601"/>
                </a:lnTo>
                <a:lnTo>
                  <a:pt x="26722" y="114109"/>
                </a:lnTo>
                <a:lnTo>
                  <a:pt x="29066" y="109616"/>
                </a:lnTo>
                <a:lnTo>
                  <a:pt x="31879" y="105124"/>
                </a:lnTo>
                <a:lnTo>
                  <a:pt x="34692" y="100631"/>
                </a:lnTo>
                <a:lnTo>
                  <a:pt x="37974" y="96139"/>
                </a:lnTo>
                <a:lnTo>
                  <a:pt x="41255" y="91646"/>
                </a:lnTo>
                <a:lnTo>
                  <a:pt x="44068" y="87154"/>
                </a:lnTo>
                <a:lnTo>
                  <a:pt x="47350" y="83111"/>
                </a:lnTo>
                <a:lnTo>
                  <a:pt x="50631" y="79067"/>
                </a:lnTo>
                <a:lnTo>
                  <a:pt x="54382" y="75024"/>
                </a:lnTo>
                <a:lnTo>
                  <a:pt x="57664" y="70981"/>
                </a:lnTo>
                <a:lnTo>
                  <a:pt x="61414" y="66938"/>
                </a:lnTo>
                <a:lnTo>
                  <a:pt x="65165" y="63344"/>
                </a:lnTo>
                <a:lnTo>
                  <a:pt x="68915" y="59750"/>
                </a:lnTo>
                <a:lnTo>
                  <a:pt x="73134" y="56156"/>
                </a:lnTo>
                <a:lnTo>
                  <a:pt x="77354" y="52562"/>
                </a:lnTo>
                <a:lnTo>
                  <a:pt x="81573" y="48968"/>
                </a:lnTo>
                <a:lnTo>
                  <a:pt x="85792" y="45823"/>
                </a:lnTo>
                <a:lnTo>
                  <a:pt x="90011" y="42678"/>
                </a:lnTo>
                <a:lnTo>
                  <a:pt x="94700" y="39534"/>
                </a:lnTo>
                <a:lnTo>
                  <a:pt x="98919" y="36389"/>
                </a:lnTo>
                <a:lnTo>
                  <a:pt x="103138" y="33693"/>
                </a:lnTo>
                <a:lnTo>
                  <a:pt x="107826" y="30998"/>
                </a:lnTo>
                <a:lnTo>
                  <a:pt x="112514" y="28303"/>
                </a:lnTo>
                <a:lnTo>
                  <a:pt x="117202" y="25607"/>
                </a:lnTo>
                <a:lnTo>
                  <a:pt x="122359" y="23361"/>
                </a:lnTo>
                <a:lnTo>
                  <a:pt x="127047" y="21115"/>
                </a:lnTo>
                <a:lnTo>
                  <a:pt x="132204" y="18868"/>
                </a:lnTo>
                <a:lnTo>
                  <a:pt x="136892" y="16622"/>
                </a:lnTo>
                <a:lnTo>
                  <a:pt x="142049" y="14376"/>
                </a:lnTo>
                <a:lnTo>
                  <a:pt x="147206" y="12130"/>
                </a:lnTo>
                <a:lnTo>
                  <a:pt x="152363" y="10333"/>
                </a:lnTo>
                <a:lnTo>
                  <a:pt x="157989" y="8985"/>
                </a:lnTo>
                <a:lnTo>
                  <a:pt x="163146" y="7637"/>
                </a:lnTo>
                <a:lnTo>
                  <a:pt x="168771" y="6289"/>
                </a:lnTo>
                <a:lnTo>
                  <a:pt x="174397" y="4942"/>
                </a:lnTo>
                <a:lnTo>
                  <a:pt x="180023" y="3594"/>
                </a:lnTo>
                <a:lnTo>
                  <a:pt x="185649" y="2695"/>
                </a:lnTo>
                <a:lnTo>
                  <a:pt x="191274" y="1797"/>
                </a:lnTo>
                <a:lnTo>
                  <a:pt x="196431" y="898"/>
                </a:lnTo>
                <a:lnTo>
                  <a:pt x="202057" y="449"/>
                </a:lnTo>
                <a:lnTo>
                  <a:pt x="207683" y="0"/>
                </a:lnTo>
                <a:lnTo>
                  <a:pt x="213777" y="0"/>
                </a:lnTo>
                <a:lnTo>
                  <a:pt x="219403" y="0"/>
                </a:lnTo>
                <a:lnTo>
                  <a:pt x="225029" y="0"/>
                </a:lnTo>
                <a:lnTo>
                  <a:pt x="231123" y="0"/>
                </a:lnTo>
                <a:lnTo>
                  <a:pt x="236749" y="0"/>
                </a:lnTo>
                <a:lnTo>
                  <a:pt x="242843" y="0"/>
                </a:lnTo>
                <a:lnTo>
                  <a:pt x="248469" y="898"/>
                </a:lnTo>
                <a:lnTo>
                  <a:pt x="254095" y="1348"/>
                </a:lnTo>
                <a:lnTo>
                  <a:pt x="259720" y="2246"/>
                </a:lnTo>
                <a:lnTo>
                  <a:pt x="265346" y="3145"/>
                </a:lnTo>
                <a:lnTo>
                  <a:pt x="270972" y="4043"/>
                </a:lnTo>
                <a:lnTo>
                  <a:pt x="276598" y="5391"/>
                </a:lnTo>
                <a:lnTo>
                  <a:pt x="281286" y="6289"/>
                </a:lnTo>
                <a:lnTo>
                  <a:pt x="286911" y="7637"/>
                </a:lnTo>
                <a:lnTo>
                  <a:pt x="292068" y="8985"/>
                </a:lnTo>
                <a:lnTo>
                  <a:pt x="297225" y="10782"/>
                </a:lnTo>
                <a:lnTo>
                  <a:pt x="302382" y="12579"/>
                </a:lnTo>
                <a:lnTo>
                  <a:pt x="307539" y="14825"/>
                </a:lnTo>
                <a:lnTo>
                  <a:pt x="312696" y="17071"/>
                </a:lnTo>
                <a:lnTo>
                  <a:pt x="317853" y="19318"/>
                </a:lnTo>
                <a:lnTo>
                  <a:pt x="322541" y="21564"/>
                </a:lnTo>
                <a:lnTo>
                  <a:pt x="327229" y="23810"/>
                </a:lnTo>
                <a:lnTo>
                  <a:pt x="332386" y="26056"/>
                </a:lnTo>
                <a:lnTo>
                  <a:pt x="337074" y="28752"/>
                </a:lnTo>
                <a:lnTo>
                  <a:pt x="341762" y="31447"/>
                </a:lnTo>
                <a:lnTo>
                  <a:pt x="345981" y="34143"/>
                </a:lnTo>
                <a:lnTo>
                  <a:pt x="350201" y="36838"/>
                </a:lnTo>
                <a:lnTo>
                  <a:pt x="354889" y="39983"/>
                </a:lnTo>
                <a:lnTo>
                  <a:pt x="359108" y="43128"/>
                </a:lnTo>
                <a:lnTo>
                  <a:pt x="363327" y="46272"/>
                </a:lnTo>
                <a:lnTo>
                  <a:pt x="367547" y="49417"/>
                </a:lnTo>
                <a:lnTo>
                  <a:pt x="371766" y="53011"/>
                </a:lnTo>
                <a:lnTo>
                  <a:pt x="375985" y="56605"/>
                </a:lnTo>
                <a:lnTo>
                  <a:pt x="380204" y="60199"/>
                </a:lnTo>
                <a:lnTo>
                  <a:pt x="383955" y="63793"/>
                </a:lnTo>
                <a:lnTo>
                  <a:pt x="387705" y="67387"/>
                </a:lnTo>
                <a:lnTo>
                  <a:pt x="391456" y="71430"/>
                </a:lnTo>
                <a:lnTo>
                  <a:pt x="395206" y="75473"/>
                </a:lnTo>
                <a:lnTo>
                  <a:pt x="398488" y="79517"/>
                </a:lnTo>
                <a:lnTo>
                  <a:pt x="402238" y="83560"/>
                </a:lnTo>
                <a:lnTo>
                  <a:pt x="405520" y="87603"/>
                </a:lnTo>
                <a:lnTo>
                  <a:pt x="408802" y="92096"/>
                </a:lnTo>
                <a:lnTo>
                  <a:pt x="412083" y="96588"/>
                </a:lnTo>
                <a:lnTo>
                  <a:pt x="414896" y="101080"/>
                </a:lnTo>
                <a:lnTo>
                  <a:pt x="417709" y="105573"/>
                </a:lnTo>
                <a:lnTo>
                  <a:pt x="420522" y="110065"/>
                </a:lnTo>
                <a:lnTo>
                  <a:pt x="423335" y="114558"/>
                </a:lnTo>
                <a:lnTo>
                  <a:pt x="425679" y="119050"/>
                </a:lnTo>
                <a:lnTo>
                  <a:pt x="428023" y="123992"/>
                </a:lnTo>
                <a:lnTo>
                  <a:pt x="430367" y="128484"/>
                </a:lnTo>
                <a:lnTo>
                  <a:pt x="432711" y="133426"/>
                </a:lnTo>
                <a:lnTo>
                  <a:pt x="434586" y="138368"/>
                </a:lnTo>
                <a:lnTo>
                  <a:pt x="436462" y="142860"/>
                </a:lnTo>
                <a:lnTo>
                  <a:pt x="438337" y="147802"/>
                </a:lnTo>
                <a:lnTo>
                  <a:pt x="440212" y="153193"/>
                </a:lnTo>
                <a:lnTo>
                  <a:pt x="441618" y="158135"/>
                </a:lnTo>
                <a:lnTo>
                  <a:pt x="443025" y="163526"/>
                </a:lnTo>
                <a:lnTo>
                  <a:pt x="444431" y="168917"/>
                </a:lnTo>
                <a:lnTo>
                  <a:pt x="445838" y="174308"/>
                </a:lnTo>
                <a:lnTo>
                  <a:pt x="446775" y="179249"/>
                </a:lnTo>
                <a:lnTo>
                  <a:pt x="447713" y="184640"/>
                </a:lnTo>
                <a:lnTo>
                  <a:pt x="448182" y="190031"/>
                </a:lnTo>
                <a:lnTo>
                  <a:pt x="448651" y="195422"/>
                </a:lnTo>
                <a:lnTo>
                  <a:pt x="449119" y="200813"/>
                </a:lnTo>
                <a:lnTo>
                  <a:pt x="449588" y="206204"/>
                </a:lnTo>
                <a:lnTo>
                  <a:pt x="449588" y="212044"/>
                </a:lnTo>
                <a:lnTo>
                  <a:pt x="449588" y="217435"/>
                </a:lnTo>
                <a:lnTo>
                  <a:pt x="449588" y="223275"/>
                </a:lnTo>
                <a:lnTo>
                  <a:pt x="449588" y="228666"/>
                </a:lnTo>
                <a:lnTo>
                  <a:pt x="449119" y="234057"/>
                </a:lnTo>
                <a:lnTo>
                  <a:pt x="448651" y="239448"/>
                </a:lnTo>
                <a:lnTo>
                  <a:pt x="448182" y="244839"/>
                </a:lnTo>
                <a:lnTo>
                  <a:pt x="447713" y="250230"/>
                </a:lnTo>
                <a:lnTo>
                  <a:pt x="446307" y="256070"/>
                </a:lnTo>
                <a:lnTo>
                  <a:pt x="445369" y="261461"/>
                </a:lnTo>
                <a:lnTo>
                  <a:pt x="443962" y="266852"/>
                </a:lnTo>
                <a:lnTo>
                  <a:pt x="442556" y="272243"/>
                </a:lnTo>
                <a:lnTo>
                  <a:pt x="441150" y="277185"/>
                </a:lnTo>
                <a:lnTo>
                  <a:pt x="439743" y="282576"/>
                </a:lnTo>
                <a:lnTo>
                  <a:pt x="438337" y="287518"/>
                </a:lnTo>
                <a:lnTo>
                  <a:pt x="436462" y="292459"/>
                </a:lnTo>
                <a:lnTo>
                  <a:pt x="434586" y="297401"/>
                </a:lnTo>
                <a:lnTo>
                  <a:pt x="432711" y="302343"/>
                </a:lnTo>
                <a:lnTo>
                  <a:pt x="430367" y="307285"/>
                </a:lnTo>
                <a:lnTo>
                  <a:pt x="428023" y="311777"/>
                </a:lnTo>
                <a:lnTo>
                  <a:pt x="425679" y="316719"/>
                </a:lnTo>
                <a:lnTo>
                  <a:pt x="423335" y="321660"/>
                </a:lnTo>
                <a:lnTo>
                  <a:pt x="420522" y="326153"/>
                </a:lnTo>
                <a:lnTo>
                  <a:pt x="417709" y="330645"/>
                </a:lnTo>
                <a:lnTo>
                  <a:pt x="414896" y="335138"/>
                </a:lnTo>
                <a:lnTo>
                  <a:pt x="412083" y="339630"/>
                </a:lnTo>
                <a:lnTo>
                  <a:pt x="408802" y="344123"/>
                </a:lnTo>
                <a:lnTo>
                  <a:pt x="405520" y="348166"/>
                </a:lnTo>
                <a:lnTo>
                  <a:pt x="402238" y="352209"/>
                </a:lnTo>
                <a:lnTo>
                  <a:pt x="398488" y="356702"/>
                </a:lnTo>
                <a:lnTo>
                  <a:pt x="395206" y="360745"/>
                </a:lnTo>
                <a:lnTo>
                  <a:pt x="391456" y="364788"/>
                </a:lnTo>
                <a:lnTo>
                  <a:pt x="387705" y="368831"/>
                </a:lnTo>
                <a:lnTo>
                  <a:pt x="383955" y="372425"/>
                </a:lnTo>
                <a:lnTo>
                  <a:pt x="380204" y="376019"/>
                </a:lnTo>
                <a:lnTo>
                  <a:pt x="375985" y="379613"/>
                </a:lnTo>
                <a:lnTo>
                  <a:pt x="371766" y="383207"/>
                </a:lnTo>
                <a:lnTo>
                  <a:pt x="367547" y="386352"/>
                </a:lnTo>
                <a:lnTo>
                  <a:pt x="363327" y="389946"/>
                </a:lnTo>
                <a:lnTo>
                  <a:pt x="359108" y="393091"/>
                </a:lnTo>
                <a:lnTo>
                  <a:pt x="355358" y="395337"/>
                </a:lnTo>
                <a:lnTo>
                  <a:pt x="350669" y="398482"/>
                </a:lnTo>
                <a:lnTo>
                  <a:pt x="346450" y="401177"/>
                </a:lnTo>
                <a:lnTo>
                  <a:pt x="341762" y="404322"/>
                </a:lnTo>
                <a:lnTo>
                  <a:pt x="337074" y="407017"/>
                </a:lnTo>
                <a:lnTo>
                  <a:pt x="332386" y="409713"/>
                </a:lnTo>
                <a:lnTo>
                  <a:pt x="327229" y="411959"/>
                </a:lnTo>
                <a:lnTo>
                  <a:pt x="322541" y="414205"/>
                </a:lnTo>
                <a:lnTo>
                  <a:pt x="317853" y="416451"/>
                </a:lnTo>
                <a:lnTo>
                  <a:pt x="312696" y="418698"/>
                </a:lnTo>
                <a:lnTo>
                  <a:pt x="307539" y="420944"/>
                </a:lnTo>
                <a:lnTo>
                  <a:pt x="302382" y="422741"/>
                </a:lnTo>
                <a:lnTo>
                  <a:pt x="297225" y="424538"/>
                </a:lnTo>
                <a:lnTo>
                  <a:pt x="292068" y="426335"/>
                </a:lnTo>
                <a:lnTo>
                  <a:pt x="286911" y="428132"/>
                </a:lnTo>
                <a:lnTo>
                  <a:pt x="281286" y="429030"/>
                </a:lnTo>
                <a:lnTo>
                  <a:pt x="276129" y="429929"/>
                </a:lnTo>
                <a:lnTo>
                  <a:pt x="270503" y="431277"/>
                </a:lnTo>
                <a:lnTo>
                  <a:pt x="264877" y="432175"/>
                </a:lnTo>
                <a:lnTo>
                  <a:pt x="259252" y="433074"/>
                </a:lnTo>
                <a:lnTo>
                  <a:pt x="253626" y="433523"/>
                </a:lnTo>
                <a:lnTo>
                  <a:pt x="248000" y="434421"/>
                </a:lnTo>
                <a:lnTo>
                  <a:pt x="242374" y="434871"/>
                </a:lnTo>
                <a:lnTo>
                  <a:pt x="236749" y="435769"/>
                </a:lnTo>
                <a:lnTo>
                  <a:pt x="231123" y="435769"/>
                </a:lnTo>
                <a:lnTo>
                  <a:pt x="225029" y="435769"/>
                </a:lnTo>
                <a:close/>
                <a:moveTo>
                  <a:pt x="225029" y="20216"/>
                </a:moveTo>
                <a:lnTo>
                  <a:pt x="219872" y="20665"/>
                </a:lnTo>
                <a:lnTo>
                  <a:pt x="214715" y="20665"/>
                </a:lnTo>
                <a:lnTo>
                  <a:pt x="209558" y="21115"/>
                </a:lnTo>
                <a:lnTo>
                  <a:pt x="204870" y="21564"/>
                </a:lnTo>
                <a:lnTo>
                  <a:pt x="199713" y="22013"/>
                </a:lnTo>
                <a:lnTo>
                  <a:pt x="194087" y="22462"/>
                </a:lnTo>
                <a:lnTo>
                  <a:pt x="188930" y="23361"/>
                </a:lnTo>
                <a:lnTo>
                  <a:pt x="183773" y="24259"/>
                </a:lnTo>
                <a:lnTo>
                  <a:pt x="178616" y="25158"/>
                </a:lnTo>
                <a:lnTo>
                  <a:pt x="173928" y="26506"/>
                </a:lnTo>
                <a:lnTo>
                  <a:pt x="168771" y="27853"/>
                </a:lnTo>
                <a:lnTo>
                  <a:pt x="164083" y="29201"/>
                </a:lnTo>
                <a:lnTo>
                  <a:pt x="159395" y="30998"/>
                </a:lnTo>
                <a:lnTo>
                  <a:pt x="154707" y="32795"/>
                </a:lnTo>
                <a:lnTo>
                  <a:pt x="150019" y="34592"/>
                </a:lnTo>
                <a:lnTo>
                  <a:pt x="145800" y="35940"/>
                </a:lnTo>
                <a:lnTo>
                  <a:pt x="141112" y="37737"/>
                </a:lnTo>
                <a:lnTo>
                  <a:pt x="136892" y="39983"/>
                </a:lnTo>
                <a:lnTo>
                  <a:pt x="132673" y="42229"/>
                </a:lnTo>
                <a:lnTo>
                  <a:pt x="128454" y="44475"/>
                </a:lnTo>
                <a:lnTo>
                  <a:pt x="124234" y="46722"/>
                </a:lnTo>
                <a:lnTo>
                  <a:pt x="120015" y="48968"/>
                </a:lnTo>
                <a:lnTo>
                  <a:pt x="115796" y="51663"/>
                </a:lnTo>
                <a:lnTo>
                  <a:pt x="111577" y="53910"/>
                </a:lnTo>
                <a:lnTo>
                  <a:pt x="107357" y="56605"/>
                </a:lnTo>
                <a:lnTo>
                  <a:pt x="103138" y="59301"/>
                </a:lnTo>
                <a:lnTo>
                  <a:pt x="99388" y="62445"/>
                </a:lnTo>
                <a:lnTo>
                  <a:pt x="95637" y="65141"/>
                </a:lnTo>
                <a:lnTo>
                  <a:pt x="91887" y="68285"/>
                </a:lnTo>
                <a:lnTo>
                  <a:pt x="88605" y="71879"/>
                </a:lnTo>
                <a:lnTo>
                  <a:pt x="84855" y="75024"/>
                </a:lnTo>
                <a:lnTo>
                  <a:pt x="81573" y="78169"/>
                </a:lnTo>
                <a:lnTo>
                  <a:pt x="77822" y="81763"/>
                </a:lnTo>
                <a:lnTo>
                  <a:pt x="74541" y="85357"/>
                </a:lnTo>
                <a:lnTo>
                  <a:pt x="71259" y="88951"/>
                </a:lnTo>
                <a:lnTo>
                  <a:pt x="67977" y="92545"/>
                </a:lnTo>
                <a:lnTo>
                  <a:pt x="64696" y="96139"/>
                </a:lnTo>
                <a:lnTo>
                  <a:pt x="61883" y="99733"/>
                </a:lnTo>
                <a:lnTo>
                  <a:pt x="59070" y="103327"/>
                </a:lnTo>
                <a:lnTo>
                  <a:pt x="56257" y="107370"/>
                </a:lnTo>
                <a:lnTo>
                  <a:pt x="53444" y="111413"/>
                </a:lnTo>
                <a:lnTo>
                  <a:pt x="51100" y="115906"/>
                </a:lnTo>
                <a:lnTo>
                  <a:pt x="48756" y="119949"/>
                </a:lnTo>
                <a:lnTo>
                  <a:pt x="46412" y="123992"/>
                </a:lnTo>
                <a:lnTo>
                  <a:pt x="44068" y="128035"/>
                </a:lnTo>
                <a:lnTo>
                  <a:pt x="42193" y="132528"/>
                </a:lnTo>
                <a:lnTo>
                  <a:pt x="40318" y="137020"/>
                </a:lnTo>
                <a:lnTo>
                  <a:pt x="37974" y="141513"/>
                </a:lnTo>
                <a:lnTo>
                  <a:pt x="36098" y="146005"/>
                </a:lnTo>
                <a:lnTo>
                  <a:pt x="34692" y="150498"/>
                </a:lnTo>
                <a:lnTo>
                  <a:pt x="32817" y="154990"/>
                </a:lnTo>
                <a:lnTo>
                  <a:pt x="30941" y="159482"/>
                </a:lnTo>
                <a:lnTo>
                  <a:pt x="29535" y="163975"/>
                </a:lnTo>
                <a:lnTo>
                  <a:pt x="28129" y="168467"/>
                </a:lnTo>
                <a:lnTo>
                  <a:pt x="27191" y="172960"/>
                </a:lnTo>
                <a:lnTo>
                  <a:pt x="25785" y="177902"/>
                </a:lnTo>
                <a:lnTo>
                  <a:pt x="24847" y="182394"/>
                </a:lnTo>
                <a:lnTo>
                  <a:pt x="23909" y="187336"/>
                </a:lnTo>
                <a:lnTo>
                  <a:pt x="23440" y="192727"/>
                </a:lnTo>
                <a:lnTo>
                  <a:pt x="22503" y="197668"/>
                </a:lnTo>
                <a:lnTo>
                  <a:pt x="22503" y="202161"/>
                </a:lnTo>
                <a:lnTo>
                  <a:pt x="22503" y="207103"/>
                </a:lnTo>
                <a:lnTo>
                  <a:pt x="22503" y="212044"/>
                </a:lnTo>
                <a:lnTo>
                  <a:pt x="22503" y="216986"/>
                </a:lnTo>
                <a:lnTo>
                  <a:pt x="22503" y="221928"/>
                </a:lnTo>
                <a:lnTo>
                  <a:pt x="22503" y="226869"/>
                </a:lnTo>
                <a:lnTo>
                  <a:pt x="22503" y="231811"/>
                </a:lnTo>
                <a:lnTo>
                  <a:pt x="22972" y="236753"/>
                </a:lnTo>
                <a:lnTo>
                  <a:pt x="23440" y="242593"/>
                </a:lnTo>
                <a:lnTo>
                  <a:pt x="23909" y="247535"/>
                </a:lnTo>
                <a:lnTo>
                  <a:pt x="24847" y="252476"/>
                </a:lnTo>
                <a:lnTo>
                  <a:pt x="25785" y="256969"/>
                </a:lnTo>
                <a:lnTo>
                  <a:pt x="27191" y="261911"/>
                </a:lnTo>
                <a:lnTo>
                  <a:pt x="28129" y="266852"/>
                </a:lnTo>
                <a:lnTo>
                  <a:pt x="29535" y="271345"/>
                </a:lnTo>
                <a:lnTo>
                  <a:pt x="30941" y="276287"/>
                </a:lnTo>
                <a:lnTo>
                  <a:pt x="32817" y="280779"/>
                </a:lnTo>
                <a:lnTo>
                  <a:pt x="34692" y="285271"/>
                </a:lnTo>
                <a:lnTo>
                  <a:pt x="36098" y="289764"/>
                </a:lnTo>
                <a:lnTo>
                  <a:pt x="37974" y="294256"/>
                </a:lnTo>
                <a:lnTo>
                  <a:pt x="40318" y="298749"/>
                </a:lnTo>
                <a:lnTo>
                  <a:pt x="42193" y="303241"/>
                </a:lnTo>
                <a:lnTo>
                  <a:pt x="44068" y="307285"/>
                </a:lnTo>
                <a:lnTo>
                  <a:pt x="46412" y="311777"/>
                </a:lnTo>
                <a:lnTo>
                  <a:pt x="48756" y="315820"/>
                </a:lnTo>
                <a:lnTo>
                  <a:pt x="51100" y="320313"/>
                </a:lnTo>
                <a:lnTo>
                  <a:pt x="53444" y="324356"/>
                </a:lnTo>
                <a:lnTo>
                  <a:pt x="56257" y="328399"/>
                </a:lnTo>
                <a:lnTo>
                  <a:pt x="59070" y="332442"/>
                </a:lnTo>
                <a:lnTo>
                  <a:pt x="61883" y="336036"/>
                </a:lnTo>
                <a:lnTo>
                  <a:pt x="64696" y="340080"/>
                </a:lnTo>
                <a:lnTo>
                  <a:pt x="67977" y="343674"/>
                </a:lnTo>
                <a:lnTo>
                  <a:pt x="71259" y="347267"/>
                </a:lnTo>
                <a:lnTo>
                  <a:pt x="74541" y="350861"/>
                </a:lnTo>
                <a:lnTo>
                  <a:pt x="77822" y="354455"/>
                </a:lnTo>
                <a:lnTo>
                  <a:pt x="81573" y="358049"/>
                </a:lnTo>
                <a:lnTo>
                  <a:pt x="84855" y="361194"/>
                </a:lnTo>
                <a:lnTo>
                  <a:pt x="88605" y="364339"/>
                </a:lnTo>
                <a:lnTo>
                  <a:pt x="92355" y="367484"/>
                </a:lnTo>
                <a:lnTo>
                  <a:pt x="96106" y="370628"/>
                </a:lnTo>
                <a:lnTo>
                  <a:pt x="99856" y="373773"/>
                </a:lnTo>
                <a:lnTo>
                  <a:pt x="103607" y="376469"/>
                </a:lnTo>
                <a:lnTo>
                  <a:pt x="107826" y="379164"/>
                </a:lnTo>
                <a:lnTo>
                  <a:pt x="112045" y="381859"/>
                </a:lnTo>
                <a:lnTo>
                  <a:pt x="116265" y="384555"/>
                </a:lnTo>
                <a:lnTo>
                  <a:pt x="120484" y="386801"/>
                </a:lnTo>
                <a:lnTo>
                  <a:pt x="124703" y="389047"/>
                </a:lnTo>
                <a:lnTo>
                  <a:pt x="128923" y="391294"/>
                </a:lnTo>
                <a:lnTo>
                  <a:pt x="133142" y="393540"/>
                </a:lnTo>
                <a:lnTo>
                  <a:pt x="137361" y="395786"/>
                </a:lnTo>
                <a:lnTo>
                  <a:pt x="141580" y="398032"/>
                </a:lnTo>
                <a:lnTo>
                  <a:pt x="146269" y="399829"/>
                </a:lnTo>
                <a:lnTo>
                  <a:pt x="150488" y="401626"/>
                </a:lnTo>
                <a:lnTo>
                  <a:pt x="155176" y="403423"/>
                </a:lnTo>
                <a:lnTo>
                  <a:pt x="159864" y="405220"/>
                </a:lnTo>
                <a:lnTo>
                  <a:pt x="164552" y="406568"/>
                </a:lnTo>
                <a:lnTo>
                  <a:pt x="169240" y="407916"/>
                </a:lnTo>
                <a:lnTo>
                  <a:pt x="174397" y="409263"/>
                </a:lnTo>
                <a:lnTo>
                  <a:pt x="179085" y="410611"/>
                </a:lnTo>
                <a:lnTo>
                  <a:pt x="184242" y="411959"/>
                </a:lnTo>
                <a:lnTo>
                  <a:pt x="189399" y="412857"/>
                </a:lnTo>
                <a:lnTo>
                  <a:pt x="194556" y="413307"/>
                </a:lnTo>
                <a:lnTo>
                  <a:pt x="199713" y="414205"/>
                </a:lnTo>
                <a:lnTo>
                  <a:pt x="204870" y="414654"/>
                </a:lnTo>
                <a:lnTo>
                  <a:pt x="209558" y="415104"/>
                </a:lnTo>
                <a:lnTo>
                  <a:pt x="214715" y="415553"/>
                </a:lnTo>
                <a:lnTo>
                  <a:pt x="219872" y="415553"/>
                </a:lnTo>
                <a:lnTo>
                  <a:pt x="225029" y="415553"/>
                </a:lnTo>
                <a:lnTo>
                  <a:pt x="230654" y="415553"/>
                </a:lnTo>
                <a:lnTo>
                  <a:pt x="235811" y="415553"/>
                </a:lnTo>
                <a:lnTo>
                  <a:pt x="240968" y="415104"/>
                </a:lnTo>
                <a:lnTo>
                  <a:pt x="246125" y="414654"/>
                </a:lnTo>
                <a:lnTo>
                  <a:pt x="251282" y="414205"/>
                </a:lnTo>
                <a:lnTo>
                  <a:pt x="256439" y="413307"/>
                </a:lnTo>
                <a:lnTo>
                  <a:pt x="261596" y="412857"/>
                </a:lnTo>
                <a:lnTo>
                  <a:pt x="266284" y="411959"/>
                </a:lnTo>
                <a:lnTo>
                  <a:pt x="271441" y="410611"/>
                </a:lnTo>
                <a:lnTo>
                  <a:pt x="276598" y="409263"/>
                </a:lnTo>
                <a:lnTo>
                  <a:pt x="281286" y="407916"/>
                </a:lnTo>
                <a:lnTo>
                  <a:pt x="285974" y="406568"/>
                </a:lnTo>
                <a:lnTo>
                  <a:pt x="290662" y="405220"/>
                </a:lnTo>
                <a:lnTo>
                  <a:pt x="295350" y="403423"/>
                </a:lnTo>
                <a:lnTo>
                  <a:pt x="299569" y="401626"/>
                </a:lnTo>
                <a:lnTo>
                  <a:pt x="304257" y="399829"/>
                </a:lnTo>
                <a:lnTo>
                  <a:pt x="308477" y="398032"/>
                </a:lnTo>
                <a:lnTo>
                  <a:pt x="312696" y="395786"/>
                </a:lnTo>
                <a:lnTo>
                  <a:pt x="317384" y="393540"/>
                </a:lnTo>
                <a:lnTo>
                  <a:pt x="321603" y="391294"/>
                </a:lnTo>
                <a:lnTo>
                  <a:pt x="325823" y="389047"/>
                </a:lnTo>
                <a:lnTo>
                  <a:pt x="330042" y="386801"/>
                </a:lnTo>
                <a:lnTo>
                  <a:pt x="334261" y="384555"/>
                </a:lnTo>
                <a:lnTo>
                  <a:pt x="338480" y="381859"/>
                </a:lnTo>
                <a:lnTo>
                  <a:pt x="342700" y="379164"/>
                </a:lnTo>
                <a:lnTo>
                  <a:pt x="346919" y="376469"/>
                </a:lnTo>
                <a:lnTo>
                  <a:pt x="350669" y="373773"/>
                </a:lnTo>
                <a:lnTo>
                  <a:pt x="354420" y="370628"/>
                </a:lnTo>
                <a:lnTo>
                  <a:pt x="358170" y="367484"/>
                </a:lnTo>
                <a:lnTo>
                  <a:pt x="361921" y="364339"/>
                </a:lnTo>
                <a:lnTo>
                  <a:pt x="365671" y="361194"/>
                </a:lnTo>
                <a:lnTo>
                  <a:pt x="369422" y="358049"/>
                </a:lnTo>
                <a:lnTo>
                  <a:pt x="373172" y="354455"/>
                </a:lnTo>
                <a:lnTo>
                  <a:pt x="376454" y="350861"/>
                </a:lnTo>
                <a:lnTo>
                  <a:pt x="379736" y="347267"/>
                </a:lnTo>
                <a:lnTo>
                  <a:pt x="383017" y="343674"/>
                </a:lnTo>
                <a:lnTo>
                  <a:pt x="386299" y="340080"/>
                </a:lnTo>
                <a:lnTo>
                  <a:pt x="389112" y="336036"/>
                </a:lnTo>
                <a:lnTo>
                  <a:pt x="391925" y="332442"/>
                </a:lnTo>
                <a:lnTo>
                  <a:pt x="394737" y="328399"/>
                </a:lnTo>
                <a:lnTo>
                  <a:pt x="397550" y="324356"/>
                </a:lnTo>
                <a:lnTo>
                  <a:pt x="399894" y="320313"/>
                </a:lnTo>
                <a:lnTo>
                  <a:pt x="402238" y="315820"/>
                </a:lnTo>
                <a:lnTo>
                  <a:pt x="404583" y="311777"/>
                </a:lnTo>
                <a:lnTo>
                  <a:pt x="406927" y="307285"/>
                </a:lnTo>
                <a:lnTo>
                  <a:pt x="408802" y="303241"/>
                </a:lnTo>
                <a:lnTo>
                  <a:pt x="410677" y="298749"/>
                </a:lnTo>
                <a:lnTo>
                  <a:pt x="412552" y="294256"/>
                </a:lnTo>
                <a:lnTo>
                  <a:pt x="414428" y="289764"/>
                </a:lnTo>
                <a:lnTo>
                  <a:pt x="416303" y="285271"/>
                </a:lnTo>
                <a:lnTo>
                  <a:pt x="418178" y="280779"/>
                </a:lnTo>
                <a:lnTo>
                  <a:pt x="420053" y="276287"/>
                </a:lnTo>
                <a:lnTo>
                  <a:pt x="421460" y="271345"/>
                </a:lnTo>
                <a:lnTo>
                  <a:pt x="422866" y="266852"/>
                </a:lnTo>
                <a:lnTo>
                  <a:pt x="424273" y="261911"/>
                </a:lnTo>
                <a:lnTo>
                  <a:pt x="425210" y="256969"/>
                </a:lnTo>
                <a:lnTo>
                  <a:pt x="426148" y="252476"/>
                </a:lnTo>
                <a:lnTo>
                  <a:pt x="426617" y="247535"/>
                </a:lnTo>
                <a:lnTo>
                  <a:pt x="426617" y="242593"/>
                </a:lnTo>
                <a:lnTo>
                  <a:pt x="427085" y="237651"/>
                </a:lnTo>
                <a:lnTo>
                  <a:pt x="427554" y="232710"/>
                </a:lnTo>
                <a:lnTo>
                  <a:pt x="427554" y="227768"/>
                </a:lnTo>
                <a:lnTo>
                  <a:pt x="427554" y="222826"/>
                </a:lnTo>
                <a:lnTo>
                  <a:pt x="427554" y="217885"/>
                </a:lnTo>
                <a:lnTo>
                  <a:pt x="427554" y="212943"/>
                </a:lnTo>
                <a:lnTo>
                  <a:pt x="427554" y="208001"/>
                </a:lnTo>
                <a:lnTo>
                  <a:pt x="427554" y="203059"/>
                </a:lnTo>
                <a:lnTo>
                  <a:pt x="427085" y="198118"/>
                </a:lnTo>
                <a:lnTo>
                  <a:pt x="426617" y="192727"/>
                </a:lnTo>
                <a:lnTo>
                  <a:pt x="425679" y="187785"/>
                </a:lnTo>
                <a:lnTo>
                  <a:pt x="425210" y="182843"/>
                </a:lnTo>
                <a:lnTo>
                  <a:pt x="424273" y="178351"/>
                </a:lnTo>
                <a:lnTo>
                  <a:pt x="423335" y="173409"/>
                </a:lnTo>
                <a:lnTo>
                  <a:pt x="421928" y="168917"/>
                </a:lnTo>
                <a:lnTo>
                  <a:pt x="420522" y="163975"/>
                </a:lnTo>
                <a:lnTo>
                  <a:pt x="419116" y="159482"/>
                </a:lnTo>
                <a:lnTo>
                  <a:pt x="417240" y="154990"/>
                </a:lnTo>
                <a:lnTo>
                  <a:pt x="415365" y="150498"/>
                </a:lnTo>
                <a:lnTo>
                  <a:pt x="413490" y="146005"/>
                </a:lnTo>
                <a:lnTo>
                  <a:pt x="411615" y="141513"/>
                </a:lnTo>
                <a:lnTo>
                  <a:pt x="409739" y="137020"/>
                </a:lnTo>
                <a:lnTo>
                  <a:pt x="407864" y="132528"/>
                </a:lnTo>
                <a:lnTo>
                  <a:pt x="405989" y="128035"/>
                </a:lnTo>
                <a:lnTo>
                  <a:pt x="403645" y="123992"/>
                </a:lnTo>
                <a:lnTo>
                  <a:pt x="401301" y="119949"/>
                </a:lnTo>
                <a:lnTo>
                  <a:pt x="398957" y="115906"/>
                </a:lnTo>
                <a:lnTo>
                  <a:pt x="396613" y="111413"/>
                </a:lnTo>
                <a:lnTo>
                  <a:pt x="393800" y="107370"/>
                </a:lnTo>
                <a:lnTo>
                  <a:pt x="390987" y="103327"/>
                </a:lnTo>
                <a:lnTo>
                  <a:pt x="388174" y="99283"/>
                </a:lnTo>
                <a:lnTo>
                  <a:pt x="385361" y="95689"/>
                </a:lnTo>
                <a:lnTo>
                  <a:pt x="382080" y="92096"/>
                </a:lnTo>
                <a:lnTo>
                  <a:pt x="378798" y="88502"/>
                </a:lnTo>
                <a:lnTo>
                  <a:pt x="375516" y="84908"/>
                </a:lnTo>
                <a:lnTo>
                  <a:pt x="372235" y="81314"/>
                </a:lnTo>
                <a:lnTo>
                  <a:pt x="368484" y="77720"/>
                </a:lnTo>
                <a:lnTo>
                  <a:pt x="364734" y="74575"/>
                </a:lnTo>
                <a:lnTo>
                  <a:pt x="361452" y="71879"/>
                </a:lnTo>
                <a:lnTo>
                  <a:pt x="357702" y="68735"/>
                </a:lnTo>
                <a:lnTo>
                  <a:pt x="353951" y="65590"/>
                </a:lnTo>
                <a:lnTo>
                  <a:pt x="350201" y="62894"/>
                </a:lnTo>
                <a:lnTo>
                  <a:pt x="346450" y="59750"/>
                </a:lnTo>
                <a:lnTo>
                  <a:pt x="342231" y="57054"/>
                </a:lnTo>
                <a:lnTo>
                  <a:pt x="338480" y="53910"/>
                </a:lnTo>
                <a:lnTo>
                  <a:pt x="334261" y="51663"/>
                </a:lnTo>
                <a:lnTo>
                  <a:pt x="330042" y="48968"/>
                </a:lnTo>
                <a:lnTo>
                  <a:pt x="325823" y="46722"/>
                </a:lnTo>
                <a:lnTo>
                  <a:pt x="321603" y="44475"/>
                </a:lnTo>
                <a:lnTo>
                  <a:pt x="317384" y="42229"/>
                </a:lnTo>
                <a:lnTo>
                  <a:pt x="312696" y="39983"/>
                </a:lnTo>
                <a:lnTo>
                  <a:pt x="308477" y="37737"/>
                </a:lnTo>
                <a:lnTo>
                  <a:pt x="304257" y="35940"/>
                </a:lnTo>
                <a:lnTo>
                  <a:pt x="299569" y="34143"/>
                </a:lnTo>
                <a:lnTo>
                  <a:pt x="295350" y="32346"/>
                </a:lnTo>
                <a:lnTo>
                  <a:pt x="290662" y="30549"/>
                </a:lnTo>
                <a:lnTo>
                  <a:pt x="285974" y="28752"/>
                </a:lnTo>
                <a:lnTo>
                  <a:pt x="281286" y="27404"/>
                </a:lnTo>
                <a:lnTo>
                  <a:pt x="276598" y="26056"/>
                </a:lnTo>
                <a:lnTo>
                  <a:pt x="271441" y="24709"/>
                </a:lnTo>
                <a:lnTo>
                  <a:pt x="266284" y="23810"/>
                </a:lnTo>
                <a:lnTo>
                  <a:pt x="261596" y="22912"/>
                </a:lnTo>
                <a:lnTo>
                  <a:pt x="255970" y="22462"/>
                </a:lnTo>
                <a:lnTo>
                  <a:pt x="250813" y="21564"/>
                </a:lnTo>
                <a:lnTo>
                  <a:pt x="245656" y="21115"/>
                </a:lnTo>
                <a:lnTo>
                  <a:pt x="240499" y="20665"/>
                </a:lnTo>
                <a:lnTo>
                  <a:pt x="235342" y="20216"/>
                </a:lnTo>
                <a:lnTo>
                  <a:pt x="230185" y="20216"/>
                </a:lnTo>
                <a:lnTo>
                  <a:pt x="225029" y="20216"/>
                </a:lnTo>
                <a:close/>
              </a:path>
            </a:pathLst>
          </a:custGeom>
          <a:solidFill>
            <a:schemeClr val="bg1"/>
          </a:solidFill>
          <a:ln w="4663" cap="flat">
            <a:noFill/>
            <a:prstDash val="solid"/>
            <a:miter/>
          </a:ln>
        </p:spPr>
        <p:txBody>
          <a:bodyPr rtlCol="0" anchor="ctr"/>
          <a:lstStyle/>
          <a:p>
            <a:pPr algn="ctr"/>
            <a:r>
              <a:rPr lang="fi-FI" sz="2400">
                <a:solidFill>
                  <a:schemeClr val="bg1"/>
                </a:solidFill>
                <a:latin typeface="KONE Information" panose="020B0603040000020003" pitchFamily="34" charset="-79"/>
                <a:cs typeface="KONE Information" panose="020B0603040000020003" pitchFamily="34" charset="-79"/>
              </a:rPr>
              <a:t>5</a:t>
            </a:r>
            <a:endParaRPr lang="fi-FI">
              <a:solidFill>
                <a:schemeClr val="bg1"/>
              </a:solidFill>
              <a:latin typeface="KONE Information" panose="020B0603040000020003" pitchFamily="34" charset="-79"/>
              <a:cs typeface="KONE Information" panose="020B0603040000020003" pitchFamily="34" charset="-79"/>
            </a:endParaRPr>
          </a:p>
        </p:txBody>
      </p:sp>
      <p:sp>
        <p:nvSpPr>
          <p:cNvPr id="73" name="Rectangle 72">
            <a:hlinkClick r:id="rId10" action="ppaction://hlinksldjump"/>
            <a:extLst>
              <a:ext uri="{FF2B5EF4-FFF2-40B4-BE49-F238E27FC236}">
                <a16:creationId xmlns:a16="http://schemas.microsoft.com/office/drawing/2014/main" id="{0A245420-F75B-48ED-8BF1-922A2AF13953}"/>
              </a:ext>
            </a:extLst>
          </p:cNvPr>
          <p:cNvSpPr/>
          <p:nvPr/>
        </p:nvSpPr>
        <p:spPr>
          <a:xfrm>
            <a:off x="9930722" y="4865941"/>
            <a:ext cx="2006338" cy="12394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lnSpc>
                <a:spcPct val="120000"/>
              </a:lnSpc>
              <a:defRPr/>
            </a:pPr>
            <a:r>
              <a:rPr lang="en-US">
                <a:ea typeface="+mn-lt"/>
                <a:cs typeface="+mn-lt"/>
              </a:rPr>
              <a:t>Create tailor-made experiences</a:t>
            </a:r>
          </a:p>
        </p:txBody>
      </p:sp>
    </p:spTree>
    <p:extLst>
      <p:ext uri="{BB962C8B-B14F-4D97-AF65-F5344CB8AC3E}">
        <p14:creationId xmlns:p14="http://schemas.microsoft.com/office/powerpoint/2010/main" val="421101828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15D30E2-EA4B-404C-846A-0E167396CDA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087648" y="0"/>
            <a:ext cx="6104351" cy="6858000"/>
          </a:xfrm>
          <a:prstGeom prst="rect">
            <a:avLst/>
          </a:prstGeom>
        </p:spPr>
      </p:pic>
      <p:sp>
        <p:nvSpPr>
          <p:cNvPr id="2" name="Date Placeholder 1">
            <a:extLst>
              <a:ext uri="{FF2B5EF4-FFF2-40B4-BE49-F238E27FC236}">
                <a16:creationId xmlns:a16="http://schemas.microsoft.com/office/drawing/2014/main" id="{1A9C5DE3-A82E-4A1C-91D4-888FA5D45290}"/>
              </a:ext>
            </a:extLst>
          </p:cNvPr>
          <p:cNvSpPr>
            <a:spLocks noGrp="1"/>
          </p:cNvSpPr>
          <p:nvPr>
            <p:ph type="dt" sz="half" idx="10"/>
          </p:nvPr>
        </p:nvSpPr>
        <p:spPr/>
        <p:txBody>
          <a:bodyPr/>
          <a:lstStyle/>
          <a:p>
            <a:fld id="{79E9087F-8D29-4365-A1D1-C2092CC6B701}" type="datetime3">
              <a:rPr lang="en-US" noProof="0" smtClean="0"/>
              <a:t>13 April 2022</a:t>
            </a:fld>
            <a:endParaRPr lang="en-US" noProof="0"/>
          </a:p>
        </p:txBody>
      </p:sp>
      <p:sp>
        <p:nvSpPr>
          <p:cNvPr id="3" name="Footer Placeholder 2">
            <a:extLst>
              <a:ext uri="{FF2B5EF4-FFF2-40B4-BE49-F238E27FC236}">
                <a16:creationId xmlns:a16="http://schemas.microsoft.com/office/drawing/2014/main" id="{ECF69EFF-57E5-49A4-AC02-C59A4C7E184A}"/>
              </a:ext>
            </a:extLst>
          </p:cNvPr>
          <p:cNvSpPr>
            <a:spLocks noGrp="1"/>
          </p:cNvSpPr>
          <p:nvPr>
            <p:ph type="ftr" sz="quarter" idx="11"/>
          </p:nvPr>
        </p:nvSpPr>
        <p:spPr/>
        <p:txBody>
          <a:bodyPr/>
          <a:lstStyle/>
          <a:p>
            <a:r>
              <a:rPr lang="en-US" noProof="0">
                <a:solidFill>
                  <a:schemeClr val="bg1"/>
                </a:solidFill>
              </a:rPr>
              <a:t>Confidential  |  © KONE Corporation</a:t>
            </a:r>
          </a:p>
        </p:txBody>
      </p:sp>
      <p:sp>
        <p:nvSpPr>
          <p:cNvPr id="4" name="Slide Number Placeholder 3">
            <a:extLst>
              <a:ext uri="{FF2B5EF4-FFF2-40B4-BE49-F238E27FC236}">
                <a16:creationId xmlns:a16="http://schemas.microsoft.com/office/drawing/2014/main" id="{B209A3C4-6D6A-4562-BE01-FC5A9F74A5A6}"/>
              </a:ext>
            </a:extLst>
          </p:cNvPr>
          <p:cNvSpPr>
            <a:spLocks noGrp="1"/>
          </p:cNvSpPr>
          <p:nvPr>
            <p:ph type="sldNum" sz="quarter" idx="12"/>
          </p:nvPr>
        </p:nvSpPr>
        <p:spPr/>
        <p:txBody>
          <a:bodyPr/>
          <a:lstStyle/>
          <a:p>
            <a:fld id="{604FC64F-66B6-486E-8EFE-9FD96A66D16B}" type="slidenum">
              <a:rPr lang="en-US" noProof="0" smtClean="0"/>
              <a:pPr/>
              <a:t>3</a:t>
            </a:fld>
            <a:endParaRPr lang="en-US" noProof="0"/>
          </a:p>
        </p:txBody>
      </p:sp>
      <p:sp>
        <p:nvSpPr>
          <p:cNvPr id="5" name="Content Placeholder 4">
            <a:extLst>
              <a:ext uri="{FF2B5EF4-FFF2-40B4-BE49-F238E27FC236}">
                <a16:creationId xmlns:a16="http://schemas.microsoft.com/office/drawing/2014/main" id="{0E0EA915-A505-4C2A-B6F1-BC2990945D02}"/>
              </a:ext>
            </a:extLst>
          </p:cNvPr>
          <p:cNvSpPr>
            <a:spLocks noGrp="1"/>
          </p:cNvSpPr>
          <p:nvPr>
            <p:ph sz="quarter" idx="13"/>
          </p:nvPr>
        </p:nvSpPr>
        <p:spPr>
          <a:xfrm>
            <a:off x="407988" y="2355282"/>
            <a:ext cx="5238210" cy="3766118"/>
          </a:xfrm>
        </p:spPr>
        <p:txBody>
          <a:bodyPr vert="horz" lIns="0" tIns="0" rIns="0" bIns="0" rtlCol="0" anchor="t">
            <a:noAutofit/>
          </a:bodyPr>
          <a:lstStyle/>
          <a:p>
            <a:pPr marL="0" indent="0">
              <a:lnSpc>
                <a:spcPct val="100000"/>
              </a:lnSpc>
              <a:spcBef>
                <a:spcPts val="1200"/>
              </a:spcBef>
              <a:buNone/>
            </a:pPr>
            <a:r>
              <a:rPr lang="en-US" sz="1600">
                <a:cs typeface="Arial"/>
              </a:rPr>
              <a:t>The KONE DX elevator class represents a revolution in smart elevator technology. A KONE DX elevator is</a:t>
            </a:r>
            <a:r>
              <a:rPr lang="en-US" sz="1600" b="1">
                <a:solidFill>
                  <a:schemeClr val="tx2"/>
                </a:solidFill>
                <a:cs typeface="Arial"/>
              </a:rPr>
              <a:t> digitally upgradeable,</a:t>
            </a:r>
            <a:r>
              <a:rPr lang="en-US" sz="1600">
                <a:cs typeface="Arial"/>
              </a:rPr>
              <a:t> utilizing built in connectivity to </a:t>
            </a:r>
            <a:r>
              <a:rPr lang="en-US" sz="1600" b="1">
                <a:solidFill>
                  <a:schemeClr val="tx2"/>
                </a:solidFill>
                <a:cs typeface="Arial"/>
              </a:rPr>
              <a:t>optimize functionality </a:t>
            </a:r>
            <a:r>
              <a:rPr lang="en-US" sz="1600">
                <a:cs typeface="Arial"/>
              </a:rPr>
              <a:t>and </a:t>
            </a:r>
            <a:r>
              <a:rPr lang="en-US" sz="1600" b="1">
                <a:solidFill>
                  <a:schemeClr val="tx2"/>
                </a:solidFill>
                <a:cs typeface="Arial"/>
              </a:rPr>
              <a:t>add long-term value </a:t>
            </a:r>
            <a:r>
              <a:rPr lang="en-US" sz="1600">
                <a:cs typeface="Arial"/>
              </a:rPr>
              <a:t>with a host of in-ride entertainment and information options that make life easier and </a:t>
            </a:r>
            <a:r>
              <a:rPr lang="en-US" sz="1600" b="1">
                <a:solidFill>
                  <a:schemeClr val="tx2"/>
                </a:solidFill>
                <a:cs typeface="Arial"/>
              </a:rPr>
              <a:t>improve user experience</a:t>
            </a:r>
            <a:r>
              <a:rPr lang="en-US" sz="1600">
                <a:cs typeface="Arial"/>
              </a:rPr>
              <a:t>.</a:t>
            </a:r>
          </a:p>
          <a:p>
            <a:pPr marL="0" indent="0">
              <a:lnSpc>
                <a:spcPct val="100000"/>
              </a:lnSpc>
              <a:spcBef>
                <a:spcPts val="1200"/>
              </a:spcBef>
              <a:buNone/>
            </a:pPr>
            <a:r>
              <a:rPr lang="en-US" sz="1600">
                <a:cs typeface="Arial"/>
              </a:rPr>
              <a:t>Our DX offering helps your elevator work harder for longer, with AI-powered predictive maintenance solutions that protect your investment and contribute to a healthier, happier building – now and in the future.</a:t>
            </a:r>
          </a:p>
          <a:p>
            <a:pPr marL="0" indent="0">
              <a:lnSpc>
                <a:spcPct val="100000"/>
              </a:lnSpc>
              <a:spcBef>
                <a:spcPts val="1200"/>
              </a:spcBef>
              <a:buNone/>
            </a:pPr>
            <a:r>
              <a:rPr lang="en-US" sz="1600">
                <a:cs typeface="Arial"/>
              </a:rPr>
              <a:t>KONE DX is a great investment for sustainability - it is </a:t>
            </a:r>
            <a:r>
              <a:rPr lang="en-US" sz="1600" b="1">
                <a:solidFill>
                  <a:schemeClr val="tx2"/>
                </a:solidFill>
                <a:cs typeface="Arial"/>
              </a:rPr>
              <a:t>energy-efficient, long-lasting and safe </a:t>
            </a:r>
            <a:r>
              <a:rPr lang="en-US" sz="1600">
                <a:cs typeface="Arial"/>
              </a:rPr>
              <a:t>and when modernized, up to 90% of the metals used can be recycled.</a:t>
            </a:r>
          </a:p>
          <a:p>
            <a:pPr marL="0" indent="0">
              <a:lnSpc>
                <a:spcPct val="100000"/>
              </a:lnSpc>
              <a:spcBef>
                <a:spcPts val="1200"/>
              </a:spcBef>
              <a:buNone/>
            </a:pPr>
            <a:endParaRPr lang="en-US" sz="1600">
              <a:cs typeface="Arial"/>
            </a:endParaRPr>
          </a:p>
        </p:txBody>
      </p:sp>
      <p:sp>
        <p:nvSpPr>
          <p:cNvPr id="6" name="Title 5">
            <a:extLst>
              <a:ext uri="{FF2B5EF4-FFF2-40B4-BE49-F238E27FC236}">
                <a16:creationId xmlns:a16="http://schemas.microsoft.com/office/drawing/2014/main" id="{5B651ECF-CA61-43C9-B8A5-F5EC7D586EBE}"/>
              </a:ext>
            </a:extLst>
          </p:cNvPr>
          <p:cNvSpPr>
            <a:spLocks noGrp="1"/>
          </p:cNvSpPr>
          <p:nvPr>
            <p:ph type="title"/>
          </p:nvPr>
        </p:nvSpPr>
        <p:spPr>
          <a:xfrm>
            <a:off x="407988" y="404812"/>
            <a:ext cx="4527267" cy="863601"/>
          </a:xfrm>
        </p:spPr>
        <p:txBody>
          <a:bodyPr/>
          <a:lstStyle/>
          <a:p>
            <a:r>
              <a:rPr lang="en-US">
                <a:cs typeface="Arial"/>
              </a:rPr>
              <a:t>KONE DX: A short introduction to your smart and sustainable elevator</a:t>
            </a:r>
          </a:p>
        </p:txBody>
      </p:sp>
      <p:grpSp>
        <p:nvGrpSpPr>
          <p:cNvPr id="10" name="Group 9">
            <a:extLst>
              <a:ext uri="{FF2B5EF4-FFF2-40B4-BE49-F238E27FC236}">
                <a16:creationId xmlns:a16="http://schemas.microsoft.com/office/drawing/2014/main" id="{F61DB673-FAF5-8F4D-BE5C-DC51985E4695}"/>
              </a:ext>
            </a:extLst>
          </p:cNvPr>
          <p:cNvGrpSpPr>
            <a:grpSpLocks noChangeAspect="1"/>
          </p:cNvGrpSpPr>
          <p:nvPr/>
        </p:nvGrpSpPr>
        <p:grpSpPr>
          <a:xfrm>
            <a:off x="11064013" y="404664"/>
            <a:ext cx="720000" cy="364398"/>
            <a:chOff x="3498850" y="2112963"/>
            <a:chExt cx="5197475" cy="2630487"/>
          </a:xfrm>
        </p:grpSpPr>
        <p:sp>
          <p:nvSpPr>
            <p:cNvPr id="11" name="Freeform 6">
              <a:extLst>
                <a:ext uri="{FF2B5EF4-FFF2-40B4-BE49-F238E27FC236}">
                  <a16:creationId xmlns:a16="http://schemas.microsoft.com/office/drawing/2014/main" id="{17D0A6AF-0189-6443-9DAE-08757B33F218}"/>
                </a:ext>
              </a:extLst>
            </p:cNvPr>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2" name="Freeform 7">
              <a:extLst>
                <a:ext uri="{FF2B5EF4-FFF2-40B4-BE49-F238E27FC236}">
                  <a16:creationId xmlns:a16="http://schemas.microsoft.com/office/drawing/2014/main" id="{AAC806EE-5015-964B-8BF1-BB88CA7D2E10}"/>
                </a:ext>
              </a:extLst>
            </p:cNvPr>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3" name="Freeform 9">
            <a:hlinkClick r:id="rId3" action="ppaction://hlinksldjump"/>
            <a:extLst>
              <a:ext uri="{FF2B5EF4-FFF2-40B4-BE49-F238E27FC236}">
                <a16:creationId xmlns:a16="http://schemas.microsoft.com/office/drawing/2014/main" id="{5D74A035-C6FA-4426-9886-45D026D38824}"/>
              </a:ext>
            </a:extLst>
          </p:cNvPr>
          <p:cNvSpPr>
            <a:spLocks noChangeAspect="1" noEditPoints="1"/>
          </p:cNvSpPr>
          <p:nvPr/>
        </p:nvSpPr>
        <p:spPr bwMode="auto">
          <a:xfrm rot="10800000" flipV="1">
            <a:off x="191181" y="90916"/>
            <a:ext cx="108000" cy="108000"/>
          </a:xfrm>
          <a:custGeom>
            <a:avLst/>
            <a:gdLst>
              <a:gd name="T0" fmla="*/ 1082 w 2142"/>
              <a:gd name="T1" fmla="*/ 1607 h 2142"/>
              <a:gd name="T2" fmla="*/ 990 w 2142"/>
              <a:gd name="T3" fmla="*/ 1578 h 2142"/>
              <a:gd name="T4" fmla="*/ 494 w 2142"/>
              <a:gd name="T5" fmla="*/ 1025 h 2142"/>
              <a:gd name="T6" fmla="*/ 999 w 2142"/>
              <a:gd name="T7" fmla="*/ 1002 h 2142"/>
              <a:gd name="T8" fmla="*/ 1060 w 2142"/>
              <a:gd name="T9" fmla="*/ 534 h 2142"/>
              <a:gd name="T10" fmla="*/ 1153 w 2142"/>
              <a:gd name="T11" fmla="*/ 564 h 2142"/>
              <a:gd name="T12" fmla="*/ 1666 w 2142"/>
              <a:gd name="T13" fmla="*/ 1064 h 2142"/>
              <a:gd name="T14" fmla="*/ 1641 w 2142"/>
              <a:gd name="T15" fmla="*/ 1124 h 2142"/>
              <a:gd name="T16" fmla="*/ 539 w 2142"/>
              <a:gd name="T17" fmla="*/ 1140 h 2142"/>
              <a:gd name="T18" fmla="*/ 488 w 2142"/>
              <a:gd name="T19" fmla="*/ 1109 h 2142"/>
              <a:gd name="T20" fmla="*/ 988 w 2142"/>
              <a:gd name="T21" fmla="*/ 2139 h 2142"/>
              <a:gd name="T22" fmla="*/ 728 w 2142"/>
              <a:gd name="T23" fmla="*/ 2086 h 2142"/>
              <a:gd name="T24" fmla="*/ 494 w 2142"/>
              <a:gd name="T25" fmla="*/ 1973 h 2142"/>
              <a:gd name="T26" fmla="*/ 296 w 2142"/>
              <a:gd name="T27" fmla="*/ 1810 h 2142"/>
              <a:gd name="T28" fmla="*/ 142 w 2142"/>
              <a:gd name="T29" fmla="*/ 1604 h 2142"/>
              <a:gd name="T30" fmla="*/ 41 w 2142"/>
              <a:gd name="T31" fmla="*/ 1364 h 2142"/>
              <a:gd name="T32" fmla="*/ 0 w 2142"/>
              <a:gd name="T33" fmla="*/ 1098 h 2142"/>
              <a:gd name="T34" fmla="*/ 27 w 2142"/>
              <a:gd name="T35" fmla="*/ 829 h 2142"/>
              <a:gd name="T36" fmla="*/ 117 w 2142"/>
              <a:gd name="T37" fmla="*/ 584 h 2142"/>
              <a:gd name="T38" fmla="*/ 261 w 2142"/>
              <a:gd name="T39" fmla="*/ 370 h 2142"/>
              <a:gd name="T40" fmla="*/ 452 w 2142"/>
              <a:gd name="T41" fmla="*/ 198 h 2142"/>
              <a:gd name="T42" fmla="*/ 679 w 2142"/>
              <a:gd name="T43" fmla="*/ 74 h 2142"/>
              <a:gd name="T44" fmla="*/ 936 w 2142"/>
              <a:gd name="T45" fmla="*/ 8 h 2142"/>
              <a:gd name="T46" fmla="*/ 1208 w 2142"/>
              <a:gd name="T47" fmla="*/ 8 h 2142"/>
              <a:gd name="T48" fmla="*/ 1463 w 2142"/>
              <a:gd name="T49" fmla="*/ 74 h 2142"/>
              <a:gd name="T50" fmla="*/ 1691 w 2142"/>
              <a:gd name="T51" fmla="*/ 198 h 2142"/>
              <a:gd name="T52" fmla="*/ 1881 w 2142"/>
              <a:gd name="T53" fmla="*/ 370 h 2142"/>
              <a:gd name="T54" fmla="*/ 2025 w 2142"/>
              <a:gd name="T55" fmla="*/ 584 h 2142"/>
              <a:gd name="T56" fmla="*/ 2115 w 2142"/>
              <a:gd name="T57" fmla="*/ 829 h 2142"/>
              <a:gd name="T58" fmla="*/ 2142 w 2142"/>
              <a:gd name="T59" fmla="*/ 1098 h 2142"/>
              <a:gd name="T60" fmla="*/ 2101 w 2142"/>
              <a:gd name="T61" fmla="*/ 1364 h 2142"/>
              <a:gd name="T62" fmla="*/ 2000 w 2142"/>
              <a:gd name="T63" fmla="*/ 1604 h 2142"/>
              <a:gd name="T64" fmla="*/ 1846 w 2142"/>
              <a:gd name="T65" fmla="*/ 1810 h 2142"/>
              <a:gd name="T66" fmla="*/ 1648 w 2142"/>
              <a:gd name="T67" fmla="*/ 1973 h 2142"/>
              <a:gd name="T68" fmla="*/ 1414 w 2142"/>
              <a:gd name="T69" fmla="*/ 2086 h 2142"/>
              <a:gd name="T70" fmla="*/ 1154 w 2142"/>
              <a:gd name="T71" fmla="*/ 2139 h 2142"/>
              <a:gd name="T72" fmla="*/ 924 w 2142"/>
              <a:gd name="T73" fmla="*/ 113 h 2142"/>
              <a:gd name="T74" fmla="*/ 695 w 2142"/>
              <a:gd name="T75" fmla="*/ 179 h 2142"/>
              <a:gd name="T76" fmla="*/ 492 w 2142"/>
              <a:gd name="T77" fmla="*/ 296 h 2142"/>
              <a:gd name="T78" fmla="*/ 324 w 2142"/>
              <a:gd name="T79" fmla="*/ 456 h 2142"/>
              <a:gd name="T80" fmla="*/ 200 w 2142"/>
              <a:gd name="T81" fmla="*/ 652 h 2142"/>
              <a:gd name="T82" fmla="*/ 123 w 2142"/>
              <a:gd name="T83" fmla="*/ 876 h 2142"/>
              <a:gd name="T84" fmla="*/ 105 w 2142"/>
              <a:gd name="T85" fmla="*/ 1121 h 2142"/>
              <a:gd name="T86" fmla="*/ 147 w 2142"/>
              <a:gd name="T87" fmla="*/ 1358 h 2142"/>
              <a:gd name="T88" fmla="*/ 243 w 2142"/>
              <a:gd name="T89" fmla="*/ 1572 h 2142"/>
              <a:gd name="T90" fmla="*/ 388 w 2142"/>
              <a:gd name="T91" fmla="*/ 1755 h 2142"/>
              <a:gd name="T92" fmla="*/ 570 w 2142"/>
              <a:gd name="T93" fmla="*/ 1899 h 2142"/>
              <a:gd name="T94" fmla="*/ 784 w 2142"/>
              <a:gd name="T95" fmla="*/ 1996 h 2142"/>
              <a:gd name="T96" fmla="*/ 1021 w 2142"/>
              <a:gd name="T97" fmla="*/ 2037 h 2142"/>
              <a:gd name="T98" fmla="*/ 1266 w 2142"/>
              <a:gd name="T99" fmla="*/ 2019 h 2142"/>
              <a:gd name="T100" fmla="*/ 1490 w 2142"/>
              <a:gd name="T101" fmla="*/ 1943 h 2142"/>
              <a:gd name="T102" fmla="*/ 1686 w 2142"/>
              <a:gd name="T103" fmla="*/ 1818 h 2142"/>
              <a:gd name="T104" fmla="*/ 1846 w 2142"/>
              <a:gd name="T105" fmla="*/ 1650 h 2142"/>
              <a:gd name="T106" fmla="*/ 1963 w 2142"/>
              <a:gd name="T107" fmla="*/ 1447 h 2142"/>
              <a:gd name="T108" fmla="*/ 2028 w 2142"/>
              <a:gd name="T109" fmla="*/ 1218 h 2142"/>
              <a:gd name="T110" fmla="*/ 2034 w 2142"/>
              <a:gd name="T111" fmla="*/ 972 h 2142"/>
              <a:gd name="T112" fmla="*/ 1980 w 2142"/>
              <a:gd name="T113" fmla="*/ 738 h 2142"/>
              <a:gd name="T114" fmla="*/ 1873 w 2142"/>
              <a:gd name="T115" fmla="*/ 530 h 2142"/>
              <a:gd name="T116" fmla="*/ 1721 w 2142"/>
              <a:gd name="T117" fmla="*/ 354 h 2142"/>
              <a:gd name="T118" fmla="*/ 1532 w 2142"/>
              <a:gd name="T119" fmla="*/ 219 h 2142"/>
              <a:gd name="T120" fmla="*/ 1313 w 2142"/>
              <a:gd name="T121" fmla="*/ 134 h 2142"/>
              <a:gd name="T122" fmla="*/ 1072 w 2142"/>
              <a:gd name="T123" fmla="*/ 103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2" h="2142">
                <a:moveTo>
                  <a:pt x="1372" y="1210"/>
                </a:moveTo>
                <a:lnTo>
                  <a:pt x="1565" y="1210"/>
                </a:lnTo>
                <a:lnTo>
                  <a:pt x="1153" y="1578"/>
                </a:lnTo>
                <a:lnTo>
                  <a:pt x="1144" y="1585"/>
                </a:lnTo>
                <a:lnTo>
                  <a:pt x="1135" y="1590"/>
                </a:lnTo>
                <a:lnTo>
                  <a:pt x="1125" y="1596"/>
                </a:lnTo>
                <a:lnTo>
                  <a:pt x="1114" y="1601"/>
                </a:lnTo>
                <a:lnTo>
                  <a:pt x="1104" y="1604"/>
                </a:lnTo>
                <a:lnTo>
                  <a:pt x="1093" y="1606"/>
                </a:lnTo>
                <a:lnTo>
                  <a:pt x="1082" y="1607"/>
                </a:lnTo>
                <a:lnTo>
                  <a:pt x="1072" y="1608"/>
                </a:lnTo>
                <a:lnTo>
                  <a:pt x="1060" y="1607"/>
                </a:lnTo>
                <a:lnTo>
                  <a:pt x="1049" y="1606"/>
                </a:lnTo>
                <a:lnTo>
                  <a:pt x="1039" y="1604"/>
                </a:lnTo>
                <a:lnTo>
                  <a:pt x="1033" y="1603"/>
                </a:lnTo>
                <a:lnTo>
                  <a:pt x="1028" y="1601"/>
                </a:lnTo>
                <a:lnTo>
                  <a:pt x="1018" y="1596"/>
                </a:lnTo>
                <a:lnTo>
                  <a:pt x="1009" y="1590"/>
                </a:lnTo>
                <a:lnTo>
                  <a:pt x="999" y="1585"/>
                </a:lnTo>
                <a:lnTo>
                  <a:pt x="990" y="1578"/>
                </a:lnTo>
                <a:lnTo>
                  <a:pt x="975" y="1564"/>
                </a:lnTo>
                <a:lnTo>
                  <a:pt x="1372" y="1210"/>
                </a:lnTo>
                <a:close/>
                <a:moveTo>
                  <a:pt x="476" y="1070"/>
                </a:moveTo>
                <a:lnTo>
                  <a:pt x="478" y="1064"/>
                </a:lnTo>
                <a:lnTo>
                  <a:pt x="479" y="1056"/>
                </a:lnTo>
                <a:lnTo>
                  <a:pt x="481" y="1049"/>
                </a:lnTo>
                <a:lnTo>
                  <a:pt x="484" y="1042"/>
                </a:lnTo>
                <a:lnTo>
                  <a:pt x="487" y="1035"/>
                </a:lnTo>
                <a:lnTo>
                  <a:pt x="491" y="1030"/>
                </a:lnTo>
                <a:lnTo>
                  <a:pt x="494" y="1025"/>
                </a:lnTo>
                <a:lnTo>
                  <a:pt x="499" y="1020"/>
                </a:lnTo>
                <a:lnTo>
                  <a:pt x="505" y="1016"/>
                </a:lnTo>
                <a:lnTo>
                  <a:pt x="509" y="1012"/>
                </a:lnTo>
                <a:lnTo>
                  <a:pt x="515" y="1008"/>
                </a:lnTo>
                <a:lnTo>
                  <a:pt x="520" y="1006"/>
                </a:lnTo>
                <a:lnTo>
                  <a:pt x="527" y="1004"/>
                </a:lnTo>
                <a:lnTo>
                  <a:pt x="533" y="1003"/>
                </a:lnTo>
                <a:lnTo>
                  <a:pt x="539" y="1002"/>
                </a:lnTo>
                <a:lnTo>
                  <a:pt x="546" y="1002"/>
                </a:lnTo>
                <a:lnTo>
                  <a:pt x="999" y="1002"/>
                </a:lnTo>
                <a:lnTo>
                  <a:pt x="1451" y="1002"/>
                </a:lnTo>
                <a:lnTo>
                  <a:pt x="975" y="577"/>
                </a:lnTo>
                <a:lnTo>
                  <a:pt x="990" y="564"/>
                </a:lnTo>
                <a:lnTo>
                  <a:pt x="999" y="557"/>
                </a:lnTo>
                <a:lnTo>
                  <a:pt x="1009" y="550"/>
                </a:lnTo>
                <a:lnTo>
                  <a:pt x="1018" y="546"/>
                </a:lnTo>
                <a:lnTo>
                  <a:pt x="1028" y="541"/>
                </a:lnTo>
                <a:lnTo>
                  <a:pt x="1039" y="538"/>
                </a:lnTo>
                <a:lnTo>
                  <a:pt x="1049" y="536"/>
                </a:lnTo>
                <a:lnTo>
                  <a:pt x="1060" y="534"/>
                </a:lnTo>
                <a:lnTo>
                  <a:pt x="1072" y="533"/>
                </a:lnTo>
                <a:lnTo>
                  <a:pt x="1082" y="534"/>
                </a:lnTo>
                <a:lnTo>
                  <a:pt x="1093" y="536"/>
                </a:lnTo>
                <a:lnTo>
                  <a:pt x="1104" y="538"/>
                </a:lnTo>
                <a:lnTo>
                  <a:pt x="1109" y="539"/>
                </a:lnTo>
                <a:lnTo>
                  <a:pt x="1114" y="541"/>
                </a:lnTo>
                <a:lnTo>
                  <a:pt x="1125" y="546"/>
                </a:lnTo>
                <a:lnTo>
                  <a:pt x="1135" y="550"/>
                </a:lnTo>
                <a:lnTo>
                  <a:pt x="1144" y="557"/>
                </a:lnTo>
                <a:lnTo>
                  <a:pt x="1153" y="564"/>
                </a:lnTo>
                <a:lnTo>
                  <a:pt x="1629" y="988"/>
                </a:lnTo>
                <a:lnTo>
                  <a:pt x="1637" y="996"/>
                </a:lnTo>
                <a:lnTo>
                  <a:pt x="1643" y="1004"/>
                </a:lnTo>
                <a:lnTo>
                  <a:pt x="1650" y="1013"/>
                </a:lnTo>
                <a:lnTo>
                  <a:pt x="1655" y="1023"/>
                </a:lnTo>
                <a:lnTo>
                  <a:pt x="1657" y="1028"/>
                </a:lnTo>
                <a:lnTo>
                  <a:pt x="1659" y="1032"/>
                </a:lnTo>
                <a:lnTo>
                  <a:pt x="1662" y="1042"/>
                </a:lnTo>
                <a:lnTo>
                  <a:pt x="1665" y="1053"/>
                </a:lnTo>
                <a:lnTo>
                  <a:pt x="1666" y="1064"/>
                </a:lnTo>
                <a:lnTo>
                  <a:pt x="1666" y="1071"/>
                </a:lnTo>
                <a:lnTo>
                  <a:pt x="1665" y="1080"/>
                </a:lnTo>
                <a:lnTo>
                  <a:pt x="1664" y="1087"/>
                </a:lnTo>
                <a:lnTo>
                  <a:pt x="1661" y="1095"/>
                </a:lnTo>
                <a:lnTo>
                  <a:pt x="1658" y="1102"/>
                </a:lnTo>
                <a:lnTo>
                  <a:pt x="1655" y="1109"/>
                </a:lnTo>
                <a:lnTo>
                  <a:pt x="1650" y="1114"/>
                </a:lnTo>
                <a:lnTo>
                  <a:pt x="1646" y="1120"/>
                </a:lnTo>
                <a:lnTo>
                  <a:pt x="1643" y="1122"/>
                </a:lnTo>
                <a:lnTo>
                  <a:pt x="1641" y="1124"/>
                </a:lnTo>
                <a:lnTo>
                  <a:pt x="1635" y="1129"/>
                </a:lnTo>
                <a:lnTo>
                  <a:pt x="1630" y="1132"/>
                </a:lnTo>
                <a:lnTo>
                  <a:pt x="1624" y="1136"/>
                </a:lnTo>
                <a:lnTo>
                  <a:pt x="1617" y="1138"/>
                </a:lnTo>
                <a:lnTo>
                  <a:pt x="1611" y="1139"/>
                </a:lnTo>
                <a:lnTo>
                  <a:pt x="1604" y="1140"/>
                </a:lnTo>
                <a:lnTo>
                  <a:pt x="1596" y="1141"/>
                </a:lnTo>
                <a:lnTo>
                  <a:pt x="1071" y="1141"/>
                </a:lnTo>
                <a:lnTo>
                  <a:pt x="546" y="1141"/>
                </a:lnTo>
                <a:lnTo>
                  <a:pt x="539" y="1140"/>
                </a:lnTo>
                <a:lnTo>
                  <a:pt x="533" y="1139"/>
                </a:lnTo>
                <a:lnTo>
                  <a:pt x="527" y="1138"/>
                </a:lnTo>
                <a:lnTo>
                  <a:pt x="520" y="1136"/>
                </a:lnTo>
                <a:lnTo>
                  <a:pt x="515" y="1133"/>
                </a:lnTo>
                <a:lnTo>
                  <a:pt x="509" y="1130"/>
                </a:lnTo>
                <a:lnTo>
                  <a:pt x="505" y="1127"/>
                </a:lnTo>
                <a:lnTo>
                  <a:pt x="499" y="1122"/>
                </a:lnTo>
                <a:lnTo>
                  <a:pt x="494" y="1118"/>
                </a:lnTo>
                <a:lnTo>
                  <a:pt x="491" y="1113"/>
                </a:lnTo>
                <a:lnTo>
                  <a:pt x="488" y="1109"/>
                </a:lnTo>
                <a:lnTo>
                  <a:pt x="484" y="1103"/>
                </a:lnTo>
                <a:lnTo>
                  <a:pt x="481" y="1097"/>
                </a:lnTo>
                <a:lnTo>
                  <a:pt x="480" y="1091"/>
                </a:lnTo>
                <a:lnTo>
                  <a:pt x="478" y="1085"/>
                </a:lnTo>
                <a:lnTo>
                  <a:pt x="476" y="1078"/>
                </a:lnTo>
                <a:lnTo>
                  <a:pt x="476" y="1070"/>
                </a:lnTo>
                <a:close/>
                <a:moveTo>
                  <a:pt x="1072" y="2142"/>
                </a:moveTo>
                <a:lnTo>
                  <a:pt x="1044" y="2142"/>
                </a:lnTo>
                <a:lnTo>
                  <a:pt x="1017" y="2141"/>
                </a:lnTo>
                <a:lnTo>
                  <a:pt x="988" y="2139"/>
                </a:lnTo>
                <a:lnTo>
                  <a:pt x="961" y="2136"/>
                </a:lnTo>
                <a:lnTo>
                  <a:pt x="936" y="2133"/>
                </a:lnTo>
                <a:lnTo>
                  <a:pt x="909" y="2130"/>
                </a:lnTo>
                <a:lnTo>
                  <a:pt x="882" y="2125"/>
                </a:lnTo>
                <a:lnTo>
                  <a:pt x="856" y="2121"/>
                </a:lnTo>
                <a:lnTo>
                  <a:pt x="830" y="2115"/>
                </a:lnTo>
                <a:lnTo>
                  <a:pt x="804" y="2108"/>
                </a:lnTo>
                <a:lnTo>
                  <a:pt x="778" y="2101"/>
                </a:lnTo>
                <a:lnTo>
                  <a:pt x="753" y="2094"/>
                </a:lnTo>
                <a:lnTo>
                  <a:pt x="728" y="2086"/>
                </a:lnTo>
                <a:lnTo>
                  <a:pt x="704" y="2077"/>
                </a:lnTo>
                <a:lnTo>
                  <a:pt x="679" y="2068"/>
                </a:lnTo>
                <a:lnTo>
                  <a:pt x="654" y="2058"/>
                </a:lnTo>
                <a:lnTo>
                  <a:pt x="631" y="2047"/>
                </a:lnTo>
                <a:lnTo>
                  <a:pt x="607" y="2036"/>
                </a:lnTo>
                <a:lnTo>
                  <a:pt x="584" y="2025"/>
                </a:lnTo>
                <a:lnTo>
                  <a:pt x="561" y="2013"/>
                </a:lnTo>
                <a:lnTo>
                  <a:pt x="538" y="2000"/>
                </a:lnTo>
                <a:lnTo>
                  <a:pt x="516" y="1987"/>
                </a:lnTo>
                <a:lnTo>
                  <a:pt x="494" y="1973"/>
                </a:lnTo>
                <a:lnTo>
                  <a:pt x="473" y="1959"/>
                </a:lnTo>
                <a:lnTo>
                  <a:pt x="452" y="1944"/>
                </a:lnTo>
                <a:lnTo>
                  <a:pt x="431" y="1929"/>
                </a:lnTo>
                <a:lnTo>
                  <a:pt x="410" y="1913"/>
                </a:lnTo>
                <a:lnTo>
                  <a:pt x="391" y="1898"/>
                </a:lnTo>
                <a:lnTo>
                  <a:pt x="371" y="1881"/>
                </a:lnTo>
                <a:lnTo>
                  <a:pt x="351" y="1864"/>
                </a:lnTo>
                <a:lnTo>
                  <a:pt x="332" y="1846"/>
                </a:lnTo>
                <a:lnTo>
                  <a:pt x="314" y="1828"/>
                </a:lnTo>
                <a:lnTo>
                  <a:pt x="296" y="1810"/>
                </a:lnTo>
                <a:lnTo>
                  <a:pt x="278" y="1791"/>
                </a:lnTo>
                <a:lnTo>
                  <a:pt x="261" y="1772"/>
                </a:lnTo>
                <a:lnTo>
                  <a:pt x="245" y="1751"/>
                </a:lnTo>
                <a:lnTo>
                  <a:pt x="229" y="1732"/>
                </a:lnTo>
                <a:lnTo>
                  <a:pt x="213" y="1712"/>
                </a:lnTo>
                <a:lnTo>
                  <a:pt x="198" y="1691"/>
                </a:lnTo>
                <a:lnTo>
                  <a:pt x="184" y="1669"/>
                </a:lnTo>
                <a:lnTo>
                  <a:pt x="169" y="1648"/>
                </a:lnTo>
                <a:lnTo>
                  <a:pt x="156" y="1626"/>
                </a:lnTo>
                <a:lnTo>
                  <a:pt x="142" y="1604"/>
                </a:lnTo>
                <a:lnTo>
                  <a:pt x="130" y="1581"/>
                </a:lnTo>
                <a:lnTo>
                  <a:pt x="117" y="1558"/>
                </a:lnTo>
                <a:lnTo>
                  <a:pt x="106" y="1535"/>
                </a:lnTo>
                <a:lnTo>
                  <a:pt x="95" y="1512"/>
                </a:lnTo>
                <a:lnTo>
                  <a:pt x="85" y="1488"/>
                </a:lnTo>
                <a:lnTo>
                  <a:pt x="75" y="1463"/>
                </a:lnTo>
                <a:lnTo>
                  <a:pt x="66" y="1438"/>
                </a:lnTo>
                <a:lnTo>
                  <a:pt x="57" y="1414"/>
                </a:lnTo>
                <a:lnTo>
                  <a:pt x="49" y="1389"/>
                </a:lnTo>
                <a:lnTo>
                  <a:pt x="41" y="1364"/>
                </a:lnTo>
                <a:lnTo>
                  <a:pt x="34" y="1338"/>
                </a:lnTo>
                <a:lnTo>
                  <a:pt x="27" y="1312"/>
                </a:lnTo>
                <a:lnTo>
                  <a:pt x="22" y="1286"/>
                </a:lnTo>
                <a:lnTo>
                  <a:pt x="17" y="1261"/>
                </a:lnTo>
                <a:lnTo>
                  <a:pt x="13" y="1234"/>
                </a:lnTo>
                <a:lnTo>
                  <a:pt x="9" y="1208"/>
                </a:lnTo>
                <a:lnTo>
                  <a:pt x="6" y="1181"/>
                </a:lnTo>
                <a:lnTo>
                  <a:pt x="4" y="1154"/>
                </a:lnTo>
                <a:lnTo>
                  <a:pt x="2" y="1125"/>
                </a:lnTo>
                <a:lnTo>
                  <a:pt x="0" y="1098"/>
                </a:lnTo>
                <a:lnTo>
                  <a:pt x="0" y="1070"/>
                </a:lnTo>
                <a:lnTo>
                  <a:pt x="0" y="1043"/>
                </a:lnTo>
                <a:lnTo>
                  <a:pt x="2" y="1016"/>
                </a:lnTo>
                <a:lnTo>
                  <a:pt x="4" y="988"/>
                </a:lnTo>
                <a:lnTo>
                  <a:pt x="6" y="961"/>
                </a:lnTo>
                <a:lnTo>
                  <a:pt x="9" y="934"/>
                </a:lnTo>
                <a:lnTo>
                  <a:pt x="13" y="908"/>
                </a:lnTo>
                <a:lnTo>
                  <a:pt x="17" y="881"/>
                </a:lnTo>
                <a:lnTo>
                  <a:pt x="22" y="855"/>
                </a:lnTo>
                <a:lnTo>
                  <a:pt x="27" y="829"/>
                </a:lnTo>
                <a:lnTo>
                  <a:pt x="34" y="803"/>
                </a:lnTo>
                <a:lnTo>
                  <a:pt x="41" y="778"/>
                </a:lnTo>
                <a:lnTo>
                  <a:pt x="49" y="753"/>
                </a:lnTo>
                <a:lnTo>
                  <a:pt x="57" y="728"/>
                </a:lnTo>
                <a:lnTo>
                  <a:pt x="66" y="703"/>
                </a:lnTo>
                <a:lnTo>
                  <a:pt x="75" y="679"/>
                </a:lnTo>
                <a:lnTo>
                  <a:pt x="85" y="654"/>
                </a:lnTo>
                <a:lnTo>
                  <a:pt x="95" y="630"/>
                </a:lnTo>
                <a:lnTo>
                  <a:pt x="106" y="606"/>
                </a:lnTo>
                <a:lnTo>
                  <a:pt x="117" y="584"/>
                </a:lnTo>
                <a:lnTo>
                  <a:pt x="130" y="560"/>
                </a:lnTo>
                <a:lnTo>
                  <a:pt x="142" y="538"/>
                </a:lnTo>
                <a:lnTo>
                  <a:pt x="156" y="515"/>
                </a:lnTo>
                <a:lnTo>
                  <a:pt x="169" y="494"/>
                </a:lnTo>
                <a:lnTo>
                  <a:pt x="184" y="473"/>
                </a:lnTo>
                <a:lnTo>
                  <a:pt x="198" y="451"/>
                </a:lnTo>
                <a:lnTo>
                  <a:pt x="213" y="430"/>
                </a:lnTo>
                <a:lnTo>
                  <a:pt x="229" y="409"/>
                </a:lnTo>
                <a:lnTo>
                  <a:pt x="245" y="389"/>
                </a:lnTo>
                <a:lnTo>
                  <a:pt x="261" y="370"/>
                </a:lnTo>
                <a:lnTo>
                  <a:pt x="278" y="351"/>
                </a:lnTo>
                <a:lnTo>
                  <a:pt x="296" y="332"/>
                </a:lnTo>
                <a:lnTo>
                  <a:pt x="314" y="314"/>
                </a:lnTo>
                <a:lnTo>
                  <a:pt x="332" y="296"/>
                </a:lnTo>
                <a:lnTo>
                  <a:pt x="351" y="278"/>
                </a:lnTo>
                <a:lnTo>
                  <a:pt x="371" y="261"/>
                </a:lnTo>
                <a:lnTo>
                  <a:pt x="391" y="244"/>
                </a:lnTo>
                <a:lnTo>
                  <a:pt x="410" y="228"/>
                </a:lnTo>
                <a:lnTo>
                  <a:pt x="431" y="212"/>
                </a:lnTo>
                <a:lnTo>
                  <a:pt x="452" y="198"/>
                </a:lnTo>
                <a:lnTo>
                  <a:pt x="473" y="183"/>
                </a:lnTo>
                <a:lnTo>
                  <a:pt x="494" y="169"/>
                </a:lnTo>
                <a:lnTo>
                  <a:pt x="516" y="155"/>
                </a:lnTo>
                <a:lnTo>
                  <a:pt x="538" y="142"/>
                </a:lnTo>
                <a:lnTo>
                  <a:pt x="561" y="129"/>
                </a:lnTo>
                <a:lnTo>
                  <a:pt x="584" y="117"/>
                </a:lnTo>
                <a:lnTo>
                  <a:pt x="607" y="106"/>
                </a:lnTo>
                <a:lnTo>
                  <a:pt x="631" y="94"/>
                </a:lnTo>
                <a:lnTo>
                  <a:pt x="654" y="84"/>
                </a:lnTo>
                <a:lnTo>
                  <a:pt x="679" y="74"/>
                </a:lnTo>
                <a:lnTo>
                  <a:pt x="704" y="65"/>
                </a:lnTo>
                <a:lnTo>
                  <a:pt x="728" y="56"/>
                </a:lnTo>
                <a:lnTo>
                  <a:pt x="753" y="48"/>
                </a:lnTo>
                <a:lnTo>
                  <a:pt x="778" y="40"/>
                </a:lnTo>
                <a:lnTo>
                  <a:pt x="804" y="33"/>
                </a:lnTo>
                <a:lnTo>
                  <a:pt x="830" y="27"/>
                </a:lnTo>
                <a:lnTo>
                  <a:pt x="856" y="21"/>
                </a:lnTo>
                <a:lnTo>
                  <a:pt x="882" y="17"/>
                </a:lnTo>
                <a:lnTo>
                  <a:pt x="909" y="12"/>
                </a:lnTo>
                <a:lnTo>
                  <a:pt x="936" y="8"/>
                </a:lnTo>
                <a:lnTo>
                  <a:pt x="961" y="5"/>
                </a:lnTo>
                <a:lnTo>
                  <a:pt x="988" y="3"/>
                </a:lnTo>
                <a:lnTo>
                  <a:pt x="1017" y="1"/>
                </a:lnTo>
                <a:lnTo>
                  <a:pt x="1044" y="0"/>
                </a:lnTo>
                <a:lnTo>
                  <a:pt x="1072" y="0"/>
                </a:lnTo>
                <a:lnTo>
                  <a:pt x="1099" y="0"/>
                </a:lnTo>
                <a:lnTo>
                  <a:pt x="1126" y="1"/>
                </a:lnTo>
                <a:lnTo>
                  <a:pt x="1154" y="3"/>
                </a:lnTo>
                <a:lnTo>
                  <a:pt x="1181" y="5"/>
                </a:lnTo>
                <a:lnTo>
                  <a:pt x="1208" y="8"/>
                </a:lnTo>
                <a:lnTo>
                  <a:pt x="1234" y="12"/>
                </a:lnTo>
                <a:lnTo>
                  <a:pt x="1261" y="17"/>
                </a:lnTo>
                <a:lnTo>
                  <a:pt x="1287" y="21"/>
                </a:lnTo>
                <a:lnTo>
                  <a:pt x="1313" y="27"/>
                </a:lnTo>
                <a:lnTo>
                  <a:pt x="1338" y="33"/>
                </a:lnTo>
                <a:lnTo>
                  <a:pt x="1364" y="40"/>
                </a:lnTo>
                <a:lnTo>
                  <a:pt x="1389" y="48"/>
                </a:lnTo>
                <a:lnTo>
                  <a:pt x="1414" y="56"/>
                </a:lnTo>
                <a:lnTo>
                  <a:pt x="1439" y="65"/>
                </a:lnTo>
                <a:lnTo>
                  <a:pt x="1463" y="74"/>
                </a:lnTo>
                <a:lnTo>
                  <a:pt x="1488" y="84"/>
                </a:lnTo>
                <a:lnTo>
                  <a:pt x="1512" y="94"/>
                </a:lnTo>
                <a:lnTo>
                  <a:pt x="1535" y="106"/>
                </a:lnTo>
                <a:lnTo>
                  <a:pt x="1558" y="117"/>
                </a:lnTo>
                <a:lnTo>
                  <a:pt x="1581" y="129"/>
                </a:lnTo>
                <a:lnTo>
                  <a:pt x="1604" y="142"/>
                </a:lnTo>
                <a:lnTo>
                  <a:pt x="1626" y="155"/>
                </a:lnTo>
                <a:lnTo>
                  <a:pt x="1648" y="169"/>
                </a:lnTo>
                <a:lnTo>
                  <a:pt x="1669" y="183"/>
                </a:lnTo>
                <a:lnTo>
                  <a:pt x="1691" y="198"/>
                </a:lnTo>
                <a:lnTo>
                  <a:pt x="1712" y="212"/>
                </a:lnTo>
                <a:lnTo>
                  <a:pt x="1732" y="228"/>
                </a:lnTo>
                <a:lnTo>
                  <a:pt x="1753" y="244"/>
                </a:lnTo>
                <a:lnTo>
                  <a:pt x="1772" y="261"/>
                </a:lnTo>
                <a:lnTo>
                  <a:pt x="1791" y="278"/>
                </a:lnTo>
                <a:lnTo>
                  <a:pt x="1810" y="296"/>
                </a:lnTo>
                <a:lnTo>
                  <a:pt x="1828" y="314"/>
                </a:lnTo>
                <a:lnTo>
                  <a:pt x="1846" y="332"/>
                </a:lnTo>
                <a:lnTo>
                  <a:pt x="1864" y="351"/>
                </a:lnTo>
                <a:lnTo>
                  <a:pt x="1881" y="370"/>
                </a:lnTo>
                <a:lnTo>
                  <a:pt x="1898" y="389"/>
                </a:lnTo>
                <a:lnTo>
                  <a:pt x="1913" y="409"/>
                </a:lnTo>
                <a:lnTo>
                  <a:pt x="1929" y="430"/>
                </a:lnTo>
                <a:lnTo>
                  <a:pt x="1944" y="451"/>
                </a:lnTo>
                <a:lnTo>
                  <a:pt x="1958" y="473"/>
                </a:lnTo>
                <a:lnTo>
                  <a:pt x="1973" y="494"/>
                </a:lnTo>
                <a:lnTo>
                  <a:pt x="1987" y="515"/>
                </a:lnTo>
                <a:lnTo>
                  <a:pt x="2000" y="538"/>
                </a:lnTo>
                <a:lnTo>
                  <a:pt x="2012" y="560"/>
                </a:lnTo>
                <a:lnTo>
                  <a:pt x="2025" y="584"/>
                </a:lnTo>
                <a:lnTo>
                  <a:pt x="2036" y="606"/>
                </a:lnTo>
                <a:lnTo>
                  <a:pt x="2047" y="630"/>
                </a:lnTo>
                <a:lnTo>
                  <a:pt x="2057" y="654"/>
                </a:lnTo>
                <a:lnTo>
                  <a:pt x="2068" y="679"/>
                </a:lnTo>
                <a:lnTo>
                  <a:pt x="2077" y="703"/>
                </a:lnTo>
                <a:lnTo>
                  <a:pt x="2086" y="728"/>
                </a:lnTo>
                <a:lnTo>
                  <a:pt x="2093" y="753"/>
                </a:lnTo>
                <a:lnTo>
                  <a:pt x="2101" y="778"/>
                </a:lnTo>
                <a:lnTo>
                  <a:pt x="2108" y="803"/>
                </a:lnTo>
                <a:lnTo>
                  <a:pt x="2115" y="829"/>
                </a:lnTo>
                <a:lnTo>
                  <a:pt x="2121" y="855"/>
                </a:lnTo>
                <a:lnTo>
                  <a:pt x="2125" y="881"/>
                </a:lnTo>
                <a:lnTo>
                  <a:pt x="2130" y="908"/>
                </a:lnTo>
                <a:lnTo>
                  <a:pt x="2134" y="934"/>
                </a:lnTo>
                <a:lnTo>
                  <a:pt x="2136" y="961"/>
                </a:lnTo>
                <a:lnTo>
                  <a:pt x="2139" y="988"/>
                </a:lnTo>
                <a:lnTo>
                  <a:pt x="2141" y="1016"/>
                </a:lnTo>
                <a:lnTo>
                  <a:pt x="2142" y="1043"/>
                </a:lnTo>
                <a:lnTo>
                  <a:pt x="2142" y="1070"/>
                </a:lnTo>
                <a:lnTo>
                  <a:pt x="2142" y="1098"/>
                </a:lnTo>
                <a:lnTo>
                  <a:pt x="2141" y="1125"/>
                </a:lnTo>
                <a:lnTo>
                  <a:pt x="2139" y="1154"/>
                </a:lnTo>
                <a:lnTo>
                  <a:pt x="2136" y="1181"/>
                </a:lnTo>
                <a:lnTo>
                  <a:pt x="2134" y="1208"/>
                </a:lnTo>
                <a:lnTo>
                  <a:pt x="2130" y="1234"/>
                </a:lnTo>
                <a:lnTo>
                  <a:pt x="2125" y="1261"/>
                </a:lnTo>
                <a:lnTo>
                  <a:pt x="2121" y="1286"/>
                </a:lnTo>
                <a:lnTo>
                  <a:pt x="2115" y="1312"/>
                </a:lnTo>
                <a:lnTo>
                  <a:pt x="2108" y="1338"/>
                </a:lnTo>
                <a:lnTo>
                  <a:pt x="2101" y="1364"/>
                </a:lnTo>
                <a:lnTo>
                  <a:pt x="2093" y="1389"/>
                </a:lnTo>
                <a:lnTo>
                  <a:pt x="2086" y="1414"/>
                </a:lnTo>
                <a:lnTo>
                  <a:pt x="2077" y="1438"/>
                </a:lnTo>
                <a:lnTo>
                  <a:pt x="2068" y="1463"/>
                </a:lnTo>
                <a:lnTo>
                  <a:pt x="2057" y="1488"/>
                </a:lnTo>
                <a:lnTo>
                  <a:pt x="2047" y="1512"/>
                </a:lnTo>
                <a:lnTo>
                  <a:pt x="2036" y="1535"/>
                </a:lnTo>
                <a:lnTo>
                  <a:pt x="2025" y="1558"/>
                </a:lnTo>
                <a:lnTo>
                  <a:pt x="2012" y="1581"/>
                </a:lnTo>
                <a:lnTo>
                  <a:pt x="2000" y="1604"/>
                </a:lnTo>
                <a:lnTo>
                  <a:pt x="1987" y="1626"/>
                </a:lnTo>
                <a:lnTo>
                  <a:pt x="1973" y="1648"/>
                </a:lnTo>
                <a:lnTo>
                  <a:pt x="1958" y="1669"/>
                </a:lnTo>
                <a:lnTo>
                  <a:pt x="1944" y="1691"/>
                </a:lnTo>
                <a:lnTo>
                  <a:pt x="1929" y="1712"/>
                </a:lnTo>
                <a:lnTo>
                  <a:pt x="1913" y="1732"/>
                </a:lnTo>
                <a:lnTo>
                  <a:pt x="1898" y="1751"/>
                </a:lnTo>
                <a:lnTo>
                  <a:pt x="1881" y="1772"/>
                </a:lnTo>
                <a:lnTo>
                  <a:pt x="1864" y="1791"/>
                </a:lnTo>
                <a:lnTo>
                  <a:pt x="1846" y="1810"/>
                </a:lnTo>
                <a:lnTo>
                  <a:pt x="1828" y="1828"/>
                </a:lnTo>
                <a:lnTo>
                  <a:pt x="1810" y="1846"/>
                </a:lnTo>
                <a:lnTo>
                  <a:pt x="1791" y="1864"/>
                </a:lnTo>
                <a:lnTo>
                  <a:pt x="1772" y="1881"/>
                </a:lnTo>
                <a:lnTo>
                  <a:pt x="1753" y="1898"/>
                </a:lnTo>
                <a:lnTo>
                  <a:pt x="1732" y="1913"/>
                </a:lnTo>
                <a:lnTo>
                  <a:pt x="1712" y="1929"/>
                </a:lnTo>
                <a:lnTo>
                  <a:pt x="1691" y="1944"/>
                </a:lnTo>
                <a:lnTo>
                  <a:pt x="1669" y="1959"/>
                </a:lnTo>
                <a:lnTo>
                  <a:pt x="1648" y="1973"/>
                </a:lnTo>
                <a:lnTo>
                  <a:pt x="1626" y="1987"/>
                </a:lnTo>
                <a:lnTo>
                  <a:pt x="1604" y="2000"/>
                </a:lnTo>
                <a:lnTo>
                  <a:pt x="1581" y="2013"/>
                </a:lnTo>
                <a:lnTo>
                  <a:pt x="1558" y="2025"/>
                </a:lnTo>
                <a:lnTo>
                  <a:pt x="1535" y="2036"/>
                </a:lnTo>
                <a:lnTo>
                  <a:pt x="1512" y="2047"/>
                </a:lnTo>
                <a:lnTo>
                  <a:pt x="1488" y="2058"/>
                </a:lnTo>
                <a:lnTo>
                  <a:pt x="1463" y="2068"/>
                </a:lnTo>
                <a:lnTo>
                  <a:pt x="1439" y="2077"/>
                </a:lnTo>
                <a:lnTo>
                  <a:pt x="1414" y="2086"/>
                </a:lnTo>
                <a:lnTo>
                  <a:pt x="1389" y="2094"/>
                </a:lnTo>
                <a:lnTo>
                  <a:pt x="1364" y="2101"/>
                </a:lnTo>
                <a:lnTo>
                  <a:pt x="1338" y="2108"/>
                </a:lnTo>
                <a:lnTo>
                  <a:pt x="1313" y="2115"/>
                </a:lnTo>
                <a:lnTo>
                  <a:pt x="1287" y="2121"/>
                </a:lnTo>
                <a:lnTo>
                  <a:pt x="1261" y="2125"/>
                </a:lnTo>
                <a:lnTo>
                  <a:pt x="1234" y="2130"/>
                </a:lnTo>
                <a:lnTo>
                  <a:pt x="1208" y="2133"/>
                </a:lnTo>
                <a:lnTo>
                  <a:pt x="1181" y="2136"/>
                </a:lnTo>
                <a:lnTo>
                  <a:pt x="1154" y="2139"/>
                </a:lnTo>
                <a:lnTo>
                  <a:pt x="1126" y="2141"/>
                </a:lnTo>
                <a:lnTo>
                  <a:pt x="1099" y="2142"/>
                </a:lnTo>
                <a:lnTo>
                  <a:pt x="1072" y="2142"/>
                </a:lnTo>
                <a:close/>
                <a:moveTo>
                  <a:pt x="1072" y="103"/>
                </a:moveTo>
                <a:lnTo>
                  <a:pt x="1046" y="103"/>
                </a:lnTo>
                <a:lnTo>
                  <a:pt x="1021" y="104"/>
                </a:lnTo>
                <a:lnTo>
                  <a:pt x="997" y="106"/>
                </a:lnTo>
                <a:lnTo>
                  <a:pt x="973" y="108"/>
                </a:lnTo>
                <a:lnTo>
                  <a:pt x="948" y="110"/>
                </a:lnTo>
                <a:lnTo>
                  <a:pt x="924" y="113"/>
                </a:lnTo>
                <a:lnTo>
                  <a:pt x="901" y="118"/>
                </a:lnTo>
                <a:lnTo>
                  <a:pt x="876" y="122"/>
                </a:lnTo>
                <a:lnTo>
                  <a:pt x="853" y="128"/>
                </a:lnTo>
                <a:lnTo>
                  <a:pt x="830" y="134"/>
                </a:lnTo>
                <a:lnTo>
                  <a:pt x="806" y="139"/>
                </a:lnTo>
                <a:lnTo>
                  <a:pt x="784" y="146"/>
                </a:lnTo>
                <a:lnTo>
                  <a:pt x="761" y="154"/>
                </a:lnTo>
                <a:lnTo>
                  <a:pt x="739" y="162"/>
                </a:lnTo>
                <a:lnTo>
                  <a:pt x="717" y="170"/>
                </a:lnTo>
                <a:lnTo>
                  <a:pt x="695" y="179"/>
                </a:lnTo>
                <a:lnTo>
                  <a:pt x="673" y="189"/>
                </a:lnTo>
                <a:lnTo>
                  <a:pt x="652" y="198"/>
                </a:lnTo>
                <a:lnTo>
                  <a:pt x="631" y="209"/>
                </a:lnTo>
                <a:lnTo>
                  <a:pt x="610" y="219"/>
                </a:lnTo>
                <a:lnTo>
                  <a:pt x="590" y="232"/>
                </a:lnTo>
                <a:lnTo>
                  <a:pt x="570" y="243"/>
                </a:lnTo>
                <a:lnTo>
                  <a:pt x="550" y="255"/>
                </a:lnTo>
                <a:lnTo>
                  <a:pt x="530" y="269"/>
                </a:lnTo>
                <a:lnTo>
                  <a:pt x="511" y="281"/>
                </a:lnTo>
                <a:lnTo>
                  <a:pt x="492" y="296"/>
                </a:lnTo>
                <a:lnTo>
                  <a:pt x="474" y="309"/>
                </a:lnTo>
                <a:lnTo>
                  <a:pt x="456" y="324"/>
                </a:lnTo>
                <a:lnTo>
                  <a:pt x="438" y="340"/>
                </a:lnTo>
                <a:lnTo>
                  <a:pt x="421" y="354"/>
                </a:lnTo>
                <a:lnTo>
                  <a:pt x="404" y="370"/>
                </a:lnTo>
                <a:lnTo>
                  <a:pt x="388" y="387"/>
                </a:lnTo>
                <a:lnTo>
                  <a:pt x="371" y="403"/>
                </a:lnTo>
                <a:lnTo>
                  <a:pt x="355" y="421"/>
                </a:lnTo>
                <a:lnTo>
                  <a:pt x="340" y="438"/>
                </a:lnTo>
                <a:lnTo>
                  <a:pt x="324" y="456"/>
                </a:lnTo>
                <a:lnTo>
                  <a:pt x="310" y="474"/>
                </a:lnTo>
                <a:lnTo>
                  <a:pt x="296" y="492"/>
                </a:lnTo>
                <a:lnTo>
                  <a:pt x="283" y="511"/>
                </a:lnTo>
                <a:lnTo>
                  <a:pt x="269" y="530"/>
                </a:lnTo>
                <a:lnTo>
                  <a:pt x="256" y="549"/>
                </a:lnTo>
                <a:lnTo>
                  <a:pt x="243" y="569"/>
                </a:lnTo>
                <a:lnTo>
                  <a:pt x="232" y="590"/>
                </a:lnTo>
                <a:lnTo>
                  <a:pt x="221" y="610"/>
                </a:lnTo>
                <a:lnTo>
                  <a:pt x="210" y="630"/>
                </a:lnTo>
                <a:lnTo>
                  <a:pt x="200" y="652"/>
                </a:lnTo>
                <a:lnTo>
                  <a:pt x="189" y="673"/>
                </a:lnTo>
                <a:lnTo>
                  <a:pt x="179" y="694"/>
                </a:lnTo>
                <a:lnTo>
                  <a:pt x="170" y="716"/>
                </a:lnTo>
                <a:lnTo>
                  <a:pt x="162" y="738"/>
                </a:lnTo>
                <a:lnTo>
                  <a:pt x="155" y="761"/>
                </a:lnTo>
                <a:lnTo>
                  <a:pt x="147" y="783"/>
                </a:lnTo>
                <a:lnTo>
                  <a:pt x="140" y="806"/>
                </a:lnTo>
                <a:lnTo>
                  <a:pt x="134" y="829"/>
                </a:lnTo>
                <a:lnTo>
                  <a:pt x="129" y="853"/>
                </a:lnTo>
                <a:lnTo>
                  <a:pt x="123" y="876"/>
                </a:lnTo>
                <a:lnTo>
                  <a:pt x="119" y="899"/>
                </a:lnTo>
                <a:lnTo>
                  <a:pt x="115" y="924"/>
                </a:lnTo>
                <a:lnTo>
                  <a:pt x="112" y="948"/>
                </a:lnTo>
                <a:lnTo>
                  <a:pt x="108" y="972"/>
                </a:lnTo>
                <a:lnTo>
                  <a:pt x="106" y="996"/>
                </a:lnTo>
                <a:lnTo>
                  <a:pt x="105" y="1021"/>
                </a:lnTo>
                <a:lnTo>
                  <a:pt x="104" y="1046"/>
                </a:lnTo>
                <a:lnTo>
                  <a:pt x="104" y="1070"/>
                </a:lnTo>
                <a:lnTo>
                  <a:pt x="104" y="1096"/>
                </a:lnTo>
                <a:lnTo>
                  <a:pt x="105" y="1121"/>
                </a:lnTo>
                <a:lnTo>
                  <a:pt x="106" y="1146"/>
                </a:lnTo>
                <a:lnTo>
                  <a:pt x="108" y="1169"/>
                </a:lnTo>
                <a:lnTo>
                  <a:pt x="112" y="1194"/>
                </a:lnTo>
                <a:lnTo>
                  <a:pt x="115" y="1218"/>
                </a:lnTo>
                <a:lnTo>
                  <a:pt x="119" y="1241"/>
                </a:lnTo>
                <a:lnTo>
                  <a:pt x="123" y="1266"/>
                </a:lnTo>
                <a:lnTo>
                  <a:pt x="129" y="1289"/>
                </a:lnTo>
                <a:lnTo>
                  <a:pt x="134" y="1312"/>
                </a:lnTo>
                <a:lnTo>
                  <a:pt x="140" y="1336"/>
                </a:lnTo>
                <a:lnTo>
                  <a:pt x="147" y="1358"/>
                </a:lnTo>
                <a:lnTo>
                  <a:pt x="155" y="1381"/>
                </a:lnTo>
                <a:lnTo>
                  <a:pt x="162" y="1404"/>
                </a:lnTo>
                <a:lnTo>
                  <a:pt x="170" y="1425"/>
                </a:lnTo>
                <a:lnTo>
                  <a:pt x="179" y="1447"/>
                </a:lnTo>
                <a:lnTo>
                  <a:pt x="189" y="1469"/>
                </a:lnTo>
                <a:lnTo>
                  <a:pt x="200" y="1490"/>
                </a:lnTo>
                <a:lnTo>
                  <a:pt x="210" y="1512"/>
                </a:lnTo>
                <a:lnTo>
                  <a:pt x="221" y="1532"/>
                </a:lnTo>
                <a:lnTo>
                  <a:pt x="232" y="1552"/>
                </a:lnTo>
                <a:lnTo>
                  <a:pt x="243" y="1572"/>
                </a:lnTo>
                <a:lnTo>
                  <a:pt x="256" y="1593"/>
                </a:lnTo>
                <a:lnTo>
                  <a:pt x="269" y="1612"/>
                </a:lnTo>
                <a:lnTo>
                  <a:pt x="283" y="1631"/>
                </a:lnTo>
                <a:lnTo>
                  <a:pt x="296" y="1650"/>
                </a:lnTo>
                <a:lnTo>
                  <a:pt x="310" y="1668"/>
                </a:lnTo>
                <a:lnTo>
                  <a:pt x="324" y="1686"/>
                </a:lnTo>
                <a:lnTo>
                  <a:pt x="340" y="1704"/>
                </a:lnTo>
                <a:lnTo>
                  <a:pt x="355" y="1721"/>
                </a:lnTo>
                <a:lnTo>
                  <a:pt x="371" y="1738"/>
                </a:lnTo>
                <a:lnTo>
                  <a:pt x="388" y="1755"/>
                </a:lnTo>
                <a:lnTo>
                  <a:pt x="404" y="1772"/>
                </a:lnTo>
                <a:lnTo>
                  <a:pt x="421" y="1787"/>
                </a:lnTo>
                <a:lnTo>
                  <a:pt x="438" y="1802"/>
                </a:lnTo>
                <a:lnTo>
                  <a:pt x="456" y="1818"/>
                </a:lnTo>
                <a:lnTo>
                  <a:pt x="474" y="1832"/>
                </a:lnTo>
                <a:lnTo>
                  <a:pt x="492" y="1846"/>
                </a:lnTo>
                <a:lnTo>
                  <a:pt x="511" y="1859"/>
                </a:lnTo>
                <a:lnTo>
                  <a:pt x="530" y="1873"/>
                </a:lnTo>
                <a:lnTo>
                  <a:pt x="550" y="1886"/>
                </a:lnTo>
                <a:lnTo>
                  <a:pt x="570" y="1899"/>
                </a:lnTo>
                <a:lnTo>
                  <a:pt x="590" y="1910"/>
                </a:lnTo>
                <a:lnTo>
                  <a:pt x="610" y="1921"/>
                </a:lnTo>
                <a:lnTo>
                  <a:pt x="631" y="1933"/>
                </a:lnTo>
                <a:lnTo>
                  <a:pt x="652" y="1943"/>
                </a:lnTo>
                <a:lnTo>
                  <a:pt x="673" y="1953"/>
                </a:lnTo>
                <a:lnTo>
                  <a:pt x="695" y="1963"/>
                </a:lnTo>
                <a:lnTo>
                  <a:pt x="717" y="1972"/>
                </a:lnTo>
                <a:lnTo>
                  <a:pt x="739" y="1980"/>
                </a:lnTo>
                <a:lnTo>
                  <a:pt x="761" y="1988"/>
                </a:lnTo>
                <a:lnTo>
                  <a:pt x="784" y="1996"/>
                </a:lnTo>
                <a:lnTo>
                  <a:pt x="806" y="2002"/>
                </a:lnTo>
                <a:lnTo>
                  <a:pt x="830" y="2008"/>
                </a:lnTo>
                <a:lnTo>
                  <a:pt x="853" y="2014"/>
                </a:lnTo>
                <a:lnTo>
                  <a:pt x="876" y="2019"/>
                </a:lnTo>
                <a:lnTo>
                  <a:pt x="901" y="2024"/>
                </a:lnTo>
                <a:lnTo>
                  <a:pt x="924" y="2027"/>
                </a:lnTo>
                <a:lnTo>
                  <a:pt x="948" y="2031"/>
                </a:lnTo>
                <a:lnTo>
                  <a:pt x="973" y="2034"/>
                </a:lnTo>
                <a:lnTo>
                  <a:pt x="997" y="2036"/>
                </a:lnTo>
                <a:lnTo>
                  <a:pt x="1021" y="2037"/>
                </a:lnTo>
                <a:lnTo>
                  <a:pt x="1046" y="2038"/>
                </a:lnTo>
                <a:lnTo>
                  <a:pt x="1072" y="2038"/>
                </a:lnTo>
                <a:lnTo>
                  <a:pt x="1096" y="2038"/>
                </a:lnTo>
                <a:lnTo>
                  <a:pt x="1121" y="2037"/>
                </a:lnTo>
                <a:lnTo>
                  <a:pt x="1146" y="2036"/>
                </a:lnTo>
                <a:lnTo>
                  <a:pt x="1170" y="2034"/>
                </a:lnTo>
                <a:lnTo>
                  <a:pt x="1194" y="2031"/>
                </a:lnTo>
                <a:lnTo>
                  <a:pt x="1218" y="2027"/>
                </a:lnTo>
                <a:lnTo>
                  <a:pt x="1243" y="2024"/>
                </a:lnTo>
                <a:lnTo>
                  <a:pt x="1266" y="2019"/>
                </a:lnTo>
                <a:lnTo>
                  <a:pt x="1290" y="2014"/>
                </a:lnTo>
                <a:lnTo>
                  <a:pt x="1313" y="2008"/>
                </a:lnTo>
                <a:lnTo>
                  <a:pt x="1336" y="2002"/>
                </a:lnTo>
                <a:lnTo>
                  <a:pt x="1359" y="1996"/>
                </a:lnTo>
                <a:lnTo>
                  <a:pt x="1381" y="1988"/>
                </a:lnTo>
                <a:lnTo>
                  <a:pt x="1404" y="1980"/>
                </a:lnTo>
                <a:lnTo>
                  <a:pt x="1426" y="1972"/>
                </a:lnTo>
                <a:lnTo>
                  <a:pt x="1448" y="1963"/>
                </a:lnTo>
                <a:lnTo>
                  <a:pt x="1469" y="1953"/>
                </a:lnTo>
                <a:lnTo>
                  <a:pt x="1490" y="1943"/>
                </a:lnTo>
                <a:lnTo>
                  <a:pt x="1512" y="1933"/>
                </a:lnTo>
                <a:lnTo>
                  <a:pt x="1532" y="1921"/>
                </a:lnTo>
                <a:lnTo>
                  <a:pt x="1552" y="1910"/>
                </a:lnTo>
                <a:lnTo>
                  <a:pt x="1572" y="1899"/>
                </a:lnTo>
                <a:lnTo>
                  <a:pt x="1593" y="1886"/>
                </a:lnTo>
                <a:lnTo>
                  <a:pt x="1612" y="1873"/>
                </a:lnTo>
                <a:lnTo>
                  <a:pt x="1631" y="1859"/>
                </a:lnTo>
                <a:lnTo>
                  <a:pt x="1650" y="1846"/>
                </a:lnTo>
                <a:lnTo>
                  <a:pt x="1668" y="1832"/>
                </a:lnTo>
                <a:lnTo>
                  <a:pt x="1686" y="1818"/>
                </a:lnTo>
                <a:lnTo>
                  <a:pt x="1704" y="1802"/>
                </a:lnTo>
                <a:lnTo>
                  <a:pt x="1721" y="1787"/>
                </a:lnTo>
                <a:lnTo>
                  <a:pt x="1739" y="1772"/>
                </a:lnTo>
                <a:lnTo>
                  <a:pt x="1755" y="1755"/>
                </a:lnTo>
                <a:lnTo>
                  <a:pt x="1772" y="1738"/>
                </a:lnTo>
                <a:lnTo>
                  <a:pt x="1787" y="1721"/>
                </a:lnTo>
                <a:lnTo>
                  <a:pt x="1803" y="1704"/>
                </a:lnTo>
                <a:lnTo>
                  <a:pt x="1818" y="1686"/>
                </a:lnTo>
                <a:lnTo>
                  <a:pt x="1832" y="1668"/>
                </a:lnTo>
                <a:lnTo>
                  <a:pt x="1846" y="1650"/>
                </a:lnTo>
                <a:lnTo>
                  <a:pt x="1861" y="1631"/>
                </a:lnTo>
                <a:lnTo>
                  <a:pt x="1873" y="1612"/>
                </a:lnTo>
                <a:lnTo>
                  <a:pt x="1886" y="1593"/>
                </a:lnTo>
                <a:lnTo>
                  <a:pt x="1899" y="1572"/>
                </a:lnTo>
                <a:lnTo>
                  <a:pt x="1910" y="1552"/>
                </a:lnTo>
                <a:lnTo>
                  <a:pt x="1922" y="1532"/>
                </a:lnTo>
                <a:lnTo>
                  <a:pt x="1933" y="1512"/>
                </a:lnTo>
                <a:lnTo>
                  <a:pt x="1944" y="1490"/>
                </a:lnTo>
                <a:lnTo>
                  <a:pt x="1953" y="1469"/>
                </a:lnTo>
                <a:lnTo>
                  <a:pt x="1963" y="1447"/>
                </a:lnTo>
                <a:lnTo>
                  <a:pt x="1972" y="1425"/>
                </a:lnTo>
                <a:lnTo>
                  <a:pt x="1980" y="1404"/>
                </a:lnTo>
                <a:lnTo>
                  <a:pt x="1988" y="1381"/>
                </a:lnTo>
                <a:lnTo>
                  <a:pt x="1996" y="1358"/>
                </a:lnTo>
                <a:lnTo>
                  <a:pt x="2002" y="1336"/>
                </a:lnTo>
                <a:lnTo>
                  <a:pt x="2008" y="1312"/>
                </a:lnTo>
                <a:lnTo>
                  <a:pt x="2014" y="1289"/>
                </a:lnTo>
                <a:lnTo>
                  <a:pt x="2019" y="1266"/>
                </a:lnTo>
                <a:lnTo>
                  <a:pt x="2024" y="1241"/>
                </a:lnTo>
                <a:lnTo>
                  <a:pt x="2028" y="1218"/>
                </a:lnTo>
                <a:lnTo>
                  <a:pt x="2032" y="1194"/>
                </a:lnTo>
                <a:lnTo>
                  <a:pt x="2034" y="1169"/>
                </a:lnTo>
                <a:lnTo>
                  <a:pt x="2036" y="1146"/>
                </a:lnTo>
                <a:lnTo>
                  <a:pt x="2037" y="1121"/>
                </a:lnTo>
                <a:lnTo>
                  <a:pt x="2038" y="1096"/>
                </a:lnTo>
                <a:lnTo>
                  <a:pt x="2038" y="1070"/>
                </a:lnTo>
                <a:lnTo>
                  <a:pt x="2038" y="1046"/>
                </a:lnTo>
                <a:lnTo>
                  <a:pt x="2037" y="1021"/>
                </a:lnTo>
                <a:lnTo>
                  <a:pt x="2036" y="996"/>
                </a:lnTo>
                <a:lnTo>
                  <a:pt x="2034" y="972"/>
                </a:lnTo>
                <a:lnTo>
                  <a:pt x="2032" y="948"/>
                </a:lnTo>
                <a:lnTo>
                  <a:pt x="2028" y="924"/>
                </a:lnTo>
                <a:lnTo>
                  <a:pt x="2024" y="899"/>
                </a:lnTo>
                <a:lnTo>
                  <a:pt x="2019" y="876"/>
                </a:lnTo>
                <a:lnTo>
                  <a:pt x="2014" y="853"/>
                </a:lnTo>
                <a:lnTo>
                  <a:pt x="2008" y="829"/>
                </a:lnTo>
                <a:lnTo>
                  <a:pt x="2002" y="806"/>
                </a:lnTo>
                <a:lnTo>
                  <a:pt x="1996" y="783"/>
                </a:lnTo>
                <a:lnTo>
                  <a:pt x="1988" y="761"/>
                </a:lnTo>
                <a:lnTo>
                  <a:pt x="1980" y="738"/>
                </a:lnTo>
                <a:lnTo>
                  <a:pt x="1972" y="716"/>
                </a:lnTo>
                <a:lnTo>
                  <a:pt x="1963" y="694"/>
                </a:lnTo>
                <a:lnTo>
                  <a:pt x="1953" y="673"/>
                </a:lnTo>
                <a:lnTo>
                  <a:pt x="1944" y="652"/>
                </a:lnTo>
                <a:lnTo>
                  <a:pt x="1933" y="630"/>
                </a:lnTo>
                <a:lnTo>
                  <a:pt x="1922" y="610"/>
                </a:lnTo>
                <a:lnTo>
                  <a:pt x="1910" y="590"/>
                </a:lnTo>
                <a:lnTo>
                  <a:pt x="1899" y="569"/>
                </a:lnTo>
                <a:lnTo>
                  <a:pt x="1886" y="549"/>
                </a:lnTo>
                <a:lnTo>
                  <a:pt x="1873" y="530"/>
                </a:lnTo>
                <a:lnTo>
                  <a:pt x="1861" y="511"/>
                </a:lnTo>
                <a:lnTo>
                  <a:pt x="1846" y="492"/>
                </a:lnTo>
                <a:lnTo>
                  <a:pt x="1832" y="474"/>
                </a:lnTo>
                <a:lnTo>
                  <a:pt x="1818" y="456"/>
                </a:lnTo>
                <a:lnTo>
                  <a:pt x="1803" y="438"/>
                </a:lnTo>
                <a:lnTo>
                  <a:pt x="1787" y="421"/>
                </a:lnTo>
                <a:lnTo>
                  <a:pt x="1772" y="403"/>
                </a:lnTo>
                <a:lnTo>
                  <a:pt x="1755" y="387"/>
                </a:lnTo>
                <a:lnTo>
                  <a:pt x="1739" y="370"/>
                </a:lnTo>
                <a:lnTo>
                  <a:pt x="1721" y="354"/>
                </a:lnTo>
                <a:lnTo>
                  <a:pt x="1704" y="340"/>
                </a:lnTo>
                <a:lnTo>
                  <a:pt x="1686" y="324"/>
                </a:lnTo>
                <a:lnTo>
                  <a:pt x="1668" y="309"/>
                </a:lnTo>
                <a:lnTo>
                  <a:pt x="1650" y="296"/>
                </a:lnTo>
                <a:lnTo>
                  <a:pt x="1631" y="281"/>
                </a:lnTo>
                <a:lnTo>
                  <a:pt x="1612" y="269"/>
                </a:lnTo>
                <a:lnTo>
                  <a:pt x="1593" y="255"/>
                </a:lnTo>
                <a:lnTo>
                  <a:pt x="1572" y="243"/>
                </a:lnTo>
                <a:lnTo>
                  <a:pt x="1552" y="232"/>
                </a:lnTo>
                <a:lnTo>
                  <a:pt x="1532" y="219"/>
                </a:lnTo>
                <a:lnTo>
                  <a:pt x="1512" y="209"/>
                </a:lnTo>
                <a:lnTo>
                  <a:pt x="1490" y="198"/>
                </a:lnTo>
                <a:lnTo>
                  <a:pt x="1469" y="189"/>
                </a:lnTo>
                <a:lnTo>
                  <a:pt x="1448" y="179"/>
                </a:lnTo>
                <a:lnTo>
                  <a:pt x="1426" y="170"/>
                </a:lnTo>
                <a:lnTo>
                  <a:pt x="1404" y="162"/>
                </a:lnTo>
                <a:lnTo>
                  <a:pt x="1381" y="154"/>
                </a:lnTo>
                <a:lnTo>
                  <a:pt x="1359" y="146"/>
                </a:lnTo>
                <a:lnTo>
                  <a:pt x="1336" y="139"/>
                </a:lnTo>
                <a:lnTo>
                  <a:pt x="1313" y="134"/>
                </a:lnTo>
                <a:lnTo>
                  <a:pt x="1290" y="128"/>
                </a:lnTo>
                <a:lnTo>
                  <a:pt x="1266" y="122"/>
                </a:lnTo>
                <a:lnTo>
                  <a:pt x="1243" y="118"/>
                </a:lnTo>
                <a:lnTo>
                  <a:pt x="1218" y="113"/>
                </a:lnTo>
                <a:lnTo>
                  <a:pt x="1194" y="110"/>
                </a:lnTo>
                <a:lnTo>
                  <a:pt x="1170" y="108"/>
                </a:lnTo>
                <a:lnTo>
                  <a:pt x="1146" y="106"/>
                </a:lnTo>
                <a:lnTo>
                  <a:pt x="1121" y="104"/>
                </a:lnTo>
                <a:lnTo>
                  <a:pt x="1096" y="103"/>
                </a:lnTo>
                <a:lnTo>
                  <a:pt x="1072" y="103"/>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14" name="Oval 13">
            <a:hlinkClick r:id="" action="ppaction://noaction"/>
            <a:extLst>
              <a:ext uri="{FF2B5EF4-FFF2-40B4-BE49-F238E27FC236}">
                <a16:creationId xmlns:a16="http://schemas.microsoft.com/office/drawing/2014/main" id="{F2417F62-D99E-422A-A6A5-C2B307F1C854}"/>
              </a:ext>
            </a:extLst>
          </p:cNvPr>
          <p:cNvSpPr>
            <a:spLocks noChangeAspect="1"/>
          </p:cNvSpPr>
          <p:nvPr/>
        </p:nvSpPr>
        <p:spPr>
          <a:xfrm>
            <a:off x="553245"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Oval 14">
            <a:hlinkClick r:id="" action="ppaction://noaction"/>
            <a:extLst>
              <a:ext uri="{FF2B5EF4-FFF2-40B4-BE49-F238E27FC236}">
                <a16:creationId xmlns:a16="http://schemas.microsoft.com/office/drawing/2014/main" id="{EF2EFED2-7F76-48A3-9CDA-5337B5D5C391}"/>
              </a:ext>
            </a:extLst>
          </p:cNvPr>
          <p:cNvSpPr>
            <a:spLocks noChangeAspect="1"/>
          </p:cNvSpPr>
          <p:nvPr/>
        </p:nvSpPr>
        <p:spPr>
          <a:xfrm>
            <a:off x="407988" y="89377"/>
            <a:ext cx="108000" cy="108000"/>
          </a:xfrm>
          <a:prstGeom prst="ellipse">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Oval 15">
            <a:hlinkClick r:id="" action="ppaction://noaction"/>
            <a:extLst>
              <a:ext uri="{FF2B5EF4-FFF2-40B4-BE49-F238E27FC236}">
                <a16:creationId xmlns:a16="http://schemas.microsoft.com/office/drawing/2014/main" id="{D536CB56-B884-4E6D-A88E-B00841BC26D5}"/>
              </a:ext>
            </a:extLst>
          </p:cNvPr>
          <p:cNvSpPr>
            <a:spLocks noChangeAspect="1"/>
          </p:cNvSpPr>
          <p:nvPr/>
        </p:nvSpPr>
        <p:spPr>
          <a:xfrm>
            <a:off x="69525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Oval 16">
            <a:hlinkClick r:id="" action="ppaction://noaction"/>
            <a:extLst>
              <a:ext uri="{FF2B5EF4-FFF2-40B4-BE49-F238E27FC236}">
                <a16:creationId xmlns:a16="http://schemas.microsoft.com/office/drawing/2014/main" id="{395C1BBE-E06B-41B2-B6D3-F000833B6D04}"/>
              </a:ext>
            </a:extLst>
          </p:cNvPr>
          <p:cNvSpPr>
            <a:spLocks noChangeAspect="1"/>
          </p:cNvSpPr>
          <p:nvPr/>
        </p:nvSpPr>
        <p:spPr>
          <a:xfrm>
            <a:off x="83927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Oval 17">
            <a:hlinkClick r:id="" action="ppaction://noaction"/>
            <a:extLst>
              <a:ext uri="{FF2B5EF4-FFF2-40B4-BE49-F238E27FC236}">
                <a16:creationId xmlns:a16="http://schemas.microsoft.com/office/drawing/2014/main" id="{11342C0B-28DC-4D84-8504-EB48B3E20BD3}"/>
              </a:ext>
            </a:extLst>
          </p:cNvPr>
          <p:cNvSpPr>
            <a:spLocks noChangeAspect="1"/>
          </p:cNvSpPr>
          <p:nvPr/>
        </p:nvSpPr>
        <p:spPr>
          <a:xfrm>
            <a:off x="98329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92591991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9C5DE3-A82E-4A1C-91D4-888FA5D45290}"/>
              </a:ext>
            </a:extLst>
          </p:cNvPr>
          <p:cNvSpPr>
            <a:spLocks noGrp="1"/>
          </p:cNvSpPr>
          <p:nvPr>
            <p:ph type="dt" sz="half" idx="10"/>
          </p:nvPr>
        </p:nvSpPr>
        <p:spPr/>
        <p:txBody>
          <a:bodyPr/>
          <a:lstStyle/>
          <a:p>
            <a:fld id="{79E9087F-8D29-4365-A1D1-C2092CC6B701}" type="datetime3">
              <a:rPr lang="en-US" noProof="0" smtClean="0"/>
              <a:t>13 April 2022</a:t>
            </a:fld>
            <a:endParaRPr lang="en-US" noProof="0"/>
          </a:p>
        </p:txBody>
      </p:sp>
      <p:sp>
        <p:nvSpPr>
          <p:cNvPr id="3" name="Footer Placeholder 2">
            <a:extLst>
              <a:ext uri="{FF2B5EF4-FFF2-40B4-BE49-F238E27FC236}">
                <a16:creationId xmlns:a16="http://schemas.microsoft.com/office/drawing/2014/main" id="{ECF69EFF-57E5-49A4-AC02-C59A4C7E184A}"/>
              </a:ext>
            </a:extLst>
          </p:cNvPr>
          <p:cNvSpPr>
            <a:spLocks noGrp="1"/>
          </p:cNvSpPr>
          <p:nvPr>
            <p:ph type="ftr" sz="quarter" idx="11"/>
          </p:nvPr>
        </p:nvSpPr>
        <p:spPr/>
        <p:txBody>
          <a:bodyPr/>
          <a:lstStyle/>
          <a:p>
            <a:r>
              <a:rPr lang="en-US" noProof="0"/>
              <a:t>Confidential  |  © KONE Corporation</a:t>
            </a:r>
          </a:p>
        </p:txBody>
      </p:sp>
      <p:sp>
        <p:nvSpPr>
          <p:cNvPr id="4" name="Slide Number Placeholder 3">
            <a:extLst>
              <a:ext uri="{FF2B5EF4-FFF2-40B4-BE49-F238E27FC236}">
                <a16:creationId xmlns:a16="http://schemas.microsoft.com/office/drawing/2014/main" id="{B209A3C4-6D6A-4562-BE01-FC5A9F74A5A6}"/>
              </a:ext>
            </a:extLst>
          </p:cNvPr>
          <p:cNvSpPr>
            <a:spLocks noGrp="1"/>
          </p:cNvSpPr>
          <p:nvPr>
            <p:ph type="sldNum" sz="quarter" idx="12"/>
          </p:nvPr>
        </p:nvSpPr>
        <p:spPr/>
        <p:txBody>
          <a:bodyPr/>
          <a:lstStyle/>
          <a:p>
            <a:fld id="{604FC64F-66B6-486E-8EFE-9FD96A66D16B}" type="slidenum">
              <a:rPr lang="en-US" noProof="0" smtClean="0"/>
              <a:pPr/>
              <a:t>4</a:t>
            </a:fld>
            <a:endParaRPr lang="en-US" noProof="0"/>
          </a:p>
        </p:txBody>
      </p:sp>
      <p:sp>
        <p:nvSpPr>
          <p:cNvPr id="5" name="Content Placeholder 4">
            <a:extLst>
              <a:ext uri="{FF2B5EF4-FFF2-40B4-BE49-F238E27FC236}">
                <a16:creationId xmlns:a16="http://schemas.microsoft.com/office/drawing/2014/main" id="{0E0EA915-A505-4C2A-B6F1-BC2990945D02}"/>
              </a:ext>
            </a:extLst>
          </p:cNvPr>
          <p:cNvSpPr>
            <a:spLocks noGrp="1"/>
          </p:cNvSpPr>
          <p:nvPr>
            <p:ph sz="quarter" idx="13"/>
          </p:nvPr>
        </p:nvSpPr>
        <p:spPr>
          <a:xfrm>
            <a:off x="407988" y="1200497"/>
            <a:ext cx="10195701" cy="603842"/>
          </a:xfrm>
        </p:spPr>
        <p:txBody>
          <a:bodyPr vert="horz" lIns="0" tIns="0" rIns="0" bIns="0" rtlCol="0" anchor="t">
            <a:noAutofit/>
          </a:bodyPr>
          <a:lstStyle/>
          <a:p>
            <a:pPr marL="0" indent="0">
              <a:lnSpc>
                <a:spcPct val="100000"/>
              </a:lnSpc>
              <a:spcBef>
                <a:spcPts val="600"/>
              </a:spcBef>
              <a:buNone/>
            </a:pPr>
            <a:r>
              <a:rPr lang="en-US" sz="1600">
                <a:cs typeface="Arial"/>
              </a:rPr>
              <a:t>At KONE we're dedicated to helping you construct the smart and sustainable cities of the future – and KONE Care™ DX is one the fundamental building blocks in our mission.</a:t>
            </a:r>
          </a:p>
          <a:p>
            <a:pPr marL="0" indent="0">
              <a:lnSpc>
                <a:spcPct val="100000"/>
              </a:lnSpc>
              <a:spcBef>
                <a:spcPts val="600"/>
              </a:spcBef>
              <a:buNone/>
            </a:pPr>
            <a:endParaRPr lang="en-US" sz="1800">
              <a:cs typeface="Arial"/>
            </a:endParaRPr>
          </a:p>
          <a:p>
            <a:pPr marL="0" indent="0">
              <a:lnSpc>
                <a:spcPct val="100000"/>
              </a:lnSpc>
              <a:spcBef>
                <a:spcPts val="600"/>
              </a:spcBef>
              <a:buNone/>
            </a:pPr>
            <a:endParaRPr lang="en-US" sz="1800"/>
          </a:p>
          <a:p>
            <a:pPr marL="0" indent="0">
              <a:lnSpc>
                <a:spcPct val="100000"/>
              </a:lnSpc>
              <a:spcBef>
                <a:spcPts val="600"/>
              </a:spcBef>
              <a:buNone/>
            </a:pPr>
            <a:endParaRPr lang="en-US" sz="1800">
              <a:cs typeface="Arial"/>
            </a:endParaRPr>
          </a:p>
        </p:txBody>
      </p:sp>
      <p:sp>
        <p:nvSpPr>
          <p:cNvPr id="6" name="Title 5">
            <a:extLst>
              <a:ext uri="{FF2B5EF4-FFF2-40B4-BE49-F238E27FC236}">
                <a16:creationId xmlns:a16="http://schemas.microsoft.com/office/drawing/2014/main" id="{5B651ECF-CA61-43C9-B8A5-F5EC7D586EBE}"/>
              </a:ext>
            </a:extLst>
          </p:cNvPr>
          <p:cNvSpPr>
            <a:spLocks noGrp="1"/>
          </p:cNvSpPr>
          <p:nvPr>
            <p:ph type="title"/>
          </p:nvPr>
        </p:nvSpPr>
        <p:spPr/>
        <p:txBody>
          <a:bodyPr/>
          <a:lstStyle/>
          <a:p>
            <a:r>
              <a:rPr lang="en-US"/>
              <a:t>Why KONE Care™ DX?</a:t>
            </a:r>
          </a:p>
        </p:txBody>
      </p:sp>
      <p:sp>
        <p:nvSpPr>
          <p:cNvPr id="9" name="TextBox 8">
            <a:extLst>
              <a:ext uri="{FF2B5EF4-FFF2-40B4-BE49-F238E27FC236}">
                <a16:creationId xmlns:a16="http://schemas.microsoft.com/office/drawing/2014/main" id="{262935B2-451C-48B3-AC33-70AAA841FFC5}"/>
              </a:ext>
            </a:extLst>
          </p:cNvPr>
          <p:cNvSpPr txBox="1"/>
          <p:nvPr/>
        </p:nvSpPr>
        <p:spPr>
          <a:xfrm>
            <a:off x="345715" y="5447466"/>
            <a:ext cx="10852659"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solidFill>
                  <a:schemeClr val="tx2"/>
                </a:solidFill>
              </a:rPr>
              <a:t>KONE Care™ DX is the smartest way to make sure your elevator can move with the times, seamlessly evolving with help of predictive maintenance, connectivity and transparency.</a:t>
            </a:r>
            <a:r>
              <a:rPr lang="en-GB" sz="1600" b="1">
                <a:solidFill>
                  <a:schemeClr val="tx2"/>
                </a:solidFill>
                <a:cs typeface="Arial"/>
              </a:rPr>
              <a:t>​</a:t>
            </a:r>
            <a:endParaRPr lang="en-US" sz="1600" b="1">
              <a:solidFill>
                <a:schemeClr val="tx2"/>
              </a:solidFill>
              <a:cs typeface="Arial"/>
            </a:endParaRPr>
          </a:p>
        </p:txBody>
      </p:sp>
      <p:graphicFrame>
        <p:nvGraphicFramePr>
          <p:cNvPr id="11" name="Table 8">
            <a:extLst>
              <a:ext uri="{FF2B5EF4-FFF2-40B4-BE49-F238E27FC236}">
                <a16:creationId xmlns:a16="http://schemas.microsoft.com/office/drawing/2014/main" id="{7CB93964-B814-9B49-AB85-769CD2C31CB4}"/>
              </a:ext>
            </a:extLst>
          </p:cNvPr>
          <p:cNvGraphicFramePr>
            <a:graphicFrameLocks noGrp="1"/>
          </p:cNvGraphicFramePr>
          <p:nvPr>
            <p:extLst>
              <p:ext uri="{D42A27DB-BD31-4B8C-83A1-F6EECF244321}">
                <p14:modId xmlns:p14="http://schemas.microsoft.com/office/powerpoint/2010/main" val="176359836"/>
              </p:ext>
            </p:extLst>
          </p:nvPr>
        </p:nvGraphicFramePr>
        <p:xfrm>
          <a:off x="396170" y="2103854"/>
          <a:ext cx="11328192" cy="2959007"/>
        </p:xfrm>
        <a:graphic>
          <a:graphicData uri="http://schemas.openxmlformats.org/drawingml/2006/table">
            <a:tbl>
              <a:tblPr firstRow="1" bandRow="1">
                <a:tableStyleId>{5C22544A-7EE6-4342-B048-85BDC9FD1C3A}</a:tableStyleId>
              </a:tblPr>
              <a:tblGrid>
                <a:gridCol w="3776064">
                  <a:extLst>
                    <a:ext uri="{9D8B030D-6E8A-4147-A177-3AD203B41FA5}">
                      <a16:colId xmlns:a16="http://schemas.microsoft.com/office/drawing/2014/main" val="3782341850"/>
                    </a:ext>
                  </a:extLst>
                </a:gridCol>
                <a:gridCol w="3776064">
                  <a:extLst>
                    <a:ext uri="{9D8B030D-6E8A-4147-A177-3AD203B41FA5}">
                      <a16:colId xmlns:a16="http://schemas.microsoft.com/office/drawing/2014/main" val="2048487864"/>
                    </a:ext>
                  </a:extLst>
                </a:gridCol>
                <a:gridCol w="3776064">
                  <a:extLst>
                    <a:ext uri="{9D8B030D-6E8A-4147-A177-3AD203B41FA5}">
                      <a16:colId xmlns:a16="http://schemas.microsoft.com/office/drawing/2014/main" val="1745563806"/>
                    </a:ext>
                  </a:extLst>
                </a:gridCol>
              </a:tblGrid>
              <a:tr h="1278458">
                <a:tc>
                  <a:txBody>
                    <a:bodyPr/>
                    <a:lstStyle/>
                    <a:p>
                      <a:pPr marL="0" marR="0" lvl="0" indent="0" algn="l">
                        <a:lnSpc>
                          <a:spcPct val="100000"/>
                        </a:lnSpc>
                        <a:spcBef>
                          <a:spcPts val="600"/>
                        </a:spcBef>
                        <a:spcAft>
                          <a:spcPts val="0"/>
                        </a:spcAft>
                        <a:buNone/>
                      </a:pPr>
                      <a:r>
                        <a:rPr lang="en-US" sz="1600" b="1" i="0" u="none" strike="noStrike" noProof="0">
                          <a:latin typeface="Arial"/>
                        </a:rPr>
                        <a:t>Did you know that 95% of today's buildings will still be standing by 2050? </a:t>
                      </a:r>
                    </a:p>
                  </a:txBody>
                  <a:tcPr marL="251999" marR="360000" marT="180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lvl="0">
                        <a:buNone/>
                      </a:pPr>
                      <a:r>
                        <a:rPr lang="en-US" sz="1600" b="1" i="0" u="none" strike="noStrike" noProof="0">
                          <a:latin typeface="Arial"/>
                        </a:rPr>
                        <a:t>KONE DX class elevators use the power of connectivity to unlock a world of value </a:t>
                      </a:r>
                      <a:endParaRPr lang="en-US" sz="1600" b="1"/>
                    </a:p>
                  </a:txBody>
                  <a:tcPr marL="251999" marR="360000" marT="180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lvl="0">
                        <a:buNone/>
                      </a:pPr>
                      <a:r>
                        <a:rPr lang="en-US" sz="1600" b="1" i="0" u="none" strike="noStrike" noProof="0">
                          <a:latin typeface="Arial"/>
                        </a:rPr>
                        <a:t>We've pledge to cut emissions in our operations by 50% </a:t>
                      </a:r>
                      <a:br>
                        <a:rPr lang="en-US" sz="1600" b="1" i="0" u="none" strike="noStrike" noProof="0">
                          <a:latin typeface="Arial"/>
                        </a:rPr>
                      </a:br>
                      <a:r>
                        <a:rPr lang="en-US" sz="1600" b="1" i="0" u="none" strike="noStrike" noProof="0">
                          <a:latin typeface="Arial"/>
                        </a:rPr>
                        <a:t>by 2030</a:t>
                      </a:r>
                      <a:endParaRPr lang="en-US" sz="1600" b="1"/>
                    </a:p>
                  </a:txBody>
                  <a:tcPr marL="251999" marR="360000" marT="180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016228724"/>
                  </a:ext>
                </a:extLst>
              </a:tr>
              <a:tr h="1680549">
                <a:tc>
                  <a:txBody>
                    <a:bodyPr/>
                    <a:lstStyle/>
                    <a:p>
                      <a:pPr marL="0" lvl="0" indent="0" algn="l">
                        <a:lnSpc>
                          <a:spcPct val="100000"/>
                        </a:lnSpc>
                        <a:spcBef>
                          <a:spcPts val="600"/>
                        </a:spcBef>
                        <a:spcAft>
                          <a:spcPts val="0"/>
                        </a:spcAft>
                        <a:buNone/>
                      </a:pPr>
                      <a:r>
                        <a:rPr lang="en-US" sz="1600" b="0" i="0" u="none" strike="noStrike" noProof="0">
                          <a:latin typeface="Arial"/>
                        </a:rPr>
                        <a:t>That's why it's so important that building design and technology is both </a:t>
                      </a:r>
                      <a:r>
                        <a:rPr lang="en-US" sz="1600" b="1" i="0" u="none" strike="noStrike" noProof="0">
                          <a:solidFill>
                            <a:schemeClr val="tx2"/>
                          </a:solidFill>
                          <a:latin typeface="Arial"/>
                        </a:rPr>
                        <a:t>sustainable</a:t>
                      </a:r>
                      <a:r>
                        <a:rPr lang="en-US" sz="1600" b="0" i="0" u="none" strike="noStrike" noProof="0">
                          <a:solidFill>
                            <a:schemeClr val="tx2"/>
                          </a:solidFill>
                          <a:latin typeface="Arial"/>
                        </a:rPr>
                        <a:t> </a:t>
                      </a:r>
                      <a:r>
                        <a:rPr lang="en-US" sz="1600" b="0" i="0" u="none" strike="noStrike" noProof="0">
                          <a:latin typeface="Arial"/>
                        </a:rPr>
                        <a:t>–and </a:t>
                      </a:r>
                      <a:r>
                        <a:rPr lang="en-US" sz="1600" b="1" i="0" u="none" strike="noStrike" noProof="0">
                          <a:solidFill>
                            <a:schemeClr val="tx2"/>
                          </a:solidFill>
                          <a:latin typeface="Arial"/>
                        </a:rPr>
                        <a:t>upgradeable</a:t>
                      </a:r>
                      <a:r>
                        <a:rPr lang="en-US" sz="1600" b="0" i="0" u="none" strike="noStrike" noProof="0">
                          <a:latin typeface="Arial"/>
                        </a:rPr>
                        <a:t>.</a:t>
                      </a:r>
                      <a:endParaRPr lang="en-US" sz="1600"/>
                    </a:p>
                  </a:txBody>
                  <a:tcPr marL="251999" marR="360000" marT="180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lvl="0">
                        <a:buNone/>
                      </a:pPr>
                      <a:r>
                        <a:rPr lang="en-US" sz="1600" b="0" i="0" u="none" strike="noStrike" noProof="0">
                          <a:latin typeface="Arial"/>
                        </a:rPr>
                        <a:t>Digital upgrades improve people flow, prolong elevator lifespan and make your building </a:t>
                      </a:r>
                      <a:r>
                        <a:rPr lang="en-US" sz="1600" b="1" i="0" u="none" strike="noStrike" noProof="0">
                          <a:solidFill>
                            <a:schemeClr val="tx2"/>
                          </a:solidFill>
                          <a:latin typeface="Arial"/>
                        </a:rPr>
                        <a:t>smarter</a:t>
                      </a:r>
                      <a:r>
                        <a:rPr lang="en-US" sz="1600" b="0" i="0" u="none" strike="noStrike" noProof="0">
                          <a:latin typeface="Arial"/>
                        </a:rPr>
                        <a:t> and more </a:t>
                      </a:r>
                      <a:r>
                        <a:rPr lang="en-US" sz="1600" b="1" i="0" u="none" strike="noStrike" noProof="0">
                          <a:solidFill>
                            <a:schemeClr val="tx2"/>
                          </a:solidFill>
                          <a:latin typeface="Arial"/>
                        </a:rPr>
                        <a:t>adaptable</a:t>
                      </a:r>
                      <a:r>
                        <a:rPr lang="en-US" sz="1600" b="0" i="0" u="none" strike="noStrike" noProof="0">
                          <a:solidFill>
                            <a:schemeClr val="tx2"/>
                          </a:solidFill>
                          <a:latin typeface="Arial"/>
                        </a:rPr>
                        <a:t>  </a:t>
                      </a:r>
                      <a:endParaRPr lang="en-US" sz="1600">
                        <a:solidFill>
                          <a:schemeClr val="tx2"/>
                        </a:solidFill>
                      </a:endParaRPr>
                    </a:p>
                  </a:txBody>
                  <a:tcPr marL="251999" marR="360000" marT="180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lvl="0" algn="l">
                        <a:lnSpc>
                          <a:spcPct val="100000"/>
                        </a:lnSpc>
                        <a:spcBef>
                          <a:spcPts val="0"/>
                        </a:spcBef>
                        <a:spcAft>
                          <a:spcPts val="0"/>
                        </a:spcAft>
                        <a:buNone/>
                      </a:pPr>
                      <a:r>
                        <a:rPr lang="en-US" sz="1600" b="0" i="0" u="none" strike="noStrike" noProof="0">
                          <a:solidFill>
                            <a:schemeClr val="tx1"/>
                          </a:solidFill>
                          <a:latin typeface="Arial"/>
                        </a:rPr>
                        <a:t>… and while actively working to meet our science-based targets, we're already </a:t>
                      </a:r>
                      <a:r>
                        <a:rPr lang="en-US" sz="1600" b="1" i="0" u="none" strike="noStrike" noProof="0">
                          <a:solidFill>
                            <a:schemeClr val="tx2"/>
                          </a:solidFill>
                          <a:latin typeface="Arial"/>
                        </a:rPr>
                        <a:t>offsetting carbon emissions</a:t>
                      </a:r>
                      <a:r>
                        <a:rPr lang="en-US" sz="1600" b="0" i="0" u="none" strike="noStrike" noProof="0">
                          <a:solidFill>
                            <a:schemeClr val="tx1"/>
                          </a:solidFill>
                          <a:latin typeface="Arial"/>
                        </a:rPr>
                        <a:t> from KONE Care™ DX maintenance</a:t>
                      </a:r>
                      <a:r>
                        <a:rPr lang="en-US" sz="1600" b="1" i="0" u="none" strike="noStrike" noProof="0">
                          <a:solidFill>
                            <a:schemeClr val="tx1"/>
                          </a:solidFill>
                          <a:latin typeface="Arial"/>
                        </a:rPr>
                        <a:t>.</a:t>
                      </a:r>
                      <a:endParaRPr lang="en-GB" sz="1600" b="1" i="0" u="none" strike="noStrike" noProof="0">
                        <a:solidFill>
                          <a:schemeClr val="tx1"/>
                        </a:solidFill>
                        <a:latin typeface="Arial"/>
                      </a:endParaRPr>
                    </a:p>
                  </a:txBody>
                  <a:tcPr marL="251999" marR="360000" marT="18000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35851597"/>
                  </a:ext>
                </a:extLst>
              </a:tr>
            </a:tbl>
          </a:graphicData>
        </a:graphic>
      </p:graphicFrame>
      <p:sp>
        <p:nvSpPr>
          <p:cNvPr id="17" name="Freeform 9">
            <a:hlinkClick r:id="rId2" action="ppaction://hlinksldjump"/>
            <a:extLst>
              <a:ext uri="{FF2B5EF4-FFF2-40B4-BE49-F238E27FC236}">
                <a16:creationId xmlns:a16="http://schemas.microsoft.com/office/drawing/2014/main" id="{10618783-3039-4086-B073-033AEC706810}"/>
              </a:ext>
            </a:extLst>
          </p:cNvPr>
          <p:cNvSpPr>
            <a:spLocks noChangeAspect="1" noEditPoints="1"/>
          </p:cNvSpPr>
          <p:nvPr/>
        </p:nvSpPr>
        <p:spPr bwMode="auto">
          <a:xfrm rot="10800000" flipV="1">
            <a:off x="191181" y="90916"/>
            <a:ext cx="108000" cy="108000"/>
          </a:xfrm>
          <a:custGeom>
            <a:avLst/>
            <a:gdLst>
              <a:gd name="T0" fmla="*/ 1082 w 2142"/>
              <a:gd name="T1" fmla="*/ 1607 h 2142"/>
              <a:gd name="T2" fmla="*/ 990 w 2142"/>
              <a:gd name="T3" fmla="*/ 1578 h 2142"/>
              <a:gd name="T4" fmla="*/ 494 w 2142"/>
              <a:gd name="T5" fmla="*/ 1025 h 2142"/>
              <a:gd name="T6" fmla="*/ 999 w 2142"/>
              <a:gd name="T7" fmla="*/ 1002 h 2142"/>
              <a:gd name="T8" fmla="*/ 1060 w 2142"/>
              <a:gd name="T9" fmla="*/ 534 h 2142"/>
              <a:gd name="T10" fmla="*/ 1153 w 2142"/>
              <a:gd name="T11" fmla="*/ 564 h 2142"/>
              <a:gd name="T12" fmla="*/ 1666 w 2142"/>
              <a:gd name="T13" fmla="*/ 1064 h 2142"/>
              <a:gd name="T14" fmla="*/ 1641 w 2142"/>
              <a:gd name="T15" fmla="*/ 1124 h 2142"/>
              <a:gd name="T16" fmla="*/ 539 w 2142"/>
              <a:gd name="T17" fmla="*/ 1140 h 2142"/>
              <a:gd name="T18" fmla="*/ 488 w 2142"/>
              <a:gd name="T19" fmla="*/ 1109 h 2142"/>
              <a:gd name="T20" fmla="*/ 988 w 2142"/>
              <a:gd name="T21" fmla="*/ 2139 h 2142"/>
              <a:gd name="T22" fmla="*/ 728 w 2142"/>
              <a:gd name="T23" fmla="*/ 2086 h 2142"/>
              <a:gd name="T24" fmla="*/ 494 w 2142"/>
              <a:gd name="T25" fmla="*/ 1973 h 2142"/>
              <a:gd name="T26" fmla="*/ 296 w 2142"/>
              <a:gd name="T27" fmla="*/ 1810 h 2142"/>
              <a:gd name="T28" fmla="*/ 142 w 2142"/>
              <a:gd name="T29" fmla="*/ 1604 h 2142"/>
              <a:gd name="T30" fmla="*/ 41 w 2142"/>
              <a:gd name="T31" fmla="*/ 1364 h 2142"/>
              <a:gd name="T32" fmla="*/ 0 w 2142"/>
              <a:gd name="T33" fmla="*/ 1098 h 2142"/>
              <a:gd name="T34" fmla="*/ 27 w 2142"/>
              <a:gd name="T35" fmla="*/ 829 h 2142"/>
              <a:gd name="T36" fmla="*/ 117 w 2142"/>
              <a:gd name="T37" fmla="*/ 584 h 2142"/>
              <a:gd name="T38" fmla="*/ 261 w 2142"/>
              <a:gd name="T39" fmla="*/ 370 h 2142"/>
              <a:gd name="T40" fmla="*/ 452 w 2142"/>
              <a:gd name="T41" fmla="*/ 198 h 2142"/>
              <a:gd name="T42" fmla="*/ 679 w 2142"/>
              <a:gd name="T43" fmla="*/ 74 h 2142"/>
              <a:gd name="T44" fmla="*/ 936 w 2142"/>
              <a:gd name="T45" fmla="*/ 8 h 2142"/>
              <a:gd name="T46" fmla="*/ 1208 w 2142"/>
              <a:gd name="T47" fmla="*/ 8 h 2142"/>
              <a:gd name="T48" fmla="*/ 1463 w 2142"/>
              <a:gd name="T49" fmla="*/ 74 h 2142"/>
              <a:gd name="T50" fmla="*/ 1691 w 2142"/>
              <a:gd name="T51" fmla="*/ 198 h 2142"/>
              <a:gd name="T52" fmla="*/ 1881 w 2142"/>
              <a:gd name="T53" fmla="*/ 370 h 2142"/>
              <a:gd name="T54" fmla="*/ 2025 w 2142"/>
              <a:gd name="T55" fmla="*/ 584 h 2142"/>
              <a:gd name="T56" fmla="*/ 2115 w 2142"/>
              <a:gd name="T57" fmla="*/ 829 h 2142"/>
              <a:gd name="T58" fmla="*/ 2142 w 2142"/>
              <a:gd name="T59" fmla="*/ 1098 h 2142"/>
              <a:gd name="T60" fmla="*/ 2101 w 2142"/>
              <a:gd name="T61" fmla="*/ 1364 h 2142"/>
              <a:gd name="T62" fmla="*/ 2000 w 2142"/>
              <a:gd name="T63" fmla="*/ 1604 h 2142"/>
              <a:gd name="T64" fmla="*/ 1846 w 2142"/>
              <a:gd name="T65" fmla="*/ 1810 h 2142"/>
              <a:gd name="T66" fmla="*/ 1648 w 2142"/>
              <a:gd name="T67" fmla="*/ 1973 h 2142"/>
              <a:gd name="T68" fmla="*/ 1414 w 2142"/>
              <a:gd name="T69" fmla="*/ 2086 h 2142"/>
              <a:gd name="T70" fmla="*/ 1154 w 2142"/>
              <a:gd name="T71" fmla="*/ 2139 h 2142"/>
              <a:gd name="T72" fmla="*/ 924 w 2142"/>
              <a:gd name="T73" fmla="*/ 113 h 2142"/>
              <a:gd name="T74" fmla="*/ 695 w 2142"/>
              <a:gd name="T75" fmla="*/ 179 h 2142"/>
              <a:gd name="T76" fmla="*/ 492 w 2142"/>
              <a:gd name="T77" fmla="*/ 296 h 2142"/>
              <a:gd name="T78" fmla="*/ 324 w 2142"/>
              <a:gd name="T79" fmla="*/ 456 h 2142"/>
              <a:gd name="T80" fmla="*/ 200 w 2142"/>
              <a:gd name="T81" fmla="*/ 652 h 2142"/>
              <a:gd name="T82" fmla="*/ 123 w 2142"/>
              <a:gd name="T83" fmla="*/ 876 h 2142"/>
              <a:gd name="T84" fmla="*/ 105 w 2142"/>
              <a:gd name="T85" fmla="*/ 1121 h 2142"/>
              <a:gd name="T86" fmla="*/ 147 w 2142"/>
              <a:gd name="T87" fmla="*/ 1358 h 2142"/>
              <a:gd name="T88" fmla="*/ 243 w 2142"/>
              <a:gd name="T89" fmla="*/ 1572 h 2142"/>
              <a:gd name="T90" fmla="*/ 388 w 2142"/>
              <a:gd name="T91" fmla="*/ 1755 h 2142"/>
              <a:gd name="T92" fmla="*/ 570 w 2142"/>
              <a:gd name="T93" fmla="*/ 1899 h 2142"/>
              <a:gd name="T94" fmla="*/ 784 w 2142"/>
              <a:gd name="T95" fmla="*/ 1996 h 2142"/>
              <a:gd name="T96" fmla="*/ 1021 w 2142"/>
              <a:gd name="T97" fmla="*/ 2037 h 2142"/>
              <a:gd name="T98" fmla="*/ 1266 w 2142"/>
              <a:gd name="T99" fmla="*/ 2019 h 2142"/>
              <a:gd name="T100" fmla="*/ 1490 w 2142"/>
              <a:gd name="T101" fmla="*/ 1943 h 2142"/>
              <a:gd name="T102" fmla="*/ 1686 w 2142"/>
              <a:gd name="T103" fmla="*/ 1818 h 2142"/>
              <a:gd name="T104" fmla="*/ 1846 w 2142"/>
              <a:gd name="T105" fmla="*/ 1650 h 2142"/>
              <a:gd name="T106" fmla="*/ 1963 w 2142"/>
              <a:gd name="T107" fmla="*/ 1447 h 2142"/>
              <a:gd name="T108" fmla="*/ 2028 w 2142"/>
              <a:gd name="T109" fmla="*/ 1218 h 2142"/>
              <a:gd name="T110" fmla="*/ 2034 w 2142"/>
              <a:gd name="T111" fmla="*/ 972 h 2142"/>
              <a:gd name="T112" fmla="*/ 1980 w 2142"/>
              <a:gd name="T113" fmla="*/ 738 h 2142"/>
              <a:gd name="T114" fmla="*/ 1873 w 2142"/>
              <a:gd name="T115" fmla="*/ 530 h 2142"/>
              <a:gd name="T116" fmla="*/ 1721 w 2142"/>
              <a:gd name="T117" fmla="*/ 354 h 2142"/>
              <a:gd name="T118" fmla="*/ 1532 w 2142"/>
              <a:gd name="T119" fmla="*/ 219 h 2142"/>
              <a:gd name="T120" fmla="*/ 1313 w 2142"/>
              <a:gd name="T121" fmla="*/ 134 h 2142"/>
              <a:gd name="T122" fmla="*/ 1072 w 2142"/>
              <a:gd name="T123" fmla="*/ 103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2" h="2142">
                <a:moveTo>
                  <a:pt x="1372" y="1210"/>
                </a:moveTo>
                <a:lnTo>
                  <a:pt x="1565" y="1210"/>
                </a:lnTo>
                <a:lnTo>
                  <a:pt x="1153" y="1578"/>
                </a:lnTo>
                <a:lnTo>
                  <a:pt x="1144" y="1585"/>
                </a:lnTo>
                <a:lnTo>
                  <a:pt x="1135" y="1590"/>
                </a:lnTo>
                <a:lnTo>
                  <a:pt x="1125" y="1596"/>
                </a:lnTo>
                <a:lnTo>
                  <a:pt x="1114" y="1601"/>
                </a:lnTo>
                <a:lnTo>
                  <a:pt x="1104" y="1604"/>
                </a:lnTo>
                <a:lnTo>
                  <a:pt x="1093" y="1606"/>
                </a:lnTo>
                <a:lnTo>
                  <a:pt x="1082" y="1607"/>
                </a:lnTo>
                <a:lnTo>
                  <a:pt x="1072" y="1608"/>
                </a:lnTo>
                <a:lnTo>
                  <a:pt x="1060" y="1607"/>
                </a:lnTo>
                <a:lnTo>
                  <a:pt x="1049" y="1606"/>
                </a:lnTo>
                <a:lnTo>
                  <a:pt x="1039" y="1604"/>
                </a:lnTo>
                <a:lnTo>
                  <a:pt x="1033" y="1603"/>
                </a:lnTo>
                <a:lnTo>
                  <a:pt x="1028" y="1601"/>
                </a:lnTo>
                <a:lnTo>
                  <a:pt x="1018" y="1596"/>
                </a:lnTo>
                <a:lnTo>
                  <a:pt x="1009" y="1590"/>
                </a:lnTo>
                <a:lnTo>
                  <a:pt x="999" y="1585"/>
                </a:lnTo>
                <a:lnTo>
                  <a:pt x="990" y="1578"/>
                </a:lnTo>
                <a:lnTo>
                  <a:pt x="975" y="1564"/>
                </a:lnTo>
                <a:lnTo>
                  <a:pt x="1372" y="1210"/>
                </a:lnTo>
                <a:close/>
                <a:moveTo>
                  <a:pt x="476" y="1070"/>
                </a:moveTo>
                <a:lnTo>
                  <a:pt x="478" y="1064"/>
                </a:lnTo>
                <a:lnTo>
                  <a:pt x="479" y="1056"/>
                </a:lnTo>
                <a:lnTo>
                  <a:pt x="481" y="1049"/>
                </a:lnTo>
                <a:lnTo>
                  <a:pt x="484" y="1042"/>
                </a:lnTo>
                <a:lnTo>
                  <a:pt x="487" y="1035"/>
                </a:lnTo>
                <a:lnTo>
                  <a:pt x="491" y="1030"/>
                </a:lnTo>
                <a:lnTo>
                  <a:pt x="494" y="1025"/>
                </a:lnTo>
                <a:lnTo>
                  <a:pt x="499" y="1020"/>
                </a:lnTo>
                <a:lnTo>
                  <a:pt x="505" y="1016"/>
                </a:lnTo>
                <a:lnTo>
                  <a:pt x="509" y="1012"/>
                </a:lnTo>
                <a:lnTo>
                  <a:pt x="515" y="1008"/>
                </a:lnTo>
                <a:lnTo>
                  <a:pt x="520" y="1006"/>
                </a:lnTo>
                <a:lnTo>
                  <a:pt x="527" y="1004"/>
                </a:lnTo>
                <a:lnTo>
                  <a:pt x="533" y="1003"/>
                </a:lnTo>
                <a:lnTo>
                  <a:pt x="539" y="1002"/>
                </a:lnTo>
                <a:lnTo>
                  <a:pt x="546" y="1002"/>
                </a:lnTo>
                <a:lnTo>
                  <a:pt x="999" y="1002"/>
                </a:lnTo>
                <a:lnTo>
                  <a:pt x="1451" y="1002"/>
                </a:lnTo>
                <a:lnTo>
                  <a:pt x="975" y="577"/>
                </a:lnTo>
                <a:lnTo>
                  <a:pt x="990" y="564"/>
                </a:lnTo>
                <a:lnTo>
                  <a:pt x="999" y="557"/>
                </a:lnTo>
                <a:lnTo>
                  <a:pt x="1009" y="550"/>
                </a:lnTo>
                <a:lnTo>
                  <a:pt x="1018" y="546"/>
                </a:lnTo>
                <a:lnTo>
                  <a:pt x="1028" y="541"/>
                </a:lnTo>
                <a:lnTo>
                  <a:pt x="1039" y="538"/>
                </a:lnTo>
                <a:lnTo>
                  <a:pt x="1049" y="536"/>
                </a:lnTo>
                <a:lnTo>
                  <a:pt x="1060" y="534"/>
                </a:lnTo>
                <a:lnTo>
                  <a:pt x="1072" y="533"/>
                </a:lnTo>
                <a:lnTo>
                  <a:pt x="1082" y="534"/>
                </a:lnTo>
                <a:lnTo>
                  <a:pt x="1093" y="536"/>
                </a:lnTo>
                <a:lnTo>
                  <a:pt x="1104" y="538"/>
                </a:lnTo>
                <a:lnTo>
                  <a:pt x="1109" y="539"/>
                </a:lnTo>
                <a:lnTo>
                  <a:pt x="1114" y="541"/>
                </a:lnTo>
                <a:lnTo>
                  <a:pt x="1125" y="546"/>
                </a:lnTo>
                <a:lnTo>
                  <a:pt x="1135" y="550"/>
                </a:lnTo>
                <a:lnTo>
                  <a:pt x="1144" y="557"/>
                </a:lnTo>
                <a:lnTo>
                  <a:pt x="1153" y="564"/>
                </a:lnTo>
                <a:lnTo>
                  <a:pt x="1629" y="988"/>
                </a:lnTo>
                <a:lnTo>
                  <a:pt x="1637" y="996"/>
                </a:lnTo>
                <a:lnTo>
                  <a:pt x="1643" y="1004"/>
                </a:lnTo>
                <a:lnTo>
                  <a:pt x="1650" y="1013"/>
                </a:lnTo>
                <a:lnTo>
                  <a:pt x="1655" y="1023"/>
                </a:lnTo>
                <a:lnTo>
                  <a:pt x="1657" y="1028"/>
                </a:lnTo>
                <a:lnTo>
                  <a:pt x="1659" y="1032"/>
                </a:lnTo>
                <a:lnTo>
                  <a:pt x="1662" y="1042"/>
                </a:lnTo>
                <a:lnTo>
                  <a:pt x="1665" y="1053"/>
                </a:lnTo>
                <a:lnTo>
                  <a:pt x="1666" y="1064"/>
                </a:lnTo>
                <a:lnTo>
                  <a:pt x="1666" y="1071"/>
                </a:lnTo>
                <a:lnTo>
                  <a:pt x="1665" y="1080"/>
                </a:lnTo>
                <a:lnTo>
                  <a:pt x="1664" y="1087"/>
                </a:lnTo>
                <a:lnTo>
                  <a:pt x="1661" y="1095"/>
                </a:lnTo>
                <a:lnTo>
                  <a:pt x="1658" y="1102"/>
                </a:lnTo>
                <a:lnTo>
                  <a:pt x="1655" y="1109"/>
                </a:lnTo>
                <a:lnTo>
                  <a:pt x="1650" y="1114"/>
                </a:lnTo>
                <a:lnTo>
                  <a:pt x="1646" y="1120"/>
                </a:lnTo>
                <a:lnTo>
                  <a:pt x="1643" y="1122"/>
                </a:lnTo>
                <a:lnTo>
                  <a:pt x="1641" y="1124"/>
                </a:lnTo>
                <a:lnTo>
                  <a:pt x="1635" y="1129"/>
                </a:lnTo>
                <a:lnTo>
                  <a:pt x="1630" y="1132"/>
                </a:lnTo>
                <a:lnTo>
                  <a:pt x="1624" y="1136"/>
                </a:lnTo>
                <a:lnTo>
                  <a:pt x="1617" y="1138"/>
                </a:lnTo>
                <a:lnTo>
                  <a:pt x="1611" y="1139"/>
                </a:lnTo>
                <a:lnTo>
                  <a:pt x="1604" y="1140"/>
                </a:lnTo>
                <a:lnTo>
                  <a:pt x="1596" y="1141"/>
                </a:lnTo>
                <a:lnTo>
                  <a:pt x="1071" y="1141"/>
                </a:lnTo>
                <a:lnTo>
                  <a:pt x="546" y="1141"/>
                </a:lnTo>
                <a:lnTo>
                  <a:pt x="539" y="1140"/>
                </a:lnTo>
                <a:lnTo>
                  <a:pt x="533" y="1139"/>
                </a:lnTo>
                <a:lnTo>
                  <a:pt x="527" y="1138"/>
                </a:lnTo>
                <a:lnTo>
                  <a:pt x="520" y="1136"/>
                </a:lnTo>
                <a:lnTo>
                  <a:pt x="515" y="1133"/>
                </a:lnTo>
                <a:lnTo>
                  <a:pt x="509" y="1130"/>
                </a:lnTo>
                <a:lnTo>
                  <a:pt x="505" y="1127"/>
                </a:lnTo>
                <a:lnTo>
                  <a:pt x="499" y="1122"/>
                </a:lnTo>
                <a:lnTo>
                  <a:pt x="494" y="1118"/>
                </a:lnTo>
                <a:lnTo>
                  <a:pt x="491" y="1113"/>
                </a:lnTo>
                <a:lnTo>
                  <a:pt x="488" y="1109"/>
                </a:lnTo>
                <a:lnTo>
                  <a:pt x="484" y="1103"/>
                </a:lnTo>
                <a:lnTo>
                  <a:pt x="481" y="1097"/>
                </a:lnTo>
                <a:lnTo>
                  <a:pt x="480" y="1091"/>
                </a:lnTo>
                <a:lnTo>
                  <a:pt x="478" y="1085"/>
                </a:lnTo>
                <a:lnTo>
                  <a:pt x="476" y="1078"/>
                </a:lnTo>
                <a:lnTo>
                  <a:pt x="476" y="1070"/>
                </a:lnTo>
                <a:close/>
                <a:moveTo>
                  <a:pt x="1072" y="2142"/>
                </a:moveTo>
                <a:lnTo>
                  <a:pt x="1044" y="2142"/>
                </a:lnTo>
                <a:lnTo>
                  <a:pt x="1017" y="2141"/>
                </a:lnTo>
                <a:lnTo>
                  <a:pt x="988" y="2139"/>
                </a:lnTo>
                <a:lnTo>
                  <a:pt x="961" y="2136"/>
                </a:lnTo>
                <a:lnTo>
                  <a:pt x="936" y="2133"/>
                </a:lnTo>
                <a:lnTo>
                  <a:pt x="909" y="2130"/>
                </a:lnTo>
                <a:lnTo>
                  <a:pt x="882" y="2125"/>
                </a:lnTo>
                <a:lnTo>
                  <a:pt x="856" y="2121"/>
                </a:lnTo>
                <a:lnTo>
                  <a:pt x="830" y="2115"/>
                </a:lnTo>
                <a:lnTo>
                  <a:pt x="804" y="2108"/>
                </a:lnTo>
                <a:lnTo>
                  <a:pt x="778" y="2101"/>
                </a:lnTo>
                <a:lnTo>
                  <a:pt x="753" y="2094"/>
                </a:lnTo>
                <a:lnTo>
                  <a:pt x="728" y="2086"/>
                </a:lnTo>
                <a:lnTo>
                  <a:pt x="704" y="2077"/>
                </a:lnTo>
                <a:lnTo>
                  <a:pt x="679" y="2068"/>
                </a:lnTo>
                <a:lnTo>
                  <a:pt x="654" y="2058"/>
                </a:lnTo>
                <a:lnTo>
                  <a:pt x="631" y="2047"/>
                </a:lnTo>
                <a:lnTo>
                  <a:pt x="607" y="2036"/>
                </a:lnTo>
                <a:lnTo>
                  <a:pt x="584" y="2025"/>
                </a:lnTo>
                <a:lnTo>
                  <a:pt x="561" y="2013"/>
                </a:lnTo>
                <a:lnTo>
                  <a:pt x="538" y="2000"/>
                </a:lnTo>
                <a:lnTo>
                  <a:pt x="516" y="1987"/>
                </a:lnTo>
                <a:lnTo>
                  <a:pt x="494" y="1973"/>
                </a:lnTo>
                <a:lnTo>
                  <a:pt x="473" y="1959"/>
                </a:lnTo>
                <a:lnTo>
                  <a:pt x="452" y="1944"/>
                </a:lnTo>
                <a:lnTo>
                  <a:pt x="431" y="1929"/>
                </a:lnTo>
                <a:lnTo>
                  <a:pt x="410" y="1913"/>
                </a:lnTo>
                <a:lnTo>
                  <a:pt x="391" y="1898"/>
                </a:lnTo>
                <a:lnTo>
                  <a:pt x="371" y="1881"/>
                </a:lnTo>
                <a:lnTo>
                  <a:pt x="351" y="1864"/>
                </a:lnTo>
                <a:lnTo>
                  <a:pt x="332" y="1846"/>
                </a:lnTo>
                <a:lnTo>
                  <a:pt x="314" y="1828"/>
                </a:lnTo>
                <a:lnTo>
                  <a:pt x="296" y="1810"/>
                </a:lnTo>
                <a:lnTo>
                  <a:pt x="278" y="1791"/>
                </a:lnTo>
                <a:lnTo>
                  <a:pt x="261" y="1772"/>
                </a:lnTo>
                <a:lnTo>
                  <a:pt x="245" y="1751"/>
                </a:lnTo>
                <a:lnTo>
                  <a:pt x="229" y="1732"/>
                </a:lnTo>
                <a:lnTo>
                  <a:pt x="213" y="1712"/>
                </a:lnTo>
                <a:lnTo>
                  <a:pt x="198" y="1691"/>
                </a:lnTo>
                <a:lnTo>
                  <a:pt x="184" y="1669"/>
                </a:lnTo>
                <a:lnTo>
                  <a:pt x="169" y="1648"/>
                </a:lnTo>
                <a:lnTo>
                  <a:pt x="156" y="1626"/>
                </a:lnTo>
                <a:lnTo>
                  <a:pt x="142" y="1604"/>
                </a:lnTo>
                <a:lnTo>
                  <a:pt x="130" y="1581"/>
                </a:lnTo>
                <a:lnTo>
                  <a:pt x="117" y="1558"/>
                </a:lnTo>
                <a:lnTo>
                  <a:pt x="106" y="1535"/>
                </a:lnTo>
                <a:lnTo>
                  <a:pt x="95" y="1512"/>
                </a:lnTo>
                <a:lnTo>
                  <a:pt x="85" y="1488"/>
                </a:lnTo>
                <a:lnTo>
                  <a:pt x="75" y="1463"/>
                </a:lnTo>
                <a:lnTo>
                  <a:pt x="66" y="1438"/>
                </a:lnTo>
                <a:lnTo>
                  <a:pt x="57" y="1414"/>
                </a:lnTo>
                <a:lnTo>
                  <a:pt x="49" y="1389"/>
                </a:lnTo>
                <a:lnTo>
                  <a:pt x="41" y="1364"/>
                </a:lnTo>
                <a:lnTo>
                  <a:pt x="34" y="1338"/>
                </a:lnTo>
                <a:lnTo>
                  <a:pt x="27" y="1312"/>
                </a:lnTo>
                <a:lnTo>
                  <a:pt x="22" y="1286"/>
                </a:lnTo>
                <a:lnTo>
                  <a:pt x="17" y="1261"/>
                </a:lnTo>
                <a:lnTo>
                  <a:pt x="13" y="1234"/>
                </a:lnTo>
                <a:lnTo>
                  <a:pt x="9" y="1208"/>
                </a:lnTo>
                <a:lnTo>
                  <a:pt x="6" y="1181"/>
                </a:lnTo>
                <a:lnTo>
                  <a:pt x="4" y="1154"/>
                </a:lnTo>
                <a:lnTo>
                  <a:pt x="2" y="1125"/>
                </a:lnTo>
                <a:lnTo>
                  <a:pt x="0" y="1098"/>
                </a:lnTo>
                <a:lnTo>
                  <a:pt x="0" y="1070"/>
                </a:lnTo>
                <a:lnTo>
                  <a:pt x="0" y="1043"/>
                </a:lnTo>
                <a:lnTo>
                  <a:pt x="2" y="1016"/>
                </a:lnTo>
                <a:lnTo>
                  <a:pt x="4" y="988"/>
                </a:lnTo>
                <a:lnTo>
                  <a:pt x="6" y="961"/>
                </a:lnTo>
                <a:lnTo>
                  <a:pt x="9" y="934"/>
                </a:lnTo>
                <a:lnTo>
                  <a:pt x="13" y="908"/>
                </a:lnTo>
                <a:lnTo>
                  <a:pt x="17" y="881"/>
                </a:lnTo>
                <a:lnTo>
                  <a:pt x="22" y="855"/>
                </a:lnTo>
                <a:lnTo>
                  <a:pt x="27" y="829"/>
                </a:lnTo>
                <a:lnTo>
                  <a:pt x="34" y="803"/>
                </a:lnTo>
                <a:lnTo>
                  <a:pt x="41" y="778"/>
                </a:lnTo>
                <a:lnTo>
                  <a:pt x="49" y="753"/>
                </a:lnTo>
                <a:lnTo>
                  <a:pt x="57" y="728"/>
                </a:lnTo>
                <a:lnTo>
                  <a:pt x="66" y="703"/>
                </a:lnTo>
                <a:lnTo>
                  <a:pt x="75" y="679"/>
                </a:lnTo>
                <a:lnTo>
                  <a:pt x="85" y="654"/>
                </a:lnTo>
                <a:lnTo>
                  <a:pt x="95" y="630"/>
                </a:lnTo>
                <a:lnTo>
                  <a:pt x="106" y="606"/>
                </a:lnTo>
                <a:lnTo>
                  <a:pt x="117" y="584"/>
                </a:lnTo>
                <a:lnTo>
                  <a:pt x="130" y="560"/>
                </a:lnTo>
                <a:lnTo>
                  <a:pt x="142" y="538"/>
                </a:lnTo>
                <a:lnTo>
                  <a:pt x="156" y="515"/>
                </a:lnTo>
                <a:lnTo>
                  <a:pt x="169" y="494"/>
                </a:lnTo>
                <a:lnTo>
                  <a:pt x="184" y="473"/>
                </a:lnTo>
                <a:lnTo>
                  <a:pt x="198" y="451"/>
                </a:lnTo>
                <a:lnTo>
                  <a:pt x="213" y="430"/>
                </a:lnTo>
                <a:lnTo>
                  <a:pt x="229" y="409"/>
                </a:lnTo>
                <a:lnTo>
                  <a:pt x="245" y="389"/>
                </a:lnTo>
                <a:lnTo>
                  <a:pt x="261" y="370"/>
                </a:lnTo>
                <a:lnTo>
                  <a:pt x="278" y="351"/>
                </a:lnTo>
                <a:lnTo>
                  <a:pt x="296" y="332"/>
                </a:lnTo>
                <a:lnTo>
                  <a:pt x="314" y="314"/>
                </a:lnTo>
                <a:lnTo>
                  <a:pt x="332" y="296"/>
                </a:lnTo>
                <a:lnTo>
                  <a:pt x="351" y="278"/>
                </a:lnTo>
                <a:lnTo>
                  <a:pt x="371" y="261"/>
                </a:lnTo>
                <a:lnTo>
                  <a:pt x="391" y="244"/>
                </a:lnTo>
                <a:lnTo>
                  <a:pt x="410" y="228"/>
                </a:lnTo>
                <a:lnTo>
                  <a:pt x="431" y="212"/>
                </a:lnTo>
                <a:lnTo>
                  <a:pt x="452" y="198"/>
                </a:lnTo>
                <a:lnTo>
                  <a:pt x="473" y="183"/>
                </a:lnTo>
                <a:lnTo>
                  <a:pt x="494" y="169"/>
                </a:lnTo>
                <a:lnTo>
                  <a:pt x="516" y="155"/>
                </a:lnTo>
                <a:lnTo>
                  <a:pt x="538" y="142"/>
                </a:lnTo>
                <a:lnTo>
                  <a:pt x="561" y="129"/>
                </a:lnTo>
                <a:lnTo>
                  <a:pt x="584" y="117"/>
                </a:lnTo>
                <a:lnTo>
                  <a:pt x="607" y="106"/>
                </a:lnTo>
                <a:lnTo>
                  <a:pt x="631" y="94"/>
                </a:lnTo>
                <a:lnTo>
                  <a:pt x="654" y="84"/>
                </a:lnTo>
                <a:lnTo>
                  <a:pt x="679" y="74"/>
                </a:lnTo>
                <a:lnTo>
                  <a:pt x="704" y="65"/>
                </a:lnTo>
                <a:lnTo>
                  <a:pt x="728" y="56"/>
                </a:lnTo>
                <a:lnTo>
                  <a:pt x="753" y="48"/>
                </a:lnTo>
                <a:lnTo>
                  <a:pt x="778" y="40"/>
                </a:lnTo>
                <a:lnTo>
                  <a:pt x="804" y="33"/>
                </a:lnTo>
                <a:lnTo>
                  <a:pt x="830" y="27"/>
                </a:lnTo>
                <a:lnTo>
                  <a:pt x="856" y="21"/>
                </a:lnTo>
                <a:lnTo>
                  <a:pt x="882" y="17"/>
                </a:lnTo>
                <a:lnTo>
                  <a:pt x="909" y="12"/>
                </a:lnTo>
                <a:lnTo>
                  <a:pt x="936" y="8"/>
                </a:lnTo>
                <a:lnTo>
                  <a:pt x="961" y="5"/>
                </a:lnTo>
                <a:lnTo>
                  <a:pt x="988" y="3"/>
                </a:lnTo>
                <a:lnTo>
                  <a:pt x="1017" y="1"/>
                </a:lnTo>
                <a:lnTo>
                  <a:pt x="1044" y="0"/>
                </a:lnTo>
                <a:lnTo>
                  <a:pt x="1072" y="0"/>
                </a:lnTo>
                <a:lnTo>
                  <a:pt x="1099" y="0"/>
                </a:lnTo>
                <a:lnTo>
                  <a:pt x="1126" y="1"/>
                </a:lnTo>
                <a:lnTo>
                  <a:pt x="1154" y="3"/>
                </a:lnTo>
                <a:lnTo>
                  <a:pt x="1181" y="5"/>
                </a:lnTo>
                <a:lnTo>
                  <a:pt x="1208" y="8"/>
                </a:lnTo>
                <a:lnTo>
                  <a:pt x="1234" y="12"/>
                </a:lnTo>
                <a:lnTo>
                  <a:pt x="1261" y="17"/>
                </a:lnTo>
                <a:lnTo>
                  <a:pt x="1287" y="21"/>
                </a:lnTo>
                <a:lnTo>
                  <a:pt x="1313" y="27"/>
                </a:lnTo>
                <a:lnTo>
                  <a:pt x="1338" y="33"/>
                </a:lnTo>
                <a:lnTo>
                  <a:pt x="1364" y="40"/>
                </a:lnTo>
                <a:lnTo>
                  <a:pt x="1389" y="48"/>
                </a:lnTo>
                <a:lnTo>
                  <a:pt x="1414" y="56"/>
                </a:lnTo>
                <a:lnTo>
                  <a:pt x="1439" y="65"/>
                </a:lnTo>
                <a:lnTo>
                  <a:pt x="1463" y="74"/>
                </a:lnTo>
                <a:lnTo>
                  <a:pt x="1488" y="84"/>
                </a:lnTo>
                <a:lnTo>
                  <a:pt x="1512" y="94"/>
                </a:lnTo>
                <a:lnTo>
                  <a:pt x="1535" y="106"/>
                </a:lnTo>
                <a:lnTo>
                  <a:pt x="1558" y="117"/>
                </a:lnTo>
                <a:lnTo>
                  <a:pt x="1581" y="129"/>
                </a:lnTo>
                <a:lnTo>
                  <a:pt x="1604" y="142"/>
                </a:lnTo>
                <a:lnTo>
                  <a:pt x="1626" y="155"/>
                </a:lnTo>
                <a:lnTo>
                  <a:pt x="1648" y="169"/>
                </a:lnTo>
                <a:lnTo>
                  <a:pt x="1669" y="183"/>
                </a:lnTo>
                <a:lnTo>
                  <a:pt x="1691" y="198"/>
                </a:lnTo>
                <a:lnTo>
                  <a:pt x="1712" y="212"/>
                </a:lnTo>
                <a:lnTo>
                  <a:pt x="1732" y="228"/>
                </a:lnTo>
                <a:lnTo>
                  <a:pt x="1753" y="244"/>
                </a:lnTo>
                <a:lnTo>
                  <a:pt x="1772" y="261"/>
                </a:lnTo>
                <a:lnTo>
                  <a:pt x="1791" y="278"/>
                </a:lnTo>
                <a:lnTo>
                  <a:pt x="1810" y="296"/>
                </a:lnTo>
                <a:lnTo>
                  <a:pt x="1828" y="314"/>
                </a:lnTo>
                <a:lnTo>
                  <a:pt x="1846" y="332"/>
                </a:lnTo>
                <a:lnTo>
                  <a:pt x="1864" y="351"/>
                </a:lnTo>
                <a:lnTo>
                  <a:pt x="1881" y="370"/>
                </a:lnTo>
                <a:lnTo>
                  <a:pt x="1898" y="389"/>
                </a:lnTo>
                <a:lnTo>
                  <a:pt x="1913" y="409"/>
                </a:lnTo>
                <a:lnTo>
                  <a:pt x="1929" y="430"/>
                </a:lnTo>
                <a:lnTo>
                  <a:pt x="1944" y="451"/>
                </a:lnTo>
                <a:lnTo>
                  <a:pt x="1958" y="473"/>
                </a:lnTo>
                <a:lnTo>
                  <a:pt x="1973" y="494"/>
                </a:lnTo>
                <a:lnTo>
                  <a:pt x="1987" y="515"/>
                </a:lnTo>
                <a:lnTo>
                  <a:pt x="2000" y="538"/>
                </a:lnTo>
                <a:lnTo>
                  <a:pt x="2012" y="560"/>
                </a:lnTo>
                <a:lnTo>
                  <a:pt x="2025" y="584"/>
                </a:lnTo>
                <a:lnTo>
                  <a:pt x="2036" y="606"/>
                </a:lnTo>
                <a:lnTo>
                  <a:pt x="2047" y="630"/>
                </a:lnTo>
                <a:lnTo>
                  <a:pt x="2057" y="654"/>
                </a:lnTo>
                <a:lnTo>
                  <a:pt x="2068" y="679"/>
                </a:lnTo>
                <a:lnTo>
                  <a:pt x="2077" y="703"/>
                </a:lnTo>
                <a:lnTo>
                  <a:pt x="2086" y="728"/>
                </a:lnTo>
                <a:lnTo>
                  <a:pt x="2093" y="753"/>
                </a:lnTo>
                <a:lnTo>
                  <a:pt x="2101" y="778"/>
                </a:lnTo>
                <a:lnTo>
                  <a:pt x="2108" y="803"/>
                </a:lnTo>
                <a:lnTo>
                  <a:pt x="2115" y="829"/>
                </a:lnTo>
                <a:lnTo>
                  <a:pt x="2121" y="855"/>
                </a:lnTo>
                <a:lnTo>
                  <a:pt x="2125" y="881"/>
                </a:lnTo>
                <a:lnTo>
                  <a:pt x="2130" y="908"/>
                </a:lnTo>
                <a:lnTo>
                  <a:pt x="2134" y="934"/>
                </a:lnTo>
                <a:lnTo>
                  <a:pt x="2136" y="961"/>
                </a:lnTo>
                <a:lnTo>
                  <a:pt x="2139" y="988"/>
                </a:lnTo>
                <a:lnTo>
                  <a:pt x="2141" y="1016"/>
                </a:lnTo>
                <a:lnTo>
                  <a:pt x="2142" y="1043"/>
                </a:lnTo>
                <a:lnTo>
                  <a:pt x="2142" y="1070"/>
                </a:lnTo>
                <a:lnTo>
                  <a:pt x="2142" y="1098"/>
                </a:lnTo>
                <a:lnTo>
                  <a:pt x="2141" y="1125"/>
                </a:lnTo>
                <a:lnTo>
                  <a:pt x="2139" y="1154"/>
                </a:lnTo>
                <a:lnTo>
                  <a:pt x="2136" y="1181"/>
                </a:lnTo>
                <a:lnTo>
                  <a:pt x="2134" y="1208"/>
                </a:lnTo>
                <a:lnTo>
                  <a:pt x="2130" y="1234"/>
                </a:lnTo>
                <a:lnTo>
                  <a:pt x="2125" y="1261"/>
                </a:lnTo>
                <a:lnTo>
                  <a:pt x="2121" y="1286"/>
                </a:lnTo>
                <a:lnTo>
                  <a:pt x="2115" y="1312"/>
                </a:lnTo>
                <a:lnTo>
                  <a:pt x="2108" y="1338"/>
                </a:lnTo>
                <a:lnTo>
                  <a:pt x="2101" y="1364"/>
                </a:lnTo>
                <a:lnTo>
                  <a:pt x="2093" y="1389"/>
                </a:lnTo>
                <a:lnTo>
                  <a:pt x="2086" y="1414"/>
                </a:lnTo>
                <a:lnTo>
                  <a:pt x="2077" y="1438"/>
                </a:lnTo>
                <a:lnTo>
                  <a:pt x="2068" y="1463"/>
                </a:lnTo>
                <a:lnTo>
                  <a:pt x="2057" y="1488"/>
                </a:lnTo>
                <a:lnTo>
                  <a:pt x="2047" y="1512"/>
                </a:lnTo>
                <a:lnTo>
                  <a:pt x="2036" y="1535"/>
                </a:lnTo>
                <a:lnTo>
                  <a:pt x="2025" y="1558"/>
                </a:lnTo>
                <a:lnTo>
                  <a:pt x="2012" y="1581"/>
                </a:lnTo>
                <a:lnTo>
                  <a:pt x="2000" y="1604"/>
                </a:lnTo>
                <a:lnTo>
                  <a:pt x="1987" y="1626"/>
                </a:lnTo>
                <a:lnTo>
                  <a:pt x="1973" y="1648"/>
                </a:lnTo>
                <a:lnTo>
                  <a:pt x="1958" y="1669"/>
                </a:lnTo>
                <a:lnTo>
                  <a:pt x="1944" y="1691"/>
                </a:lnTo>
                <a:lnTo>
                  <a:pt x="1929" y="1712"/>
                </a:lnTo>
                <a:lnTo>
                  <a:pt x="1913" y="1732"/>
                </a:lnTo>
                <a:lnTo>
                  <a:pt x="1898" y="1751"/>
                </a:lnTo>
                <a:lnTo>
                  <a:pt x="1881" y="1772"/>
                </a:lnTo>
                <a:lnTo>
                  <a:pt x="1864" y="1791"/>
                </a:lnTo>
                <a:lnTo>
                  <a:pt x="1846" y="1810"/>
                </a:lnTo>
                <a:lnTo>
                  <a:pt x="1828" y="1828"/>
                </a:lnTo>
                <a:lnTo>
                  <a:pt x="1810" y="1846"/>
                </a:lnTo>
                <a:lnTo>
                  <a:pt x="1791" y="1864"/>
                </a:lnTo>
                <a:lnTo>
                  <a:pt x="1772" y="1881"/>
                </a:lnTo>
                <a:lnTo>
                  <a:pt x="1753" y="1898"/>
                </a:lnTo>
                <a:lnTo>
                  <a:pt x="1732" y="1913"/>
                </a:lnTo>
                <a:lnTo>
                  <a:pt x="1712" y="1929"/>
                </a:lnTo>
                <a:lnTo>
                  <a:pt x="1691" y="1944"/>
                </a:lnTo>
                <a:lnTo>
                  <a:pt x="1669" y="1959"/>
                </a:lnTo>
                <a:lnTo>
                  <a:pt x="1648" y="1973"/>
                </a:lnTo>
                <a:lnTo>
                  <a:pt x="1626" y="1987"/>
                </a:lnTo>
                <a:lnTo>
                  <a:pt x="1604" y="2000"/>
                </a:lnTo>
                <a:lnTo>
                  <a:pt x="1581" y="2013"/>
                </a:lnTo>
                <a:lnTo>
                  <a:pt x="1558" y="2025"/>
                </a:lnTo>
                <a:lnTo>
                  <a:pt x="1535" y="2036"/>
                </a:lnTo>
                <a:lnTo>
                  <a:pt x="1512" y="2047"/>
                </a:lnTo>
                <a:lnTo>
                  <a:pt x="1488" y="2058"/>
                </a:lnTo>
                <a:lnTo>
                  <a:pt x="1463" y="2068"/>
                </a:lnTo>
                <a:lnTo>
                  <a:pt x="1439" y="2077"/>
                </a:lnTo>
                <a:lnTo>
                  <a:pt x="1414" y="2086"/>
                </a:lnTo>
                <a:lnTo>
                  <a:pt x="1389" y="2094"/>
                </a:lnTo>
                <a:lnTo>
                  <a:pt x="1364" y="2101"/>
                </a:lnTo>
                <a:lnTo>
                  <a:pt x="1338" y="2108"/>
                </a:lnTo>
                <a:lnTo>
                  <a:pt x="1313" y="2115"/>
                </a:lnTo>
                <a:lnTo>
                  <a:pt x="1287" y="2121"/>
                </a:lnTo>
                <a:lnTo>
                  <a:pt x="1261" y="2125"/>
                </a:lnTo>
                <a:lnTo>
                  <a:pt x="1234" y="2130"/>
                </a:lnTo>
                <a:lnTo>
                  <a:pt x="1208" y="2133"/>
                </a:lnTo>
                <a:lnTo>
                  <a:pt x="1181" y="2136"/>
                </a:lnTo>
                <a:lnTo>
                  <a:pt x="1154" y="2139"/>
                </a:lnTo>
                <a:lnTo>
                  <a:pt x="1126" y="2141"/>
                </a:lnTo>
                <a:lnTo>
                  <a:pt x="1099" y="2142"/>
                </a:lnTo>
                <a:lnTo>
                  <a:pt x="1072" y="2142"/>
                </a:lnTo>
                <a:close/>
                <a:moveTo>
                  <a:pt x="1072" y="103"/>
                </a:moveTo>
                <a:lnTo>
                  <a:pt x="1046" y="103"/>
                </a:lnTo>
                <a:lnTo>
                  <a:pt x="1021" y="104"/>
                </a:lnTo>
                <a:lnTo>
                  <a:pt x="997" y="106"/>
                </a:lnTo>
                <a:lnTo>
                  <a:pt x="973" y="108"/>
                </a:lnTo>
                <a:lnTo>
                  <a:pt x="948" y="110"/>
                </a:lnTo>
                <a:lnTo>
                  <a:pt x="924" y="113"/>
                </a:lnTo>
                <a:lnTo>
                  <a:pt x="901" y="118"/>
                </a:lnTo>
                <a:lnTo>
                  <a:pt x="876" y="122"/>
                </a:lnTo>
                <a:lnTo>
                  <a:pt x="853" y="128"/>
                </a:lnTo>
                <a:lnTo>
                  <a:pt x="830" y="134"/>
                </a:lnTo>
                <a:lnTo>
                  <a:pt x="806" y="139"/>
                </a:lnTo>
                <a:lnTo>
                  <a:pt x="784" y="146"/>
                </a:lnTo>
                <a:lnTo>
                  <a:pt x="761" y="154"/>
                </a:lnTo>
                <a:lnTo>
                  <a:pt x="739" y="162"/>
                </a:lnTo>
                <a:lnTo>
                  <a:pt x="717" y="170"/>
                </a:lnTo>
                <a:lnTo>
                  <a:pt x="695" y="179"/>
                </a:lnTo>
                <a:lnTo>
                  <a:pt x="673" y="189"/>
                </a:lnTo>
                <a:lnTo>
                  <a:pt x="652" y="198"/>
                </a:lnTo>
                <a:lnTo>
                  <a:pt x="631" y="209"/>
                </a:lnTo>
                <a:lnTo>
                  <a:pt x="610" y="219"/>
                </a:lnTo>
                <a:lnTo>
                  <a:pt x="590" y="232"/>
                </a:lnTo>
                <a:lnTo>
                  <a:pt x="570" y="243"/>
                </a:lnTo>
                <a:lnTo>
                  <a:pt x="550" y="255"/>
                </a:lnTo>
                <a:lnTo>
                  <a:pt x="530" y="269"/>
                </a:lnTo>
                <a:lnTo>
                  <a:pt x="511" y="281"/>
                </a:lnTo>
                <a:lnTo>
                  <a:pt x="492" y="296"/>
                </a:lnTo>
                <a:lnTo>
                  <a:pt x="474" y="309"/>
                </a:lnTo>
                <a:lnTo>
                  <a:pt x="456" y="324"/>
                </a:lnTo>
                <a:lnTo>
                  <a:pt x="438" y="340"/>
                </a:lnTo>
                <a:lnTo>
                  <a:pt x="421" y="354"/>
                </a:lnTo>
                <a:lnTo>
                  <a:pt x="404" y="370"/>
                </a:lnTo>
                <a:lnTo>
                  <a:pt x="388" y="387"/>
                </a:lnTo>
                <a:lnTo>
                  <a:pt x="371" y="403"/>
                </a:lnTo>
                <a:lnTo>
                  <a:pt x="355" y="421"/>
                </a:lnTo>
                <a:lnTo>
                  <a:pt x="340" y="438"/>
                </a:lnTo>
                <a:lnTo>
                  <a:pt x="324" y="456"/>
                </a:lnTo>
                <a:lnTo>
                  <a:pt x="310" y="474"/>
                </a:lnTo>
                <a:lnTo>
                  <a:pt x="296" y="492"/>
                </a:lnTo>
                <a:lnTo>
                  <a:pt x="283" y="511"/>
                </a:lnTo>
                <a:lnTo>
                  <a:pt x="269" y="530"/>
                </a:lnTo>
                <a:lnTo>
                  <a:pt x="256" y="549"/>
                </a:lnTo>
                <a:lnTo>
                  <a:pt x="243" y="569"/>
                </a:lnTo>
                <a:lnTo>
                  <a:pt x="232" y="590"/>
                </a:lnTo>
                <a:lnTo>
                  <a:pt x="221" y="610"/>
                </a:lnTo>
                <a:lnTo>
                  <a:pt x="210" y="630"/>
                </a:lnTo>
                <a:lnTo>
                  <a:pt x="200" y="652"/>
                </a:lnTo>
                <a:lnTo>
                  <a:pt x="189" y="673"/>
                </a:lnTo>
                <a:lnTo>
                  <a:pt x="179" y="694"/>
                </a:lnTo>
                <a:lnTo>
                  <a:pt x="170" y="716"/>
                </a:lnTo>
                <a:lnTo>
                  <a:pt x="162" y="738"/>
                </a:lnTo>
                <a:lnTo>
                  <a:pt x="155" y="761"/>
                </a:lnTo>
                <a:lnTo>
                  <a:pt x="147" y="783"/>
                </a:lnTo>
                <a:lnTo>
                  <a:pt x="140" y="806"/>
                </a:lnTo>
                <a:lnTo>
                  <a:pt x="134" y="829"/>
                </a:lnTo>
                <a:lnTo>
                  <a:pt x="129" y="853"/>
                </a:lnTo>
                <a:lnTo>
                  <a:pt x="123" y="876"/>
                </a:lnTo>
                <a:lnTo>
                  <a:pt x="119" y="899"/>
                </a:lnTo>
                <a:lnTo>
                  <a:pt x="115" y="924"/>
                </a:lnTo>
                <a:lnTo>
                  <a:pt x="112" y="948"/>
                </a:lnTo>
                <a:lnTo>
                  <a:pt x="108" y="972"/>
                </a:lnTo>
                <a:lnTo>
                  <a:pt x="106" y="996"/>
                </a:lnTo>
                <a:lnTo>
                  <a:pt x="105" y="1021"/>
                </a:lnTo>
                <a:lnTo>
                  <a:pt x="104" y="1046"/>
                </a:lnTo>
                <a:lnTo>
                  <a:pt x="104" y="1070"/>
                </a:lnTo>
                <a:lnTo>
                  <a:pt x="104" y="1096"/>
                </a:lnTo>
                <a:lnTo>
                  <a:pt x="105" y="1121"/>
                </a:lnTo>
                <a:lnTo>
                  <a:pt x="106" y="1146"/>
                </a:lnTo>
                <a:lnTo>
                  <a:pt x="108" y="1169"/>
                </a:lnTo>
                <a:lnTo>
                  <a:pt x="112" y="1194"/>
                </a:lnTo>
                <a:lnTo>
                  <a:pt x="115" y="1218"/>
                </a:lnTo>
                <a:lnTo>
                  <a:pt x="119" y="1241"/>
                </a:lnTo>
                <a:lnTo>
                  <a:pt x="123" y="1266"/>
                </a:lnTo>
                <a:lnTo>
                  <a:pt x="129" y="1289"/>
                </a:lnTo>
                <a:lnTo>
                  <a:pt x="134" y="1312"/>
                </a:lnTo>
                <a:lnTo>
                  <a:pt x="140" y="1336"/>
                </a:lnTo>
                <a:lnTo>
                  <a:pt x="147" y="1358"/>
                </a:lnTo>
                <a:lnTo>
                  <a:pt x="155" y="1381"/>
                </a:lnTo>
                <a:lnTo>
                  <a:pt x="162" y="1404"/>
                </a:lnTo>
                <a:lnTo>
                  <a:pt x="170" y="1425"/>
                </a:lnTo>
                <a:lnTo>
                  <a:pt x="179" y="1447"/>
                </a:lnTo>
                <a:lnTo>
                  <a:pt x="189" y="1469"/>
                </a:lnTo>
                <a:lnTo>
                  <a:pt x="200" y="1490"/>
                </a:lnTo>
                <a:lnTo>
                  <a:pt x="210" y="1512"/>
                </a:lnTo>
                <a:lnTo>
                  <a:pt x="221" y="1532"/>
                </a:lnTo>
                <a:lnTo>
                  <a:pt x="232" y="1552"/>
                </a:lnTo>
                <a:lnTo>
                  <a:pt x="243" y="1572"/>
                </a:lnTo>
                <a:lnTo>
                  <a:pt x="256" y="1593"/>
                </a:lnTo>
                <a:lnTo>
                  <a:pt x="269" y="1612"/>
                </a:lnTo>
                <a:lnTo>
                  <a:pt x="283" y="1631"/>
                </a:lnTo>
                <a:lnTo>
                  <a:pt x="296" y="1650"/>
                </a:lnTo>
                <a:lnTo>
                  <a:pt x="310" y="1668"/>
                </a:lnTo>
                <a:lnTo>
                  <a:pt x="324" y="1686"/>
                </a:lnTo>
                <a:lnTo>
                  <a:pt x="340" y="1704"/>
                </a:lnTo>
                <a:lnTo>
                  <a:pt x="355" y="1721"/>
                </a:lnTo>
                <a:lnTo>
                  <a:pt x="371" y="1738"/>
                </a:lnTo>
                <a:lnTo>
                  <a:pt x="388" y="1755"/>
                </a:lnTo>
                <a:lnTo>
                  <a:pt x="404" y="1772"/>
                </a:lnTo>
                <a:lnTo>
                  <a:pt x="421" y="1787"/>
                </a:lnTo>
                <a:lnTo>
                  <a:pt x="438" y="1802"/>
                </a:lnTo>
                <a:lnTo>
                  <a:pt x="456" y="1818"/>
                </a:lnTo>
                <a:lnTo>
                  <a:pt x="474" y="1832"/>
                </a:lnTo>
                <a:lnTo>
                  <a:pt x="492" y="1846"/>
                </a:lnTo>
                <a:lnTo>
                  <a:pt x="511" y="1859"/>
                </a:lnTo>
                <a:lnTo>
                  <a:pt x="530" y="1873"/>
                </a:lnTo>
                <a:lnTo>
                  <a:pt x="550" y="1886"/>
                </a:lnTo>
                <a:lnTo>
                  <a:pt x="570" y="1899"/>
                </a:lnTo>
                <a:lnTo>
                  <a:pt x="590" y="1910"/>
                </a:lnTo>
                <a:lnTo>
                  <a:pt x="610" y="1921"/>
                </a:lnTo>
                <a:lnTo>
                  <a:pt x="631" y="1933"/>
                </a:lnTo>
                <a:lnTo>
                  <a:pt x="652" y="1943"/>
                </a:lnTo>
                <a:lnTo>
                  <a:pt x="673" y="1953"/>
                </a:lnTo>
                <a:lnTo>
                  <a:pt x="695" y="1963"/>
                </a:lnTo>
                <a:lnTo>
                  <a:pt x="717" y="1972"/>
                </a:lnTo>
                <a:lnTo>
                  <a:pt x="739" y="1980"/>
                </a:lnTo>
                <a:lnTo>
                  <a:pt x="761" y="1988"/>
                </a:lnTo>
                <a:lnTo>
                  <a:pt x="784" y="1996"/>
                </a:lnTo>
                <a:lnTo>
                  <a:pt x="806" y="2002"/>
                </a:lnTo>
                <a:lnTo>
                  <a:pt x="830" y="2008"/>
                </a:lnTo>
                <a:lnTo>
                  <a:pt x="853" y="2014"/>
                </a:lnTo>
                <a:lnTo>
                  <a:pt x="876" y="2019"/>
                </a:lnTo>
                <a:lnTo>
                  <a:pt x="901" y="2024"/>
                </a:lnTo>
                <a:lnTo>
                  <a:pt x="924" y="2027"/>
                </a:lnTo>
                <a:lnTo>
                  <a:pt x="948" y="2031"/>
                </a:lnTo>
                <a:lnTo>
                  <a:pt x="973" y="2034"/>
                </a:lnTo>
                <a:lnTo>
                  <a:pt x="997" y="2036"/>
                </a:lnTo>
                <a:lnTo>
                  <a:pt x="1021" y="2037"/>
                </a:lnTo>
                <a:lnTo>
                  <a:pt x="1046" y="2038"/>
                </a:lnTo>
                <a:lnTo>
                  <a:pt x="1072" y="2038"/>
                </a:lnTo>
                <a:lnTo>
                  <a:pt x="1096" y="2038"/>
                </a:lnTo>
                <a:lnTo>
                  <a:pt x="1121" y="2037"/>
                </a:lnTo>
                <a:lnTo>
                  <a:pt x="1146" y="2036"/>
                </a:lnTo>
                <a:lnTo>
                  <a:pt x="1170" y="2034"/>
                </a:lnTo>
                <a:lnTo>
                  <a:pt x="1194" y="2031"/>
                </a:lnTo>
                <a:lnTo>
                  <a:pt x="1218" y="2027"/>
                </a:lnTo>
                <a:lnTo>
                  <a:pt x="1243" y="2024"/>
                </a:lnTo>
                <a:lnTo>
                  <a:pt x="1266" y="2019"/>
                </a:lnTo>
                <a:lnTo>
                  <a:pt x="1290" y="2014"/>
                </a:lnTo>
                <a:lnTo>
                  <a:pt x="1313" y="2008"/>
                </a:lnTo>
                <a:lnTo>
                  <a:pt x="1336" y="2002"/>
                </a:lnTo>
                <a:lnTo>
                  <a:pt x="1359" y="1996"/>
                </a:lnTo>
                <a:lnTo>
                  <a:pt x="1381" y="1988"/>
                </a:lnTo>
                <a:lnTo>
                  <a:pt x="1404" y="1980"/>
                </a:lnTo>
                <a:lnTo>
                  <a:pt x="1426" y="1972"/>
                </a:lnTo>
                <a:lnTo>
                  <a:pt x="1448" y="1963"/>
                </a:lnTo>
                <a:lnTo>
                  <a:pt x="1469" y="1953"/>
                </a:lnTo>
                <a:lnTo>
                  <a:pt x="1490" y="1943"/>
                </a:lnTo>
                <a:lnTo>
                  <a:pt x="1512" y="1933"/>
                </a:lnTo>
                <a:lnTo>
                  <a:pt x="1532" y="1921"/>
                </a:lnTo>
                <a:lnTo>
                  <a:pt x="1552" y="1910"/>
                </a:lnTo>
                <a:lnTo>
                  <a:pt x="1572" y="1899"/>
                </a:lnTo>
                <a:lnTo>
                  <a:pt x="1593" y="1886"/>
                </a:lnTo>
                <a:lnTo>
                  <a:pt x="1612" y="1873"/>
                </a:lnTo>
                <a:lnTo>
                  <a:pt x="1631" y="1859"/>
                </a:lnTo>
                <a:lnTo>
                  <a:pt x="1650" y="1846"/>
                </a:lnTo>
                <a:lnTo>
                  <a:pt x="1668" y="1832"/>
                </a:lnTo>
                <a:lnTo>
                  <a:pt x="1686" y="1818"/>
                </a:lnTo>
                <a:lnTo>
                  <a:pt x="1704" y="1802"/>
                </a:lnTo>
                <a:lnTo>
                  <a:pt x="1721" y="1787"/>
                </a:lnTo>
                <a:lnTo>
                  <a:pt x="1739" y="1772"/>
                </a:lnTo>
                <a:lnTo>
                  <a:pt x="1755" y="1755"/>
                </a:lnTo>
                <a:lnTo>
                  <a:pt x="1772" y="1738"/>
                </a:lnTo>
                <a:lnTo>
                  <a:pt x="1787" y="1721"/>
                </a:lnTo>
                <a:lnTo>
                  <a:pt x="1803" y="1704"/>
                </a:lnTo>
                <a:lnTo>
                  <a:pt x="1818" y="1686"/>
                </a:lnTo>
                <a:lnTo>
                  <a:pt x="1832" y="1668"/>
                </a:lnTo>
                <a:lnTo>
                  <a:pt x="1846" y="1650"/>
                </a:lnTo>
                <a:lnTo>
                  <a:pt x="1861" y="1631"/>
                </a:lnTo>
                <a:lnTo>
                  <a:pt x="1873" y="1612"/>
                </a:lnTo>
                <a:lnTo>
                  <a:pt x="1886" y="1593"/>
                </a:lnTo>
                <a:lnTo>
                  <a:pt x="1899" y="1572"/>
                </a:lnTo>
                <a:lnTo>
                  <a:pt x="1910" y="1552"/>
                </a:lnTo>
                <a:lnTo>
                  <a:pt x="1922" y="1532"/>
                </a:lnTo>
                <a:lnTo>
                  <a:pt x="1933" y="1512"/>
                </a:lnTo>
                <a:lnTo>
                  <a:pt x="1944" y="1490"/>
                </a:lnTo>
                <a:lnTo>
                  <a:pt x="1953" y="1469"/>
                </a:lnTo>
                <a:lnTo>
                  <a:pt x="1963" y="1447"/>
                </a:lnTo>
                <a:lnTo>
                  <a:pt x="1972" y="1425"/>
                </a:lnTo>
                <a:lnTo>
                  <a:pt x="1980" y="1404"/>
                </a:lnTo>
                <a:lnTo>
                  <a:pt x="1988" y="1381"/>
                </a:lnTo>
                <a:lnTo>
                  <a:pt x="1996" y="1358"/>
                </a:lnTo>
                <a:lnTo>
                  <a:pt x="2002" y="1336"/>
                </a:lnTo>
                <a:lnTo>
                  <a:pt x="2008" y="1312"/>
                </a:lnTo>
                <a:lnTo>
                  <a:pt x="2014" y="1289"/>
                </a:lnTo>
                <a:lnTo>
                  <a:pt x="2019" y="1266"/>
                </a:lnTo>
                <a:lnTo>
                  <a:pt x="2024" y="1241"/>
                </a:lnTo>
                <a:lnTo>
                  <a:pt x="2028" y="1218"/>
                </a:lnTo>
                <a:lnTo>
                  <a:pt x="2032" y="1194"/>
                </a:lnTo>
                <a:lnTo>
                  <a:pt x="2034" y="1169"/>
                </a:lnTo>
                <a:lnTo>
                  <a:pt x="2036" y="1146"/>
                </a:lnTo>
                <a:lnTo>
                  <a:pt x="2037" y="1121"/>
                </a:lnTo>
                <a:lnTo>
                  <a:pt x="2038" y="1096"/>
                </a:lnTo>
                <a:lnTo>
                  <a:pt x="2038" y="1070"/>
                </a:lnTo>
                <a:lnTo>
                  <a:pt x="2038" y="1046"/>
                </a:lnTo>
                <a:lnTo>
                  <a:pt x="2037" y="1021"/>
                </a:lnTo>
                <a:lnTo>
                  <a:pt x="2036" y="996"/>
                </a:lnTo>
                <a:lnTo>
                  <a:pt x="2034" y="972"/>
                </a:lnTo>
                <a:lnTo>
                  <a:pt x="2032" y="948"/>
                </a:lnTo>
                <a:lnTo>
                  <a:pt x="2028" y="924"/>
                </a:lnTo>
                <a:lnTo>
                  <a:pt x="2024" y="899"/>
                </a:lnTo>
                <a:lnTo>
                  <a:pt x="2019" y="876"/>
                </a:lnTo>
                <a:lnTo>
                  <a:pt x="2014" y="853"/>
                </a:lnTo>
                <a:lnTo>
                  <a:pt x="2008" y="829"/>
                </a:lnTo>
                <a:lnTo>
                  <a:pt x="2002" y="806"/>
                </a:lnTo>
                <a:lnTo>
                  <a:pt x="1996" y="783"/>
                </a:lnTo>
                <a:lnTo>
                  <a:pt x="1988" y="761"/>
                </a:lnTo>
                <a:lnTo>
                  <a:pt x="1980" y="738"/>
                </a:lnTo>
                <a:lnTo>
                  <a:pt x="1972" y="716"/>
                </a:lnTo>
                <a:lnTo>
                  <a:pt x="1963" y="694"/>
                </a:lnTo>
                <a:lnTo>
                  <a:pt x="1953" y="673"/>
                </a:lnTo>
                <a:lnTo>
                  <a:pt x="1944" y="652"/>
                </a:lnTo>
                <a:lnTo>
                  <a:pt x="1933" y="630"/>
                </a:lnTo>
                <a:lnTo>
                  <a:pt x="1922" y="610"/>
                </a:lnTo>
                <a:lnTo>
                  <a:pt x="1910" y="590"/>
                </a:lnTo>
                <a:lnTo>
                  <a:pt x="1899" y="569"/>
                </a:lnTo>
                <a:lnTo>
                  <a:pt x="1886" y="549"/>
                </a:lnTo>
                <a:lnTo>
                  <a:pt x="1873" y="530"/>
                </a:lnTo>
                <a:lnTo>
                  <a:pt x="1861" y="511"/>
                </a:lnTo>
                <a:lnTo>
                  <a:pt x="1846" y="492"/>
                </a:lnTo>
                <a:lnTo>
                  <a:pt x="1832" y="474"/>
                </a:lnTo>
                <a:lnTo>
                  <a:pt x="1818" y="456"/>
                </a:lnTo>
                <a:lnTo>
                  <a:pt x="1803" y="438"/>
                </a:lnTo>
                <a:lnTo>
                  <a:pt x="1787" y="421"/>
                </a:lnTo>
                <a:lnTo>
                  <a:pt x="1772" y="403"/>
                </a:lnTo>
                <a:lnTo>
                  <a:pt x="1755" y="387"/>
                </a:lnTo>
                <a:lnTo>
                  <a:pt x="1739" y="370"/>
                </a:lnTo>
                <a:lnTo>
                  <a:pt x="1721" y="354"/>
                </a:lnTo>
                <a:lnTo>
                  <a:pt x="1704" y="340"/>
                </a:lnTo>
                <a:lnTo>
                  <a:pt x="1686" y="324"/>
                </a:lnTo>
                <a:lnTo>
                  <a:pt x="1668" y="309"/>
                </a:lnTo>
                <a:lnTo>
                  <a:pt x="1650" y="296"/>
                </a:lnTo>
                <a:lnTo>
                  <a:pt x="1631" y="281"/>
                </a:lnTo>
                <a:lnTo>
                  <a:pt x="1612" y="269"/>
                </a:lnTo>
                <a:lnTo>
                  <a:pt x="1593" y="255"/>
                </a:lnTo>
                <a:lnTo>
                  <a:pt x="1572" y="243"/>
                </a:lnTo>
                <a:lnTo>
                  <a:pt x="1552" y="232"/>
                </a:lnTo>
                <a:lnTo>
                  <a:pt x="1532" y="219"/>
                </a:lnTo>
                <a:lnTo>
                  <a:pt x="1512" y="209"/>
                </a:lnTo>
                <a:lnTo>
                  <a:pt x="1490" y="198"/>
                </a:lnTo>
                <a:lnTo>
                  <a:pt x="1469" y="189"/>
                </a:lnTo>
                <a:lnTo>
                  <a:pt x="1448" y="179"/>
                </a:lnTo>
                <a:lnTo>
                  <a:pt x="1426" y="170"/>
                </a:lnTo>
                <a:lnTo>
                  <a:pt x="1404" y="162"/>
                </a:lnTo>
                <a:lnTo>
                  <a:pt x="1381" y="154"/>
                </a:lnTo>
                <a:lnTo>
                  <a:pt x="1359" y="146"/>
                </a:lnTo>
                <a:lnTo>
                  <a:pt x="1336" y="139"/>
                </a:lnTo>
                <a:lnTo>
                  <a:pt x="1313" y="134"/>
                </a:lnTo>
                <a:lnTo>
                  <a:pt x="1290" y="128"/>
                </a:lnTo>
                <a:lnTo>
                  <a:pt x="1266" y="122"/>
                </a:lnTo>
                <a:lnTo>
                  <a:pt x="1243" y="118"/>
                </a:lnTo>
                <a:lnTo>
                  <a:pt x="1218" y="113"/>
                </a:lnTo>
                <a:lnTo>
                  <a:pt x="1194" y="110"/>
                </a:lnTo>
                <a:lnTo>
                  <a:pt x="1170" y="108"/>
                </a:lnTo>
                <a:lnTo>
                  <a:pt x="1146" y="106"/>
                </a:lnTo>
                <a:lnTo>
                  <a:pt x="1121" y="104"/>
                </a:lnTo>
                <a:lnTo>
                  <a:pt x="1096" y="103"/>
                </a:lnTo>
                <a:lnTo>
                  <a:pt x="1072" y="103"/>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18" name="Oval 17">
            <a:hlinkClick r:id="" action="ppaction://noaction"/>
            <a:extLst>
              <a:ext uri="{FF2B5EF4-FFF2-40B4-BE49-F238E27FC236}">
                <a16:creationId xmlns:a16="http://schemas.microsoft.com/office/drawing/2014/main" id="{C181255A-5146-4379-BA76-AF41C44E48A6}"/>
              </a:ext>
            </a:extLst>
          </p:cNvPr>
          <p:cNvSpPr>
            <a:spLocks noChangeAspect="1"/>
          </p:cNvSpPr>
          <p:nvPr/>
        </p:nvSpPr>
        <p:spPr>
          <a:xfrm>
            <a:off x="553245"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Oval 18">
            <a:hlinkClick r:id="" action="ppaction://noaction"/>
            <a:extLst>
              <a:ext uri="{FF2B5EF4-FFF2-40B4-BE49-F238E27FC236}">
                <a16:creationId xmlns:a16="http://schemas.microsoft.com/office/drawing/2014/main" id="{F297AF91-E060-4296-9651-0DE324AC3832}"/>
              </a:ext>
            </a:extLst>
          </p:cNvPr>
          <p:cNvSpPr>
            <a:spLocks noChangeAspect="1"/>
          </p:cNvSpPr>
          <p:nvPr/>
        </p:nvSpPr>
        <p:spPr>
          <a:xfrm>
            <a:off x="407225" y="84517"/>
            <a:ext cx="108000" cy="108000"/>
          </a:xfrm>
          <a:prstGeom prst="ellipse">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Oval 19">
            <a:hlinkClick r:id="" action="ppaction://noaction"/>
            <a:extLst>
              <a:ext uri="{FF2B5EF4-FFF2-40B4-BE49-F238E27FC236}">
                <a16:creationId xmlns:a16="http://schemas.microsoft.com/office/drawing/2014/main" id="{B0AB5972-0A36-4F58-8C06-E3B385B9AA80}"/>
              </a:ext>
            </a:extLst>
          </p:cNvPr>
          <p:cNvSpPr>
            <a:spLocks noChangeAspect="1"/>
          </p:cNvSpPr>
          <p:nvPr/>
        </p:nvSpPr>
        <p:spPr>
          <a:xfrm>
            <a:off x="69525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Oval 20">
            <a:hlinkClick r:id="" action="ppaction://noaction"/>
            <a:extLst>
              <a:ext uri="{FF2B5EF4-FFF2-40B4-BE49-F238E27FC236}">
                <a16:creationId xmlns:a16="http://schemas.microsoft.com/office/drawing/2014/main" id="{5DC9D627-6343-424E-B98C-FB73FC8B894C}"/>
              </a:ext>
            </a:extLst>
          </p:cNvPr>
          <p:cNvSpPr>
            <a:spLocks noChangeAspect="1"/>
          </p:cNvSpPr>
          <p:nvPr/>
        </p:nvSpPr>
        <p:spPr>
          <a:xfrm>
            <a:off x="83927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Oval 21">
            <a:hlinkClick r:id="" action="ppaction://noaction"/>
            <a:extLst>
              <a:ext uri="{FF2B5EF4-FFF2-40B4-BE49-F238E27FC236}">
                <a16:creationId xmlns:a16="http://schemas.microsoft.com/office/drawing/2014/main" id="{CF7D4466-16D0-492F-9F7D-54BA65EAABC9}"/>
              </a:ext>
            </a:extLst>
          </p:cNvPr>
          <p:cNvSpPr>
            <a:spLocks noChangeAspect="1"/>
          </p:cNvSpPr>
          <p:nvPr/>
        </p:nvSpPr>
        <p:spPr>
          <a:xfrm>
            <a:off x="98329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65718398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8D6CAFB-2E39-634D-B175-41330A2CB1B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276EC792-E005-7A4B-939F-66E620568982}"/>
              </a:ext>
            </a:extLst>
          </p:cNvPr>
          <p:cNvSpPr/>
          <p:nvPr/>
        </p:nvSpPr>
        <p:spPr>
          <a:xfrm>
            <a:off x="0" y="0"/>
            <a:ext cx="12192000" cy="3469710"/>
          </a:xfrm>
          <a:prstGeom prst="rect">
            <a:avLst/>
          </a:prstGeom>
          <a:gradFill>
            <a:gsLst>
              <a:gs pos="0">
                <a:srgbClr val="000000">
                  <a:alpha val="58000"/>
                </a:srgbClr>
              </a:gs>
              <a:gs pos="100000">
                <a:schemeClr val="bg1">
                  <a:alpha val="0"/>
                  <a:lumMod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2" name="Date Placeholder 1">
            <a:extLst>
              <a:ext uri="{FF2B5EF4-FFF2-40B4-BE49-F238E27FC236}">
                <a16:creationId xmlns:a16="http://schemas.microsoft.com/office/drawing/2014/main" id="{1A9C5DE3-A82E-4A1C-91D4-888FA5D45290}"/>
              </a:ext>
            </a:extLst>
          </p:cNvPr>
          <p:cNvSpPr>
            <a:spLocks noGrp="1"/>
          </p:cNvSpPr>
          <p:nvPr>
            <p:ph type="dt" sz="half" idx="10"/>
          </p:nvPr>
        </p:nvSpPr>
        <p:spPr/>
        <p:txBody>
          <a:bodyPr/>
          <a:lstStyle/>
          <a:p>
            <a:fld id="{79E9087F-8D29-4365-A1D1-C2092CC6B701}" type="datetime3">
              <a:rPr lang="en-US" noProof="0" smtClean="0">
                <a:solidFill>
                  <a:schemeClr val="bg1"/>
                </a:solidFill>
              </a:rPr>
              <a:t>13 April 2022</a:t>
            </a:fld>
            <a:endParaRPr lang="en-US" noProof="0">
              <a:solidFill>
                <a:schemeClr val="bg1"/>
              </a:solidFill>
            </a:endParaRPr>
          </a:p>
        </p:txBody>
      </p:sp>
      <p:sp>
        <p:nvSpPr>
          <p:cNvPr id="3" name="Footer Placeholder 2">
            <a:extLst>
              <a:ext uri="{FF2B5EF4-FFF2-40B4-BE49-F238E27FC236}">
                <a16:creationId xmlns:a16="http://schemas.microsoft.com/office/drawing/2014/main" id="{ECF69EFF-57E5-49A4-AC02-C59A4C7E184A}"/>
              </a:ext>
            </a:extLst>
          </p:cNvPr>
          <p:cNvSpPr>
            <a:spLocks noGrp="1"/>
          </p:cNvSpPr>
          <p:nvPr>
            <p:ph type="ftr" sz="quarter" idx="11"/>
          </p:nvPr>
        </p:nvSpPr>
        <p:spPr/>
        <p:txBody>
          <a:bodyPr/>
          <a:lstStyle/>
          <a:p>
            <a:r>
              <a:rPr lang="en-US" noProof="0">
                <a:solidFill>
                  <a:schemeClr val="bg1"/>
                </a:solidFill>
              </a:rPr>
              <a:t>Confidential  |  © KONE Corporation</a:t>
            </a:r>
          </a:p>
        </p:txBody>
      </p:sp>
      <p:sp>
        <p:nvSpPr>
          <p:cNvPr id="4" name="Slide Number Placeholder 3">
            <a:extLst>
              <a:ext uri="{FF2B5EF4-FFF2-40B4-BE49-F238E27FC236}">
                <a16:creationId xmlns:a16="http://schemas.microsoft.com/office/drawing/2014/main" id="{B209A3C4-6D6A-4562-BE01-FC5A9F74A5A6}"/>
              </a:ext>
            </a:extLst>
          </p:cNvPr>
          <p:cNvSpPr>
            <a:spLocks noGrp="1"/>
          </p:cNvSpPr>
          <p:nvPr>
            <p:ph type="sldNum" sz="quarter" idx="12"/>
          </p:nvPr>
        </p:nvSpPr>
        <p:spPr/>
        <p:txBody>
          <a:bodyPr/>
          <a:lstStyle/>
          <a:p>
            <a:fld id="{604FC64F-66B6-486E-8EFE-9FD96A66D16B}" type="slidenum">
              <a:rPr lang="en-US" noProof="0" smtClean="0">
                <a:solidFill>
                  <a:schemeClr val="bg1"/>
                </a:solidFill>
              </a:rPr>
              <a:pPr/>
              <a:t>5</a:t>
            </a:fld>
            <a:endParaRPr lang="en-US" noProof="0">
              <a:solidFill>
                <a:schemeClr val="bg1"/>
              </a:solidFill>
            </a:endParaRPr>
          </a:p>
        </p:txBody>
      </p:sp>
      <p:sp>
        <p:nvSpPr>
          <p:cNvPr id="6" name="Title 5">
            <a:extLst>
              <a:ext uri="{FF2B5EF4-FFF2-40B4-BE49-F238E27FC236}">
                <a16:creationId xmlns:a16="http://schemas.microsoft.com/office/drawing/2014/main" id="{5B651ECF-CA61-43C9-B8A5-F5EC7D586EBE}"/>
              </a:ext>
            </a:extLst>
          </p:cNvPr>
          <p:cNvSpPr>
            <a:spLocks noGrp="1"/>
          </p:cNvSpPr>
          <p:nvPr>
            <p:ph type="title"/>
          </p:nvPr>
        </p:nvSpPr>
        <p:spPr/>
        <p:txBody>
          <a:bodyPr/>
          <a:lstStyle/>
          <a:p>
            <a:r>
              <a:rPr lang="en-US">
                <a:solidFill>
                  <a:schemeClr val="bg1"/>
                </a:solidFill>
              </a:rPr>
              <a:t>What does KONE Care™ DX do?</a:t>
            </a:r>
          </a:p>
        </p:txBody>
      </p:sp>
      <p:sp>
        <p:nvSpPr>
          <p:cNvPr id="8" name="TextBox 7">
            <a:extLst>
              <a:ext uri="{FF2B5EF4-FFF2-40B4-BE49-F238E27FC236}">
                <a16:creationId xmlns:a16="http://schemas.microsoft.com/office/drawing/2014/main" id="{A0F8C378-8D27-408D-9FA0-93E86D6ADC1C}"/>
              </a:ext>
            </a:extLst>
          </p:cNvPr>
          <p:cNvSpPr txBox="1"/>
          <p:nvPr/>
        </p:nvSpPr>
        <p:spPr>
          <a:xfrm>
            <a:off x="358150" y="972687"/>
            <a:ext cx="10630177"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600" dirty="0">
                <a:solidFill>
                  <a:schemeClr val="bg1"/>
                </a:solidFill>
              </a:rPr>
              <a:t>KONE DX Care makes life for you and your tenants easier, protects your equipment and contributes to a more sustainable future for your building. Here are 5 ways KONE Care™ DX can help you and your elevator:</a:t>
            </a:r>
            <a:endParaRPr lang="en-GB" sz="1600" dirty="0">
              <a:solidFill>
                <a:schemeClr val="bg1"/>
              </a:solidFill>
              <a:cs typeface="Arial"/>
            </a:endParaRPr>
          </a:p>
        </p:txBody>
      </p:sp>
      <p:sp>
        <p:nvSpPr>
          <p:cNvPr id="9" name="Rectangle 8">
            <a:extLst>
              <a:ext uri="{FF2B5EF4-FFF2-40B4-BE49-F238E27FC236}">
                <a16:creationId xmlns:a16="http://schemas.microsoft.com/office/drawing/2014/main" id="{3DDF4CDD-B781-A54A-AC9D-966D62E2B653}"/>
              </a:ext>
            </a:extLst>
          </p:cNvPr>
          <p:cNvSpPr/>
          <p:nvPr/>
        </p:nvSpPr>
        <p:spPr>
          <a:xfrm>
            <a:off x="475989" y="3081403"/>
            <a:ext cx="2206669" cy="2918565"/>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44000" rIns="216000" rtlCol="0" anchor="t"/>
          <a:lstStyle/>
          <a:p>
            <a:r>
              <a:rPr lang="en-GB" sz="3200" dirty="0">
                <a:solidFill>
                  <a:schemeClr val="tx2"/>
                </a:solidFill>
              </a:rPr>
              <a:t>1. </a:t>
            </a:r>
            <a:br>
              <a:rPr lang="en-GB" sz="1300" dirty="0">
                <a:solidFill>
                  <a:schemeClr val="tx1"/>
                </a:solidFill>
              </a:rPr>
            </a:br>
            <a:r>
              <a:rPr lang="en-US" sz="1300" dirty="0">
                <a:solidFill>
                  <a:schemeClr val="tx1"/>
                </a:solidFill>
              </a:rPr>
              <a:t>We constantly monitor the performance of your KONE DX elevator through our connected, AI-powered services, such as KONE 24/7 Connect, which analyzes your equipment’s health and predicts future repairs.</a:t>
            </a:r>
          </a:p>
        </p:txBody>
      </p:sp>
      <p:sp>
        <p:nvSpPr>
          <p:cNvPr id="12" name="Rectangle 11">
            <a:extLst>
              <a:ext uri="{FF2B5EF4-FFF2-40B4-BE49-F238E27FC236}">
                <a16:creationId xmlns:a16="http://schemas.microsoft.com/office/drawing/2014/main" id="{8A98ED00-C57A-FB4B-B7C6-D1C3B17F876C}"/>
              </a:ext>
            </a:extLst>
          </p:cNvPr>
          <p:cNvSpPr/>
          <p:nvPr/>
        </p:nvSpPr>
        <p:spPr>
          <a:xfrm>
            <a:off x="2761467" y="3081403"/>
            <a:ext cx="2206669" cy="2918565"/>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44000" rIns="216000" rtlCol="0" anchor="t"/>
          <a:lstStyle/>
          <a:p>
            <a:r>
              <a:rPr lang="en-US" sz="3200" dirty="0">
                <a:solidFill>
                  <a:schemeClr val="tx2"/>
                </a:solidFill>
              </a:rPr>
              <a:t>2. </a:t>
            </a:r>
            <a:br>
              <a:rPr lang="en-US" sz="1300" dirty="0">
                <a:solidFill>
                  <a:schemeClr val="tx1"/>
                </a:solidFill>
              </a:rPr>
            </a:br>
            <a:r>
              <a:rPr lang="en-US" sz="1300" dirty="0">
                <a:solidFill>
                  <a:schemeClr val="tx1"/>
                </a:solidFill>
              </a:rPr>
              <a:t>Intelligent troubleshooting, software upgrades and remote updates can address issues quickly, with experienced technicians on-hand to inspect equipment when you need them.</a:t>
            </a:r>
          </a:p>
        </p:txBody>
      </p:sp>
      <p:sp>
        <p:nvSpPr>
          <p:cNvPr id="13" name="Rectangle 12">
            <a:extLst>
              <a:ext uri="{FF2B5EF4-FFF2-40B4-BE49-F238E27FC236}">
                <a16:creationId xmlns:a16="http://schemas.microsoft.com/office/drawing/2014/main" id="{E18B306B-CFCC-5F4E-94C3-9A4FAF8458DF}"/>
              </a:ext>
            </a:extLst>
          </p:cNvPr>
          <p:cNvSpPr/>
          <p:nvPr/>
        </p:nvSpPr>
        <p:spPr>
          <a:xfrm>
            <a:off x="5046945" y="3081403"/>
            <a:ext cx="2206669" cy="2918565"/>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44000" rIns="216000" rtlCol="0" anchor="t"/>
          <a:lstStyle/>
          <a:p>
            <a:r>
              <a:rPr lang="en-US" sz="3200" dirty="0">
                <a:solidFill>
                  <a:schemeClr val="tx2"/>
                </a:solidFill>
              </a:rPr>
              <a:t>3. </a:t>
            </a:r>
            <a:br>
              <a:rPr lang="en-US" sz="1300" dirty="0">
                <a:solidFill>
                  <a:schemeClr val="tx1"/>
                </a:solidFill>
              </a:rPr>
            </a:br>
            <a:r>
              <a:rPr lang="en-US" sz="1300" dirty="0">
                <a:solidFill>
                  <a:schemeClr val="tx1"/>
                </a:solidFill>
              </a:rPr>
              <a:t>Online reports, instant phone notifications and support from our team keep you updated on your elevator’s performance and health.</a:t>
            </a:r>
          </a:p>
        </p:txBody>
      </p:sp>
      <p:sp>
        <p:nvSpPr>
          <p:cNvPr id="14" name="Rectangle 13">
            <a:extLst>
              <a:ext uri="{FF2B5EF4-FFF2-40B4-BE49-F238E27FC236}">
                <a16:creationId xmlns:a16="http://schemas.microsoft.com/office/drawing/2014/main" id="{5C07582D-A7B8-294A-8BF0-5BF8B6B51129}"/>
              </a:ext>
            </a:extLst>
          </p:cNvPr>
          <p:cNvSpPr/>
          <p:nvPr/>
        </p:nvSpPr>
        <p:spPr>
          <a:xfrm>
            <a:off x="7332423" y="3081403"/>
            <a:ext cx="2206669" cy="2918565"/>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44000" rIns="216000" rtlCol="0" anchor="t"/>
          <a:lstStyle/>
          <a:p>
            <a:r>
              <a:rPr lang="en-US" sz="3200" dirty="0">
                <a:solidFill>
                  <a:schemeClr val="tx2"/>
                </a:solidFill>
              </a:rPr>
              <a:t>4. </a:t>
            </a:r>
            <a:br>
              <a:rPr lang="en-US" sz="1300" dirty="0">
                <a:solidFill>
                  <a:schemeClr val="tx1"/>
                </a:solidFill>
              </a:rPr>
            </a:br>
            <a:r>
              <a:rPr lang="en-US" sz="1300" dirty="0">
                <a:solidFill>
                  <a:schemeClr val="tx1"/>
                </a:solidFill>
              </a:rPr>
              <a:t>Repairs are planned proactively, increasing the first-fix rate, minimizing carbon emissions from unplanned visits.</a:t>
            </a:r>
          </a:p>
        </p:txBody>
      </p:sp>
      <p:sp>
        <p:nvSpPr>
          <p:cNvPr id="15" name="Rectangle 14">
            <a:extLst>
              <a:ext uri="{FF2B5EF4-FFF2-40B4-BE49-F238E27FC236}">
                <a16:creationId xmlns:a16="http://schemas.microsoft.com/office/drawing/2014/main" id="{01D864FE-8EF7-BF49-80D2-FF0AB25F5CDA}"/>
              </a:ext>
            </a:extLst>
          </p:cNvPr>
          <p:cNvSpPr/>
          <p:nvPr/>
        </p:nvSpPr>
        <p:spPr>
          <a:xfrm>
            <a:off x="9617901" y="3081403"/>
            <a:ext cx="2206669" cy="2918565"/>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44000" rIns="216000" rtlCol="0" anchor="t"/>
          <a:lstStyle/>
          <a:p>
            <a:r>
              <a:rPr lang="en-US" sz="3200" dirty="0">
                <a:solidFill>
                  <a:schemeClr val="tx2"/>
                </a:solidFill>
              </a:rPr>
              <a:t>5. </a:t>
            </a:r>
            <a:br>
              <a:rPr lang="en-US" sz="1300" dirty="0">
                <a:solidFill>
                  <a:schemeClr val="tx1"/>
                </a:solidFill>
              </a:rPr>
            </a:br>
            <a:r>
              <a:rPr lang="en-US" sz="1300" dirty="0">
                <a:solidFill>
                  <a:schemeClr val="tx1"/>
                </a:solidFill>
              </a:rPr>
              <a:t>Your KONE DX Class elevator can have easy to update digital services which can be flexibly activated and scaled to boost user experiences in your building.</a:t>
            </a:r>
          </a:p>
        </p:txBody>
      </p:sp>
      <p:pic>
        <p:nvPicPr>
          <p:cNvPr id="16" name="Picture 15">
            <a:extLst>
              <a:ext uri="{FF2B5EF4-FFF2-40B4-BE49-F238E27FC236}">
                <a16:creationId xmlns:a16="http://schemas.microsoft.com/office/drawing/2014/main" id="{EC06CB5D-5942-8343-A6BB-0851324E445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64875" y="403225"/>
            <a:ext cx="720725" cy="366270"/>
          </a:xfrm>
          <a:prstGeom prst="rect">
            <a:avLst/>
          </a:prstGeom>
        </p:spPr>
      </p:pic>
      <p:sp>
        <p:nvSpPr>
          <p:cNvPr id="23" name="Freeform 9">
            <a:hlinkClick r:id="rId5" action="ppaction://hlinksldjump"/>
            <a:extLst>
              <a:ext uri="{FF2B5EF4-FFF2-40B4-BE49-F238E27FC236}">
                <a16:creationId xmlns:a16="http://schemas.microsoft.com/office/drawing/2014/main" id="{4567F889-AF64-467A-92BF-6B1E31B669AB}"/>
              </a:ext>
            </a:extLst>
          </p:cNvPr>
          <p:cNvSpPr>
            <a:spLocks noChangeAspect="1" noEditPoints="1"/>
          </p:cNvSpPr>
          <p:nvPr/>
        </p:nvSpPr>
        <p:spPr bwMode="auto">
          <a:xfrm rot="10800000" flipV="1">
            <a:off x="191181" y="90916"/>
            <a:ext cx="108000" cy="108000"/>
          </a:xfrm>
          <a:custGeom>
            <a:avLst/>
            <a:gdLst>
              <a:gd name="T0" fmla="*/ 1082 w 2142"/>
              <a:gd name="T1" fmla="*/ 1607 h 2142"/>
              <a:gd name="T2" fmla="*/ 990 w 2142"/>
              <a:gd name="T3" fmla="*/ 1578 h 2142"/>
              <a:gd name="T4" fmla="*/ 494 w 2142"/>
              <a:gd name="T5" fmla="*/ 1025 h 2142"/>
              <a:gd name="T6" fmla="*/ 999 w 2142"/>
              <a:gd name="T7" fmla="*/ 1002 h 2142"/>
              <a:gd name="T8" fmla="*/ 1060 w 2142"/>
              <a:gd name="T9" fmla="*/ 534 h 2142"/>
              <a:gd name="T10" fmla="*/ 1153 w 2142"/>
              <a:gd name="T11" fmla="*/ 564 h 2142"/>
              <a:gd name="T12" fmla="*/ 1666 w 2142"/>
              <a:gd name="T13" fmla="*/ 1064 h 2142"/>
              <a:gd name="T14" fmla="*/ 1641 w 2142"/>
              <a:gd name="T15" fmla="*/ 1124 h 2142"/>
              <a:gd name="T16" fmla="*/ 539 w 2142"/>
              <a:gd name="T17" fmla="*/ 1140 h 2142"/>
              <a:gd name="T18" fmla="*/ 488 w 2142"/>
              <a:gd name="T19" fmla="*/ 1109 h 2142"/>
              <a:gd name="T20" fmla="*/ 988 w 2142"/>
              <a:gd name="T21" fmla="*/ 2139 h 2142"/>
              <a:gd name="T22" fmla="*/ 728 w 2142"/>
              <a:gd name="T23" fmla="*/ 2086 h 2142"/>
              <a:gd name="T24" fmla="*/ 494 w 2142"/>
              <a:gd name="T25" fmla="*/ 1973 h 2142"/>
              <a:gd name="T26" fmla="*/ 296 w 2142"/>
              <a:gd name="T27" fmla="*/ 1810 h 2142"/>
              <a:gd name="T28" fmla="*/ 142 w 2142"/>
              <a:gd name="T29" fmla="*/ 1604 h 2142"/>
              <a:gd name="T30" fmla="*/ 41 w 2142"/>
              <a:gd name="T31" fmla="*/ 1364 h 2142"/>
              <a:gd name="T32" fmla="*/ 0 w 2142"/>
              <a:gd name="T33" fmla="*/ 1098 h 2142"/>
              <a:gd name="T34" fmla="*/ 27 w 2142"/>
              <a:gd name="T35" fmla="*/ 829 h 2142"/>
              <a:gd name="T36" fmla="*/ 117 w 2142"/>
              <a:gd name="T37" fmla="*/ 584 h 2142"/>
              <a:gd name="T38" fmla="*/ 261 w 2142"/>
              <a:gd name="T39" fmla="*/ 370 h 2142"/>
              <a:gd name="T40" fmla="*/ 452 w 2142"/>
              <a:gd name="T41" fmla="*/ 198 h 2142"/>
              <a:gd name="T42" fmla="*/ 679 w 2142"/>
              <a:gd name="T43" fmla="*/ 74 h 2142"/>
              <a:gd name="T44" fmla="*/ 936 w 2142"/>
              <a:gd name="T45" fmla="*/ 8 h 2142"/>
              <a:gd name="T46" fmla="*/ 1208 w 2142"/>
              <a:gd name="T47" fmla="*/ 8 h 2142"/>
              <a:gd name="T48" fmla="*/ 1463 w 2142"/>
              <a:gd name="T49" fmla="*/ 74 h 2142"/>
              <a:gd name="T50" fmla="*/ 1691 w 2142"/>
              <a:gd name="T51" fmla="*/ 198 h 2142"/>
              <a:gd name="T52" fmla="*/ 1881 w 2142"/>
              <a:gd name="T53" fmla="*/ 370 h 2142"/>
              <a:gd name="T54" fmla="*/ 2025 w 2142"/>
              <a:gd name="T55" fmla="*/ 584 h 2142"/>
              <a:gd name="T56" fmla="*/ 2115 w 2142"/>
              <a:gd name="T57" fmla="*/ 829 h 2142"/>
              <a:gd name="T58" fmla="*/ 2142 w 2142"/>
              <a:gd name="T59" fmla="*/ 1098 h 2142"/>
              <a:gd name="T60" fmla="*/ 2101 w 2142"/>
              <a:gd name="T61" fmla="*/ 1364 h 2142"/>
              <a:gd name="T62" fmla="*/ 2000 w 2142"/>
              <a:gd name="T63" fmla="*/ 1604 h 2142"/>
              <a:gd name="T64" fmla="*/ 1846 w 2142"/>
              <a:gd name="T65" fmla="*/ 1810 h 2142"/>
              <a:gd name="T66" fmla="*/ 1648 w 2142"/>
              <a:gd name="T67" fmla="*/ 1973 h 2142"/>
              <a:gd name="T68" fmla="*/ 1414 w 2142"/>
              <a:gd name="T69" fmla="*/ 2086 h 2142"/>
              <a:gd name="T70" fmla="*/ 1154 w 2142"/>
              <a:gd name="T71" fmla="*/ 2139 h 2142"/>
              <a:gd name="T72" fmla="*/ 924 w 2142"/>
              <a:gd name="T73" fmla="*/ 113 h 2142"/>
              <a:gd name="T74" fmla="*/ 695 w 2142"/>
              <a:gd name="T75" fmla="*/ 179 h 2142"/>
              <a:gd name="T76" fmla="*/ 492 w 2142"/>
              <a:gd name="T77" fmla="*/ 296 h 2142"/>
              <a:gd name="T78" fmla="*/ 324 w 2142"/>
              <a:gd name="T79" fmla="*/ 456 h 2142"/>
              <a:gd name="T80" fmla="*/ 200 w 2142"/>
              <a:gd name="T81" fmla="*/ 652 h 2142"/>
              <a:gd name="T82" fmla="*/ 123 w 2142"/>
              <a:gd name="T83" fmla="*/ 876 h 2142"/>
              <a:gd name="T84" fmla="*/ 105 w 2142"/>
              <a:gd name="T85" fmla="*/ 1121 h 2142"/>
              <a:gd name="T86" fmla="*/ 147 w 2142"/>
              <a:gd name="T87" fmla="*/ 1358 h 2142"/>
              <a:gd name="T88" fmla="*/ 243 w 2142"/>
              <a:gd name="T89" fmla="*/ 1572 h 2142"/>
              <a:gd name="T90" fmla="*/ 388 w 2142"/>
              <a:gd name="T91" fmla="*/ 1755 h 2142"/>
              <a:gd name="T92" fmla="*/ 570 w 2142"/>
              <a:gd name="T93" fmla="*/ 1899 h 2142"/>
              <a:gd name="T94" fmla="*/ 784 w 2142"/>
              <a:gd name="T95" fmla="*/ 1996 h 2142"/>
              <a:gd name="T96" fmla="*/ 1021 w 2142"/>
              <a:gd name="T97" fmla="*/ 2037 h 2142"/>
              <a:gd name="T98" fmla="*/ 1266 w 2142"/>
              <a:gd name="T99" fmla="*/ 2019 h 2142"/>
              <a:gd name="T100" fmla="*/ 1490 w 2142"/>
              <a:gd name="T101" fmla="*/ 1943 h 2142"/>
              <a:gd name="T102" fmla="*/ 1686 w 2142"/>
              <a:gd name="T103" fmla="*/ 1818 h 2142"/>
              <a:gd name="T104" fmla="*/ 1846 w 2142"/>
              <a:gd name="T105" fmla="*/ 1650 h 2142"/>
              <a:gd name="T106" fmla="*/ 1963 w 2142"/>
              <a:gd name="T107" fmla="*/ 1447 h 2142"/>
              <a:gd name="T108" fmla="*/ 2028 w 2142"/>
              <a:gd name="T109" fmla="*/ 1218 h 2142"/>
              <a:gd name="T110" fmla="*/ 2034 w 2142"/>
              <a:gd name="T111" fmla="*/ 972 h 2142"/>
              <a:gd name="T112" fmla="*/ 1980 w 2142"/>
              <a:gd name="T113" fmla="*/ 738 h 2142"/>
              <a:gd name="T114" fmla="*/ 1873 w 2142"/>
              <a:gd name="T115" fmla="*/ 530 h 2142"/>
              <a:gd name="T116" fmla="*/ 1721 w 2142"/>
              <a:gd name="T117" fmla="*/ 354 h 2142"/>
              <a:gd name="T118" fmla="*/ 1532 w 2142"/>
              <a:gd name="T119" fmla="*/ 219 h 2142"/>
              <a:gd name="T120" fmla="*/ 1313 w 2142"/>
              <a:gd name="T121" fmla="*/ 134 h 2142"/>
              <a:gd name="T122" fmla="*/ 1072 w 2142"/>
              <a:gd name="T123" fmla="*/ 103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2" h="2142">
                <a:moveTo>
                  <a:pt x="1372" y="1210"/>
                </a:moveTo>
                <a:lnTo>
                  <a:pt x="1565" y="1210"/>
                </a:lnTo>
                <a:lnTo>
                  <a:pt x="1153" y="1578"/>
                </a:lnTo>
                <a:lnTo>
                  <a:pt x="1144" y="1585"/>
                </a:lnTo>
                <a:lnTo>
                  <a:pt x="1135" y="1590"/>
                </a:lnTo>
                <a:lnTo>
                  <a:pt x="1125" y="1596"/>
                </a:lnTo>
                <a:lnTo>
                  <a:pt x="1114" y="1601"/>
                </a:lnTo>
                <a:lnTo>
                  <a:pt x="1104" y="1604"/>
                </a:lnTo>
                <a:lnTo>
                  <a:pt x="1093" y="1606"/>
                </a:lnTo>
                <a:lnTo>
                  <a:pt x="1082" y="1607"/>
                </a:lnTo>
                <a:lnTo>
                  <a:pt x="1072" y="1608"/>
                </a:lnTo>
                <a:lnTo>
                  <a:pt x="1060" y="1607"/>
                </a:lnTo>
                <a:lnTo>
                  <a:pt x="1049" y="1606"/>
                </a:lnTo>
                <a:lnTo>
                  <a:pt x="1039" y="1604"/>
                </a:lnTo>
                <a:lnTo>
                  <a:pt x="1033" y="1603"/>
                </a:lnTo>
                <a:lnTo>
                  <a:pt x="1028" y="1601"/>
                </a:lnTo>
                <a:lnTo>
                  <a:pt x="1018" y="1596"/>
                </a:lnTo>
                <a:lnTo>
                  <a:pt x="1009" y="1590"/>
                </a:lnTo>
                <a:lnTo>
                  <a:pt x="999" y="1585"/>
                </a:lnTo>
                <a:lnTo>
                  <a:pt x="990" y="1578"/>
                </a:lnTo>
                <a:lnTo>
                  <a:pt x="975" y="1564"/>
                </a:lnTo>
                <a:lnTo>
                  <a:pt x="1372" y="1210"/>
                </a:lnTo>
                <a:close/>
                <a:moveTo>
                  <a:pt x="476" y="1070"/>
                </a:moveTo>
                <a:lnTo>
                  <a:pt x="478" y="1064"/>
                </a:lnTo>
                <a:lnTo>
                  <a:pt x="479" y="1056"/>
                </a:lnTo>
                <a:lnTo>
                  <a:pt x="481" y="1049"/>
                </a:lnTo>
                <a:lnTo>
                  <a:pt x="484" y="1042"/>
                </a:lnTo>
                <a:lnTo>
                  <a:pt x="487" y="1035"/>
                </a:lnTo>
                <a:lnTo>
                  <a:pt x="491" y="1030"/>
                </a:lnTo>
                <a:lnTo>
                  <a:pt x="494" y="1025"/>
                </a:lnTo>
                <a:lnTo>
                  <a:pt x="499" y="1020"/>
                </a:lnTo>
                <a:lnTo>
                  <a:pt x="505" y="1016"/>
                </a:lnTo>
                <a:lnTo>
                  <a:pt x="509" y="1012"/>
                </a:lnTo>
                <a:lnTo>
                  <a:pt x="515" y="1008"/>
                </a:lnTo>
                <a:lnTo>
                  <a:pt x="520" y="1006"/>
                </a:lnTo>
                <a:lnTo>
                  <a:pt x="527" y="1004"/>
                </a:lnTo>
                <a:lnTo>
                  <a:pt x="533" y="1003"/>
                </a:lnTo>
                <a:lnTo>
                  <a:pt x="539" y="1002"/>
                </a:lnTo>
                <a:lnTo>
                  <a:pt x="546" y="1002"/>
                </a:lnTo>
                <a:lnTo>
                  <a:pt x="999" y="1002"/>
                </a:lnTo>
                <a:lnTo>
                  <a:pt x="1451" y="1002"/>
                </a:lnTo>
                <a:lnTo>
                  <a:pt x="975" y="577"/>
                </a:lnTo>
                <a:lnTo>
                  <a:pt x="990" y="564"/>
                </a:lnTo>
                <a:lnTo>
                  <a:pt x="999" y="557"/>
                </a:lnTo>
                <a:lnTo>
                  <a:pt x="1009" y="550"/>
                </a:lnTo>
                <a:lnTo>
                  <a:pt x="1018" y="546"/>
                </a:lnTo>
                <a:lnTo>
                  <a:pt x="1028" y="541"/>
                </a:lnTo>
                <a:lnTo>
                  <a:pt x="1039" y="538"/>
                </a:lnTo>
                <a:lnTo>
                  <a:pt x="1049" y="536"/>
                </a:lnTo>
                <a:lnTo>
                  <a:pt x="1060" y="534"/>
                </a:lnTo>
                <a:lnTo>
                  <a:pt x="1072" y="533"/>
                </a:lnTo>
                <a:lnTo>
                  <a:pt x="1082" y="534"/>
                </a:lnTo>
                <a:lnTo>
                  <a:pt x="1093" y="536"/>
                </a:lnTo>
                <a:lnTo>
                  <a:pt x="1104" y="538"/>
                </a:lnTo>
                <a:lnTo>
                  <a:pt x="1109" y="539"/>
                </a:lnTo>
                <a:lnTo>
                  <a:pt x="1114" y="541"/>
                </a:lnTo>
                <a:lnTo>
                  <a:pt x="1125" y="546"/>
                </a:lnTo>
                <a:lnTo>
                  <a:pt x="1135" y="550"/>
                </a:lnTo>
                <a:lnTo>
                  <a:pt x="1144" y="557"/>
                </a:lnTo>
                <a:lnTo>
                  <a:pt x="1153" y="564"/>
                </a:lnTo>
                <a:lnTo>
                  <a:pt x="1629" y="988"/>
                </a:lnTo>
                <a:lnTo>
                  <a:pt x="1637" y="996"/>
                </a:lnTo>
                <a:lnTo>
                  <a:pt x="1643" y="1004"/>
                </a:lnTo>
                <a:lnTo>
                  <a:pt x="1650" y="1013"/>
                </a:lnTo>
                <a:lnTo>
                  <a:pt x="1655" y="1023"/>
                </a:lnTo>
                <a:lnTo>
                  <a:pt x="1657" y="1028"/>
                </a:lnTo>
                <a:lnTo>
                  <a:pt x="1659" y="1032"/>
                </a:lnTo>
                <a:lnTo>
                  <a:pt x="1662" y="1042"/>
                </a:lnTo>
                <a:lnTo>
                  <a:pt x="1665" y="1053"/>
                </a:lnTo>
                <a:lnTo>
                  <a:pt x="1666" y="1064"/>
                </a:lnTo>
                <a:lnTo>
                  <a:pt x="1666" y="1071"/>
                </a:lnTo>
                <a:lnTo>
                  <a:pt x="1665" y="1080"/>
                </a:lnTo>
                <a:lnTo>
                  <a:pt x="1664" y="1087"/>
                </a:lnTo>
                <a:lnTo>
                  <a:pt x="1661" y="1095"/>
                </a:lnTo>
                <a:lnTo>
                  <a:pt x="1658" y="1102"/>
                </a:lnTo>
                <a:lnTo>
                  <a:pt x="1655" y="1109"/>
                </a:lnTo>
                <a:lnTo>
                  <a:pt x="1650" y="1114"/>
                </a:lnTo>
                <a:lnTo>
                  <a:pt x="1646" y="1120"/>
                </a:lnTo>
                <a:lnTo>
                  <a:pt x="1643" y="1122"/>
                </a:lnTo>
                <a:lnTo>
                  <a:pt x="1641" y="1124"/>
                </a:lnTo>
                <a:lnTo>
                  <a:pt x="1635" y="1129"/>
                </a:lnTo>
                <a:lnTo>
                  <a:pt x="1630" y="1132"/>
                </a:lnTo>
                <a:lnTo>
                  <a:pt x="1624" y="1136"/>
                </a:lnTo>
                <a:lnTo>
                  <a:pt x="1617" y="1138"/>
                </a:lnTo>
                <a:lnTo>
                  <a:pt x="1611" y="1139"/>
                </a:lnTo>
                <a:lnTo>
                  <a:pt x="1604" y="1140"/>
                </a:lnTo>
                <a:lnTo>
                  <a:pt x="1596" y="1141"/>
                </a:lnTo>
                <a:lnTo>
                  <a:pt x="1071" y="1141"/>
                </a:lnTo>
                <a:lnTo>
                  <a:pt x="546" y="1141"/>
                </a:lnTo>
                <a:lnTo>
                  <a:pt x="539" y="1140"/>
                </a:lnTo>
                <a:lnTo>
                  <a:pt x="533" y="1139"/>
                </a:lnTo>
                <a:lnTo>
                  <a:pt x="527" y="1138"/>
                </a:lnTo>
                <a:lnTo>
                  <a:pt x="520" y="1136"/>
                </a:lnTo>
                <a:lnTo>
                  <a:pt x="515" y="1133"/>
                </a:lnTo>
                <a:lnTo>
                  <a:pt x="509" y="1130"/>
                </a:lnTo>
                <a:lnTo>
                  <a:pt x="505" y="1127"/>
                </a:lnTo>
                <a:lnTo>
                  <a:pt x="499" y="1122"/>
                </a:lnTo>
                <a:lnTo>
                  <a:pt x="494" y="1118"/>
                </a:lnTo>
                <a:lnTo>
                  <a:pt x="491" y="1113"/>
                </a:lnTo>
                <a:lnTo>
                  <a:pt x="488" y="1109"/>
                </a:lnTo>
                <a:lnTo>
                  <a:pt x="484" y="1103"/>
                </a:lnTo>
                <a:lnTo>
                  <a:pt x="481" y="1097"/>
                </a:lnTo>
                <a:lnTo>
                  <a:pt x="480" y="1091"/>
                </a:lnTo>
                <a:lnTo>
                  <a:pt x="478" y="1085"/>
                </a:lnTo>
                <a:lnTo>
                  <a:pt x="476" y="1078"/>
                </a:lnTo>
                <a:lnTo>
                  <a:pt x="476" y="1070"/>
                </a:lnTo>
                <a:close/>
                <a:moveTo>
                  <a:pt x="1072" y="2142"/>
                </a:moveTo>
                <a:lnTo>
                  <a:pt x="1044" y="2142"/>
                </a:lnTo>
                <a:lnTo>
                  <a:pt x="1017" y="2141"/>
                </a:lnTo>
                <a:lnTo>
                  <a:pt x="988" y="2139"/>
                </a:lnTo>
                <a:lnTo>
                  <a:pt x="961" y="2136"/>
                </a:lnTo>
                <a:lnTo>
                  <a:pt x="936" y="2133"/>
                </a:lnTo>
                <a:lnTo>
                  <a:pt x="909" y="2130"/>
                </a:lnTo>
                <a:lnTo>
                  <a:pt x="882" y="2125"/>
                </a:lnTo>
                <a:lnTo>
                  <a:pt x="856" y="2121"/>
                </a:lnTo>
                <a:lnTo>
                  <a:pt x="830" y="2115"/>
                </a:lnTo>
                <a:lnTo>
                  <a:pt x="804" y="2108"/>
                </a:lnTo>
                <a:lnTo>
                  <a:pt x="778" y="2101"/>
                </a:lnTo>
                <a:lnTo>
                  <a:pt x="753" y="2094"/>
                </a:lnTo>
                <a:lnTo>
                  <a:pt x="728" y="2086"/>
                </a:lnTo>
                <a:lnTo>
                  <a:pt x="704" y="2077"/>
                </a:lnTo>
                <a:lnTo>
                  <a:pt x="679" y="2068"/>
                </a:lnTo>
                <a:lnTo>
                  <a:pt x="654" y="2058"/>
                </a:lnTo>
                <a:lnTo>
                  <a:pt x="631" y="2047"/>
                </a:lnTo>
                <a:lnTo>
                  <a:pt x="607" y="2036"/>
                </a:lnTo>
                <a:lnTo>
                  <a:pt x="584" y="2025"/>
                </a:lnTo>
                <a:lnTo>
                  <a:pt x="561" y="2013"/>
                </a:lnTo>
                <a:lnTo>
                  <a:pt x="538" y="2000"/>
                </a:lnTo>
                <a:lnTo>
                  <a:pt x="516" y="1987"/>
                </a:lnTo>
                <a:lnTo>
                  <a:pt x="494" y="1973"/>
                </a:lnTo>
                <a:lnTo>
                  <a:pt x="473" y="1959"/>
                </a:lnTo>
                <a:lnTo>
                  <a:pt x="452" y="1944"/>
                </a:lnTo>
                <a:lnTo>
                  <a:pt x="431" y="1929"/>
                </a:lnTo>
                <a:lnTo>
                  <a:pt x="410" y="1913"/>
                </a:lnTo>
                <a:lnTo>
                  <a:pt x="391" y="1898"/>
                </a:lnTo>
                <a:lnTo>
                  <a:pt x="371" y="1881"/>
                </a:lnTo>
                <a:lnTo>
                  <a:pt x="351" y="1864"/>
                </a:lnTo>
                <a:lnTo>
                  <a:pt x="332" y="1846"/>
                </a:lnTo>
                <a:lnTo>
                  <a:pt x="314" y="1828"/>
                </a:lnTo>
                <a:lnTo>
                  <a:pt x="296" y="1810"/>
                </a:lnTo>
                <a:lnTo>
                  <a:pt x="278" y="1791"/>
                </a:lnTo>
                <a:lnTo>
                  <a:pt x="261" y="1772"/>
                </a:lnTo>
                <a:lnTo>
                  <a:pt x="245" y="1751"/>
                </a:lnTo>
                <a:lnTo>
                  <a:pt x="229" y="1732"/>
                </a:lnTo>
                <a:lnTo>
                  <a:pt x="213" y="1712"/>
                </a:lnTo>
                <a:lnTo>
                  <a:pt x="198" y="1691"/>
                </a:lnTo>
                <a:lnTo>
                  <a:pt x="184" y="1669"/>
                </a:lnTo>
                <a:lnTo>
                  <a:pt x="169" y="1648"/>
                </a:lnTo>
                <a:lnTo>
                  <a:pt x="156" y="1626"/>
                </a:lnTo>
                <a:lnTo>
                  <a:pt x="142" y="1604"/>
                </a:lnTo>
                <a:lnTo>
                  <a:pt x="130" y="1581"/>
                </a:lnTo>
                <a:lnTo>
                  <a:pt x="117" y="1558"/>
                </a:lnTo>
                <a:lnTo>
                  <a:pt x="106" y="1535"/>
                </a:lnTo>
                <a:lnTo>
                  <a:pt x="95" y="1512"/>
                </a:lnTo>
                <a:lnTo>
                  <a:pt x="85" y="1488"/>
                </a:lnTo>
                <a:lnTo>
                  <a:pt x="75" y="1463"/>
                </a:lnTo>
                <a:lnTo>
                  <a:pt x="66" y="1438"/>
                </a:lnTo>
                <a:lnTo>
                  <a:pt x="57" y="1414"/>
                </a:lnTo>
                <a:lnTo>
                  <a:pt x="49" y="1389"/>
                </a:lnTo>
                <a:lnTo>
                  <a:pt x="41" y="1364"/>
                </a:lnTo>
                <a:lnTo>
                  <a:pt x="34" y="1338"/>
                </a:lnTo>
                <a:lnTo>
                  <a:pt x="27" y="1312"/>
                </a:lnTo>
                <a:lnTo>
                  <a:pt x="22" y="1286"/>
                </a:lnTo>
                <a:lnTo>
                  <a:pt x="17" y="1261"/>
                </a:lnTo>
                <a:lnTo>
                  <a:pt x="13" y="1234"/>
                </a:lnTo>
                <a:lnTo>
                  <a:pt x="9" y="1208"/>
                </a:lnTo>
                <a:lnTo>
                  <a:pt x="6" y="1181"/>
                </a:lnTo>
                <a:lnTo>
                  <a:pt x="4" y="1154"/>
                </a:lnTo>
                <a:lnTo>
                  <a:pt x="2" y="1125"/>
                </a:lnTo>
                <a:lnTo>
                  <a:pt x="0" y="1098"/>
                </a:lnTo>
                <a:lnTo>
                  <a:pt x="0" y="1070"/>
                </a:lnTo>
                <a:lnTo>
                  <a:pt x="0" y="1043"/>
                </a:lnTo>
                <a:lnTo>
                  <a:pt x="2" y="1016"/>
                </a:lnTo>
                <a:lnTo>
                  <a:pt x="4" y="988"/>
                </a:lnTo>
                <a:lnTo>
                  <a:pt x="6" y="961"/>
                </a:lnTo>
                <a:lnTo>
                  <a:pt x="9" y="934"/>
                </a:lnTo>
                <a:lnTo>
                  <a:pt x="13" y="908"/>
                </a:lnTo>
                <a:lnTo>
                  <a:pt x="17" y="881"/>
                </a:lnTo>
                <a:lnTo>
                  <a:pt x="22" y="855"/>
                </a:lnTo>
                <a:lnTo>
                  <a:pt x="27" y="829"/>
                </a:lnTo>
                <a:lnTo>
                  <a:pt x="34" y="803"/>
                </a:lnTo>
                <a:lnTo>
                  <a:pt x="41" y="778"/>
                </a:lnTo>
                <a:lnTo>
                  <a:pt x="49" y="753"/>
                </a:lnTo>
                <a:lnTo>
                  <a:pt x="57" y="728"/>
                </a:lnTo>
                <a:lnTo>
                  <a:pt x="66" y="703"/>
                </a:lnTo>
                <a:lnTo>
                  <a:pt x="75" y="679"/>
                </a:lnTo>
                <a:lnTo>
                  <a:pt x="85" y="654"/>
                </a:lnTo>
                <a:lnTo>
                  <a:pt x="95" y="630"/>
                </a:lnTo>
                <a:lnTo>
                  <a:pt x="106" y="606"/>
                </a:lnTo>
                <a:lnTo>
                  <a:pt x="117" y="584"/>
                </a:lnTo>
                <a:lnTo>
                  <a:pt x="130" y="560"/>
                </a:lnTo>
                <a:lnTo>
                  <a:pt x="142" y="538"/>
                </a:lnTo>
                <a:lnTo>
                  <a:pt x="156" y="515"/>
                </a:lnTo>
                <a:lnTo>
                  <a:pt x="169" y="494"/>
                </a:lnTo>
                <a:lnTo>
                  <a:pt x="184" y="473"/>
                </a:lnTo>
                <a:lnTo>
                  <a:pt x="198" y="451"/>
                </a:lnTo>
                <a:lnTo>
                  <a:pt x="213" y="430"/>
                </a:lnTo>
                <a:lnTo>
                  <a:pt x="229" y="409"/>
                </a:lnTo>
                <a:lnTo>
                  <a:pt x="245" y="389"/>
                </a:lnTo>
                <a:lnTo>
                  <a:pt x="261" y="370"/>
                </a:lnTo>
                <a:lnTo>
                  <a:pt x="278" y="351"/>
                </a:lnTo>
                <a:lnTo>
                  <a:pt x="296" y="332"/>
                </a:lnTo>
                <a:lnTo>
                  <a:pt x="314" y="314"/>
                </a:lnTo>
                <a:lnTo>
                  <a:pt x="332" y="296"/>
                </a:lnTo>
                <a:lnTo>
                  <a:pt x="351" y="278"/>
                </a:lnTo>
                <a:lnTo>
                  <a:pt x="371" y="261"/>
                </a:lnTo>
                <a:lnTo>
                  <a:pt x="391" y="244"/>
                </a:lnTo>
                <a:lnTo>
                  <a:pt x="410" y="228"/>
                </a:lnTo>
                <a:lnTo>
                  <a:pt x="431" y="212"/>
                </a:lnTo>
                <a:lnTo>
                  <a:pt x="452" y="198"/>
                </a:lnTo>
                <a:lnTo>
                  <a:pt x="473" y="183"/>
                </a:lnTo>
                <a:lnTo>
                  <a:pt x="494" y="169"/>
                </a:lnTo>
                <a:lnTo>
                  <a:pt x="516" y="155"/>
                </a:lnTo>
                <a:lnTo>
                  <a:pt x="538" y="142"/>
                </a:lnTo>
                <a:lnTo>
                  <a:pt x="561" y="129"/>
                </a:lnTo>
                <a:lnTo>
                  <a:pt x="584" y="117"/>
                </a:lnTo>
                <a:lnTo>
                  <a:pt x="607" y="106"/>
                </a:lnTo>
                <a:lnTo>
                  <a:pt x="631" y="94"/>
                </a:lnTo>
                <a:lnTo>
                  <a:pt x="654" y="84"/>
                </a:lnTo>
                <a:lnTo>
                  <a:pt x="679" y="74"/>
                </a:lnTo>
                <a:lnTo>
                  <a:pt x="704" y="65"/>
                </a:lnTo>
                <a:lnTo>
                  <a:pt x="728" y="56"/>
                </a:lnTo>
                <a:lnTo>
                  <a:pt x="753" y="48"/>
                </a:lnTo>
                <a:lnTo>
                  <a:pt x="778" y="40"/>
                </a:lnTo>
                <a:lnTo>
                  <a:pt x="804" y="33"/>
                </a:lnTo>
                <a:lnTo>
                  <a:pt x="830" y="27"/>
                </a:lnTo>
                <a:lnTo>
                  <a:pt x="856" y="21"/>
                </a:lnTo>
                <a:lnTo>
                  <a:pt x="882" y="17"/>
                </a:lnTo>
                <a:lnTo>
                  <a:pt x="909" y="12"/>
                </a:lnTo>
                <a:lnTo>
                  <a:pt x="936" y="8"/>
                </a:lnTo>
                <a:lnTo>
                  <a:pt x="961" y="5"/>
                </a:lnTo>
                <a:lnTo>
                  <a:pt x="988" y="3"/>
                </a:lnTo>
                <a:lnTo>
                  <a:pt x="1017" y="1"/>
                </a:lnTo>
                <a:lnTo>
                  <a:pt x="1044" y="0"/>
                </a:lnTo>
                <a:lnTo>
                  <a:pt x="1072" y="0"/>
                </a:lnTo>
                <a:lnTo>
                  <a:pt x="1099" y="0"/>
                </a:lnTo>
                <a:lnTo>
                  <a:pt x="1126" y="1"/>
                </a:lnTo>
                <a:lnTo>
                  <a:pt x="1154" y="3"/>
                </a:lnTo>
                <a:lnTo>
                  <a:pt x="1181" y="5"/>
                </a:lnTo>
                <a:lnTo>
                  <a:pt x="1208" y="8"/>
                </a:lnTo>
                <a:lnTo>
                  <a:pt x="1234" y="12"/>
                </a:lnTo>
                <a:lnTo>
                  <a:pt x="1261" y="17"/>
                </a:lnTo>
                <a:lnTo>
                  <a:pt x="1287" y="21"/>
                </a:lnTo>
                <a:lnTo>
                  <a:pt x="1313" y="27"/>
                </a:lnTo>
                <a:lnTo>
                  <a:pt x="1338" y="33"/>
                </a:lnTo>
                <a:lnTo>
                  <a:pt x="1364" y="40"/>
                </a:lnTo>
                <a:lnTo>
                  <a:pt x="1389" y="48"/>
                </a:lnTo>
                <a:lnTo>
                  <a:pt x="1414" y="56"/>
                </a:lnTo>
                <a:lnTo>
                  <a:pt x="1439" y="65"/>
                </a:lnTo>
                <a:lnTo>
                  <a:pt x="1463" y="74"/>
                </a:lnTo>
                <a:lnTo>
                  <a:pt x="1488" y="84"/>
                </a:lnTo>
                <a:lnTo>
                  <a:pt x="1512" y="94"/>
                </a:lnTo>
                <a:lnTo>
                  <a:pt x="1535" y="106"/>
                </a:lnTo>
                <a:lnTo>
                  <a:pt x="1558" y="117"/>
                </a:lnTo>
                <a:lnTo>
                  <a:pt x="1581" y="129"/>
                </a:lnTo>
                <a:lnTo>
                  <a:pt x="1604" y="142"/>
                </a:lnTo>
                <a:lnTo>
                  <a:pt x="1626" y="155"/>
                </a:lnTo>
                <a:lnTo>
                  <a:pt x="1648" y="169"/>
                </a:lnTo>
                <a:lnTo>
                  <a:pt x="1669" y="183"/>
                </a:lnTo>
                <a:lnTo>
                  <a:pt x="1691" y="198"/>
                </a:lnTo>
                <a:lnTo>
                  <a:pt x="1712" y="212"/>
                </a:lnTo>
                <a:lnTo>
                  <a:pt x="1732" y="228"/>
                </a:lnTo>
                <a:lnTo>
                  <a:pt x="1753" y="244"/>
                </a:lnTo>
                <a:lnTo>
                  <a:pt x="1772" y="261"/>
                </a:lnTo>
                <a:lnTo>
                  <a:pt x="1791" y="278"/>
                </a:lnTo>
                <a:lnTo>
                  <a:pt x="1810" y="296"/>
                </a:lnTo>
                <a:lnTo>
                  <a:pt x="1828" y="314"/>
                </a:lnTo>
                <a:lnTo>
                  <a:pt x="1846" y="332"/>
                </a:lnTo>
                <a:lnTo>
                  <a:pt x="1864" y="351"/>
                </a:lnTo>
                <a:lnTo>
                  <a:pt x="1881" y="370"/>
                </a:lnTo>
                <a:lnTo>
                  <a:pt x="1898" y="389"/>
                </a:lnTo>
                <a:lnTo>
                  <a:pt x="1913" y="409"/>
                </a:lnTo>
                <a:lnTo>
                  <a:pt x="1929" y="430"/>
                </a:lnTo>
                <a:lnTo>
                  <a:pt x="1944" y="451"/>
                </a:lnTo>
                <a:lnTo>
                  <a:pt x="1958" y="473"/>
                </a:lnTo>
                <a:lnTo>
                  <a:pt x="1973" y="494"/>
                </a:lnTo>
                <a:lnTo>
                  <a:pt x="1987" y="515"/>
                </a:lnTo>
                <a:lnTo>
                  <a:pt x="2000" y="538"/>
                </a:lnTo>
                <a:lnTo>
                  <a:pt x="2012" y="560"/>
                </a:lnTo>
                <a:lnTo>
                  <a:pt x="2025" y="584"/>
                </a:lnTo>
                <a:lnTo>
                  <a:pt x="2036" y="606"/>
                </a:lnTo>
                <a:lnTo>
                  <a:pt x="2047" y="630"/>
                </a:lnTo>
                <a:lnTo>
                  <a:pt x="2057" y="654"/>
                </a:lnTo>
                <a:lnTo>
                  <a:pt x="2068" y="679"/>
                </a:lnTo>
                <a:lnTo>
                  <a:pt x="2077" y="703"/>
                </a:lnTo>
                <a:lnTo>
                  <a:pt x="2086" y="728"/>
                </a:lnTo>
                <a:lnTo>
                  <a:pt x="2093" y="753"/>
                </a:lnTo>
                <a:lnTo>
                  <a:pt x="2101" y="778"/>
                </a:lnTo>
                <a:lnTo>
                  <a:pt x="2108" y="803"/>
                </a:lnTo>
                <a:lnTo>
                  <a:pt x="2115" y="829"/>
                </a:lnTo>
                <a:lnTo>
                  <a:pt x="2121" y="855"/>
                </a:lnTo>
                <a:lnTo>
                  <a:pt x="2125" y="881"/>
                </a:lnTo>
                <a:lnTo>
                  <a:pt x="2130" y="908"/>
                </a:lnTo>
                <a:lnTo>
                  <a:pt x="2134" y="934"/>
                </a:lnTo>
                <a:lnTo>
                  <a:pt x="2136" y="961"/>
                </a:lnTo>
                <a:lnTo>
                  <a:pt x="2139" y="988"/>
                </a:lnTo>
                <a:lnTo>
                  <a:pt x="2141" y="1016"/>
                </a:lnTo>
                <a:lnTo>
                  <a:pt x="2142" y="1043"/>
                </a:lnTo>
                <a:lnTo>
                  <a:pt x="2142" y="1070"/>
                </a:lnTo>
                <a:lnTo>
                  <a:pt x="2142" y="1098"/>
                </a:lnTo>
                <a:lnTo>
                  <a:pt x="2141" y="1125"/>
                </a:lnTo>
                <a:lnTo>
                  <a:pt x="2139" y="1154"/>
                </a:lnTo>
                <a:lnTo>
                  <a:pt x="2136" y="1181"/>
                </a:lnTo>
                <a:lnTo>
                  <a:pt x="2134" y="1208"/>
                </a:lnTo>
                <a:lnTo>
                  <a:pt x="2130" y="1234"/>
                </a:lnTo>
                <a:lnTo>
                  <a:pt x="2125" y="1261"/>
                </a:lnTo>
                <a:lnTo>
                  <a:pt x="2121" y="1286"/>
                </a:lnTo>
                <a:lnTo>
                  <a:pt x="2115" y="1312"/>
                </a:lnTo>
                <a:lnTo>
                  <a:pt x="2108" y="1338"/>
                </a:lnTo>
                <a:lnTo>
                  <a:pt x="2101" y="1364"/>
                </a:lnTo>
                <a:lnTo>
                  <a:pt x="2093" y="1389"/>
                </a:lnTo>
                <a:lnTo>
                  <a:pt x="2086" y="1414"/>
                </a:lnTo>
                <a:lnTo>
                  <a:pt x="2077" y="1438"/>
                </a:lnTo>
                <a:lnTo>
                  <a:pt x="2068" y="1463"/>
                </a:lnTo>
                <a:lnTo>
                  <a:pt x="2057" y="1488"/>
                </a:lnTo>
                <a:lnTo>
                  <a:pt x="2047" y="1512"/>
                </a:lnTo>
                <a:lnTo>
                  <a:pt x="2036" y="1535"/>
                </a:lnTo>
                <a:lnTo>
                  <a:pt x="2025" y="1558"/>
                </a:lnTo>
                <a:lnTo>
                  <a:pt x="2012" y="1581"/>
                </a:lnTo>
                <a:lnTo>
                  <a:pt x="2000" y="1604"/>
                </a:lnTo>
                <a:lnTo>
                  <a:pt x="1987" y="1626"/>
                </a:lnTo>
                <a:lnTo>
                  <a:pt x="1973" y="1648"/>
                </a:lnTo>
                <a:lnTo>
                  <a:pt x="1958" y="1669"/>
                </a:lnTo>
                <a:lnTo>
                  <a:pt x="1944" y="1691"/>
                </a:lnTo>
                <a:lnTo>
                  <a:pt x="1929" y="1712"/>
                </a:lnTo>
                <a:lnTo>
                  <a:pt x="1913" y="1732"/>
                </a:lnTo>
                <a:lnTo>
                  <a:pt x="1898" y="1751"/>
                </a:lnTo>
                <a:lnTo>
                  <a:pt x="1881" y="1772"/>
                </a:lnTo>
                <a:lnTo>
                  <a:pt x="1864" y="1791"/>
                </a:lnTo>
                <a:lnTo>
                  <a:pt x="1846" y="1810"/>
                </a:lnTo>
                <a:lnTo>
                  <a:pt x="1828" y="1828"/>
                </a:lnTo>
                <a:lnTo>
                  <a:pt x="1810" y="1846"/>
                </a:lnTo>
                <a:lnTo>
                  <a:pt x="1791" y="1864"/>
                </a:lnTo>
                <a:lnTo>
                  <a:pt x="1772" y="1881"/>
                </a:lnTo>
                <a:lnTo>
                  <a:pt x="1753" y="1898"/>
                </a:lnTo>
                <a:lnTo>
                  <a:pt x="1732" y="1913"/>
                </a:lnTo>
                <a:lnTo>
                  <a:pt x="1712" y="1929"/>
                </a:lnTo>
                <a:lnTo>
                  <a:pt x="1691" y="1944"/>
                </a:lnTo>
                <a:lnTo>
                  <a:pt x="1669" y="1959"/>
                </a:lnTo>
                <a:lnTo>
                  <a:pt x="1648" y="1973"/>
                </a:lnTo>
                <a:lnTo>
                  <a:pt x="1626" y="1987"/>
                </a:lnTo>
                <a:lnTo>
                  <a:pt x="1604" y="2000"/>
                </a:lnTo>
                <a:lnTo>
                  <a:pt x="1581" y="2013"/>
                </a:lnTo>
                <a:lnTo>
                  <a:pt x="1558" y="2025"/>
                </a:lnTo>
                <a:lnTo>
                  <a:pt x="1535" y="2036"/>
                </a:lnTo>
                <a:lnTo>
                  <a:pt x="1512" y="2047"/>
                </a:lnTo>
                <a:lnTo>
                  <a:pt x="1488" y="2058"/>
                </a:lnTo>
                <a:lnTo>
                  <a:pt x="1463" y="2068"/>
                </a:lnTo>
                <a:lnTo>
                  <a:pt x="1439" y="2077"/>
                </a:lnTo>
                <a:lnTo>
                  <a:pt x="1414" y="2086"/>
                </a:lnTo>
                <a:lnTo>
                  <a:pt x="1389" y="2094"/>
                </a:lnTo>
                <a:lnTo>
                  <a:pt x="1364" y="2101"/>
                </a:lnTo>
                <a:lnTo>
                  <a:pt x="1338" y="2108"/>
                </a:lnTo>
                <a:lnTo>
                  <a:pt x="1313" y="2115"/>
                </a:lnTo>
                <a:lnTo>
                  <a:pt x="1287" y="2121"/>
                </a:lnTo>
                <a:lnTo>
                  <a:pt x="1261" y="2125"/>
                </a:lnTo>
                <a:lnTo>
                  <a:pt x="1234" y="2130"/>
                </a:lnTo>
                <a:lnTo>
                  <a:pt x="1208" y="2133"/>
                </a:lnTo>
                <a:lnTo>
                  <a:pt x="1181" y="2136"/>
                </a:lnTo>
                <a:lnTo>
                  <a:pt x="1154" y="2139"/>
                </a:lnTo>
                <a:lnTo>
                  <a:pt x="1126" y="2141"/>
                </a:lnTo>
                <a:lnTo>
                  <a:pt x="1099" y="2142"/>
                </a:lnTo>
                <a:lnTo>
                  <a:pt x="1072" y="2142"/>
                </a:lnTo>
                <a:close/>
                <a:moveTo>
                  <a:pt x="1072" y="103"/>
                </a:moveTo>
                <a:lnTo>
                  <a:pt x="1046" y="103"/>
                </a:lnTo>
                <a:lnTo>
                  <a:pt x="1021" y="104"/>
                </a:lnTo>
                <a:lnTo>
                  <a:pt x="997" y="106"/>
                </a:lnTo>
                <a:lnTo>
                  <a:pt x="973" y="108"/>
                </a:lnTo>
                <a:lnTo>
                  <a:pt x="948" y="110"/>
                </a:lnTo>
                <a:lnTo>
                  <a:pt x="924" y="113"/>
                </a:lnTo>
                <a:lnTo>
                  <a:pt x="901" y="118"/>
                </a:lnTo>
                <a:lnTo>
                  <a:pt x="876" y="122"/>
                </a:lnTo>
                <a:lnTo>
                  <a:pt x="853" y="128"/>
                </a:lnTo>
                <a:lnTo>
                  <a:pt x="830" y="134"/>
                </a:lnTo>
                <a:lnTo>
                  <a:pt x="806" y="139"/>
                </a:lnTo>
                <a:lnTo>
                  <a:pt x="784" y="146"/>
                </a:lnTo>
                <a:lnTo>
                  <a:pt x="761" y="154"/>
                </a:lnTo>
                <a:lnTo>
                  <a:pt x="739" y="162"/>
                </a:lnTo>
                <a:lnTo>
                  <a:pt x="717" y="170"/>
                </a:lnTo>
                <a:lnTo>
                  <a:pt x="695" y="179"/>
                </a:lnTo>
                <a:lnTo>
                  <a:pt x="673" y="189"/>
                </a:lnTo>
                <a:lnTo>
                  <a:pt x="652" y="198"/>
                </a:lnTo>
                <a:lnTo>
                  <a:pt x="631" y="209"/>
                </a:lnTo>
                <a:lnTo>
                  <a:pt x="610" y="219"/>
                </a:lnTo>
                <a:lnTo>
                  <a:pt x="590" y="232"/>
                </a:lnTo>
                <a:lnTo>
                  <a:pt x="570" y="243"/>
                </a:lnTo>
                <a:lnTo>
                  <a:pt x="550" y="255"/>
                </a:lnTo>
                <a:lnTo>
                  <a:pt x="530" y="269"/>
                </a:lnTo>
                <a:lnTo>
                  <a:pt x="511" y="281"/>
                </a:lnTo>
                <a:lnTo>
                  <a:pt x="492" y="296"/>
                </a:lnTo>
                <a:lnTo>
                  <a:pt x="474" y="309"/>
                </a:lnTo>
                <a:lnTo>
                  <a:pt x="456" y="324"/>
                </a:lnTo>
                <a:lnTo>
                  <a:pt x="438" y="340"/>
                </a:lnTo>
                <a:lnTo>
                  <a:pt x="421" y="354"/>
                </a:lnTo>
                <a:lnTo>
                  <a:pt x="404" y="370"/>
                </a:lnTo>
                <a:lnTo>
                  <a:pt x="388" y="387"/>
                </a:lnTo>
                <a:lnTo>
                  <a:pt x="371" y="403"/>
                </a:lnTo>
                <a:lnTo>
                  <a:pt x="355" y="421"/>
                </a:lnTo>
                <a:lnTo>
                  <a:pt x="340" y="438"/>
                </a:lnTo>
                <a:lnTo>
                  <a:pt x="324" y="456"/>
                </a:lnTo>
                <a:lnTo>
                  <a:pt x="310" y="474"/>
                </a:lnTo>
                <a:lnTo>
                  <a:pt x="296" y="492"/>
                </a:lnTo>
                <a:lnTo>
                  <a:pt x="283" y="511"/>
                </a:lnTo>
                <a:lnTo>
                  <a:pt x="269" y="530"/>
                </a:lnTo>
                <a:lnTo>
                  <a:pt x="256" y="549"/>
                </a:lnTo>
                <a:lnTo>
                  <a:pt x="243" y="569"/>
                </a:lnTo>
                <a:lnTo>
                  <a:pt x="232" y="590"/>
                </a:lnTo>
                <a:lnTo>
                  <a:pt x="221" y="610"/>
                </a:lnTo>
                <a:lnTo>
                  <a:pt x="210" y="630"/>
                </a:lnTo>
                <a:lnTo>
                  <a:pt x="200" y="652"/>
                </a:lnTo>
                <a:lnTo>
                  <a:pt x="189" y="673"/>
                </a:lnTo>
                <a:lnTo>
                  <a:pt x="179" y="694"/>
                </a:lnTo>
                <a:lnTo>
                  <a:pt x="170" y="716"/>
                </a:lnTo>
                <a:lnTo>
                  <a:pt x="162" y="738"/>
                </a:lnTo>
                <a:lnTo>
                  <a:pt x="155" y="761"/>
                </a:lnTo>
                <a:lnTo>
                  <a:pt x="147" y="783"/>
                </a:lnTo>
                <a:lnTo>
                  <a:pt x="140" y="806"/>
                </a:lnTo>
                <a:lnTo>
                  <a:pt x="134" y="829"/>
                </a:lnTo>
                <a:lnTo>
                  <a:pt x="129" y="853"/>
                </a:lnTo>
                <a:lnTo>
                  <a:pt x="123" y="876"/>
                </a:lnTo>
                <a:lnTo>
                  <a:pt x="119" y="899"/>
                </a:lnTo>
                <a:lnTo>
                  <a:pt x="115" y="924"/>
                </a:lnTo>
                <a:lnTo>
                  <a:pt x="112" y="948"/>
                </a:lnTo>
                <a:lnTo>
                  <a:pt x="108" y="972"/>
                </a:lnTo>
                <a:lnTo>
                  <a:pt x="106" y="996"/>
                </a:lnTo>
                <a:lnTo>
                  <a:pt x="105" y="1021"/>
                </a:lnTo>
                <a:lnTo>
                  <a:pt x="104" y="1046"/>
                </a:lnTo>
                <a:lnTo>
                  <a:pt x="104" y="1070"/>
                </a:lnTo>
                <a:lnTo>
                  <a:pt x="104" y="1096"/>
                </a:lnTo>
                <a:lnTo>
                  <a:pt x="105" y="1121"/>
                </a:lnTo>
                <a:lnTo>
                  <a:pt x="106" y="1146"/>
                </a:lnTo>
                <a:lnTo>
                  <a:pt x="108" y="1169"/>
                </a:lnTo>
                <a:lnTo>
                  <a:pt x="112" y="1194"/>
                </a:lnTo>
                <a:lnTo>
                  <a:pt x="115" y="1218"/>
                </a:lnTo>
                <a:lnTo>
                  <a:pt x="119" y="1241"/>
                </a:lnTo>
                <a:lnTo>
                  <a:pt x="123" y="1266"/>
                </a:lnTo>
                <a:lnTo>
                  <a:pt x="129" y="1289"/>
                </a:lnTo>
                <a:lnTo>
                  <a:pt x="134" y="1312"/>
                </a:lnTo>
                <a:lnTo>
                  <a:pt x="140" y="1336"/>
                </a:lnTo>
                <a:lnTo>
                  <a:pt x="147" y="1358"/>
                </a:lnTo>
                <a:lnTo>
                  <a:pt x="155" y="1381"/>
                </a:lnTo>
                <a:lnTo>
                  <a:pt x="162" y="1404"/>
                </a:lnTo>
                <a:lnTo>
                  <a:pt x="170" y="1425"/>
                </a:lnTo>
                <a:lnTo>
                  <a:pt x="179" y="1447"/>
                </a:lnTo>
                <a:lnTo>
                  <a:pt x="189" y="1469"/>
                </a:lnTo>
                <a:lnTo>
                  <a:pt x="200" y="1490"/>
                </a:lnTo>
                <a:lnTo>
                  <a:pt x="210" y="1512"/>
                </a:lnTo>
                <a:lnTo>
                  <a:pt x="221" y="1532"/>
                </a:lnTo>
                <a:lnTo>
                  <a:pt x="232" y="1552"/>
                </a:lnTo>
                <a:lnTo>
                  <a:pt x="243" y="1572"/>
                </a:lnTo>
                <a:lnTo>
                  <a:pt x="256" y="1593"/>
                </a:lnTo>
                <a:lnTo>
                  <a:pt x="269" y="1612"/>
                </a:lnTo>
                <a:lnTo>
                  <a:pt x="283" y="1631"/>
                </a:lnTo>
                <a:lnTo>
                  <a:pt x="296" y="1650"/>
                </a:lnTo>
                <a:lnTo>
                  <a:pt x="310" y="1668"/>
                </a:lnTo>
                <a:lnTo>
                  <a:pt x="324" y="1686"/>
                </a:lnTo>
                <a:lnTo>
                  <a:pt x="340" y="1704"/>
                </a:lnTo>
                <a:lnTo>
                  <a:pt x="355" y="1721"/>
                </a:lnTo>
                <a:lnTo>
                  <a:pt x="371" y="1738"/>
                </a:lnTo>
                <a:lnTo>
                  <a:pt x="388" y="1755"/>
                </a:lnTo>
                <a:lnTo>
                  <a:pt x="404" y="1772"/>
                </a:lnTo>
                <a:lnTo>
                  <a:pt x="421" y="1787"/>
                </a:lnTo>
                <a:lnTo>
                  <a:pt x="438" y="1802"/>
                </a:lnTo>
                <a:lnTo>
                  <a:pt x="456" y="1818"/>
                </a:lnTo>
                <a:lnTo>
                  <a:pt x="474" y="1832"/>
                </a:lnTo>
                <a:lnTo>
                  <a:pt x="492" y="1846"/>
                </a:lnTo>
                <a:lnTo>
                  <a:pt x="511" y="1859"/>
                </a:lnTo>
                <a:lnTo>
                  <a:pt x="530" y="1873"/>
                </a:lnTo>
                <a:lnTo>
                  <a:pt x="550" y="1886"/>
                </a:lnTo>
                <a:lnTo>
                  <a:pt x="570" y="1899"/>
                </a:lnTo>
                <a:lnTo>
                  <a:pt x="590" y="1910"/>
                </a:lnTo>
                <a:lnTo>
                  <a:pt x="610" y="1921"/>
                </a:lnTo>
                <a:lnTo>
                  <a:pt x="631" y="1933"/>
                </a:lnTo>
                <a:lnTo>
                  <a:pt x="652" y="1943"/>
                </a:lnTo>
                <a:lnTo>
                  <a:pt x="673" y="1953"/>
                </a:lnTo>
                <a:lnTo>
                  <a:pt x="695" y="1963"/>
                </a:lnTo>
                <a:lnTo>
                  <a:pt x="717" y="1972"/>
                </a:lnTo>
                <a:lnTo>
                  <a:pt x="739" y="1980"/>
                </a:lnTo>
                <a:lnTo>
                  <a:pt x="761" y="1988"/>
                </a:lnTo>
                <a:lnTo>
                  <a:pt x="784" y="1996"/>
                </a:lnTo>
                <a:lnTo>
                  <a:pt x="806" y="2002"/>
                </a:lnTo>
                <a:lnTo>
                  <a:pt x="830" y="2008"/>
                </a:lnTo>
                <a:lnTo>
                  <a:pt x="853" y="2014"/>
                </a:lnTo>
                <a:lnTo>
                  <a:pt x="876" y="2019"/>
                </a:lnTo>
                <a:lnTo>
                  <a:pt x="901" y="2024"/>
                </a:lnTo>
                <a:lnTo>
                  <a:pt x="924" y="2027"/>
                </a:lnTo>
                <a:lnTo>
                  <a:pt x="948" y="2031"/>
                </a:lnTo>
                <a:lnTo>
                  <a:pt x="973" y="2034"/>
                </a:lnTo>
                <a:lnTo>
                  <a:pt x="997" y="2036"/>
                </a:lnTo>
                <a:lnTo>
                  <a:pt x="1021" y="2037"/>
                </a:lnTo>
                <a:lnTo>
                  <a:pt x="1046" y="2038"/>
                </a:lnTo>
                <a:lnTo>
                  <a:pt x="1072" y="2038"/>
                </a:lnTo>
                <a:lnTo>
                  <a:pt x="1096" y="2038"/>
                </a:lnTo>
                <a:lnTo>
                  <a:pt x="1121" y="2037"/>
                </a:lnTo>
                <a:lnTo>
                  <a:pt x="1146" y="2036"/>
                </a:lnTo>
                <a:lnTo>
                  <a:pt x="1170" y="2034"/>
                </a:lnTo>
                <a:lnTo>
                  <a:pt x="1194" y="2031"/>
                </a:lnTo>
                <a:lnTo>
                  <a:pt x="1218" y="2027"/>
                </a:lnTo>
                <a:lnTo>
                  <a:pt x="1243" y="2024"/>
                </a:lnTo>
                <a:lnTo>
                  <a:pt x="1266" y="2019"/>
                </a:lnTo>
                <a:lnTo>
                  <a:pt x="1290" y="2014"/>
                </a:lnTo>
                <a:lnTo>
                  <a:pt x="1313" y="2008"/>
                </a:lnTo>
                <a:lnTo>
                  <a:pt x="1336" y="2002"/>
                </a:lnTo>
                <a:lnTo>
                  <a:pt x="1359" y="1996"/>
                </a:lnTo>
                <a:lnTo>
                  <a:pt x="1381" y="1988"/>
                </a:lnTo>
                <a:lnTo>
                  <a:pt x="1404" y="1980"/>
                </a:lnTo>
                <a:lnTo>
                  <a:pt x="1426" y="1972"/>
                </a:lnTo>
                <a:lnTo>
                  <a:pt x="1448" y="1963"/>
                </a:lnTo>
                <a:lnTo>
                  <a:pt x="1469" y="1953"/>
                </a:lnTo>
                <a:lnTo>
                  <a:pt x="1490" y="1943"/>
                </a:lnTo>
                <a:lnTo>
                  <a:pt x="1512" y="1933"/>
                </a:lnTo>
                <a:lnTo>
                  <a:pt x="1532" y="1921"/>
                </a:lnTo>
                <a:lnTo>
                  <a:pt x="1552" y="1910"/>
                </a:lnTo>
                <a:lnTo>
                  <a:pt x="1572" y="1899"/>
                </a:lnTo>
                <a:lnTo>
                  <a:pt x="1593" y="1886"/>
                </a:lnTo>
                <a:lnTo>
                  <a:pt x="1612" y="1873"/>
                </a:lnTo>
                <a:lnTo>
                  <a:pt x="1631" y="1859"/>
                </a:lnTo>
                <a:lnTo>
                  <a:pt x="1650" y="1846"/>
                </a:lnTo>
                <a:lnTo>
                  <a:pt x="1668" y="1832"/>
                </a:lnTo>
                <a:lnTo>
                  <a:pt x="1686" y="1818"/>
                </a:lnTo>
                <a:lnTo>
                  <a:pt x="1704" y="1802"/>
                </a:lnTo>
                <a:lnTo>
                  <a:pt x="1721" y="1787"/>
                </a:lnTo>
                <a:lnTo>
                  <a:pt x="1739" y="1772"/>
                </a:lnTo>
                <a:lnTo>
                  <a:pt x="1755" y="1755"/>
                </a:lnTo>
                <a:lnTo>
                  <a:pt x="1772" y="1738"/>
                </a:lnTo>
                <a:lnTo>
                  <a:pt x="1787" y="1721"/>
                </a:lnTo>
                <a:lnTo>
                  <a:pt x="1803" y="1704"/>
                </a:lnTo>
                <a:lnTo>
                  <a:pt x="1818" y="1686"/>
                </a:lnTo>
                <a:lnTo>
                  <a:pt x="1832" y="1668"/>
                </a:lnTo>
                <a:lnTo>
                  <a:pt x="1846" y="1650"/>
                </a:lnTo>
                <a:lnTo>
                  <a:pt x="1861" y="1631"/>
                </a:lnTo>
                <a:lnTo>
                  <a:pt x="1873" y="1612"/>
                </a:lnTo>
                <a:lnTo>
                  <a:pt x="1886" y="1593"/>
                </a:lnTo>
                <a:lnTo>
                  <a:pt x="1899" y="1572"/>
                </a:lnTo>
                <a:lnTo>
                  <a:pt x="1910" y="1552"/>
                </a:lnTo>
                <a:lnTo>
                  <a:pt x="1922" y="1532"/>
                </a:lnTo>
                <a:lnTo>
                  <a:pt x="1933" y="1512"/>
                </a:lnTo>
                <a:lnTo>
                  <a:pt x="1944" y="1490"/>
                </a:lnTo>
                <a:lnTo>
                  <a:pt x="1953" y="1469"/>
                </a:lnTo>
                <a:lnTo>
                  <a:pt x="1963" y="1447"/>
                </a:lnTo>
                <a:lnTo>
                  <a:pt x="1972" y="1425"/>
                </a:lnTo>
                <a:lnTo>
                  <a:pt x="1980" y="1404"/>
                </a:lnTo>
                <a:lnTo>
                  <a:pt x="1988" y="1381"/>
                </a:lnTo>
                <a:lnTo>
                  <a:pt x="1996" y="1358"/>
                </a:lnTo>
                <a:lnTo>
                  <a:pt x="2002" y="1336"/>
                </a:lnTo>
                <a:lnTo>
                  <a:pt x="2008" y="1312"/>
                </a:lnTo>
                <a:lnTo>
                  <a:pt x="2014" y="1289"/>
                </a:lnTo>
                <a:lnTo>
                  <a:pt x="2019" y="1266"/>
                </a:lnTo>
                <a:lnTo>
                  <a:pt x="2024" y="1241"/>
                </a:lnTo>
                <a:lnTo>
                  <a:pt x="2028" y="1218"/>
                </a:lnTo>
                <a:lnTo>
                  <a:pt x="2032" y="1194"/>
                </a:lnTo>
                <a:lnTo>
                  <a:pt x="2034" y="1169"/>
                </a:lnTo>
                <a:lnTo>
                  <a:pt x="2036" y="1146"/>
                </a:lnTo>
                <a:lnTo>
                  <a:pt x="2037" y="1121"/>
                </a:lnTo>
                <a:lnTo>
                  <a:pt x="2038" y="1096"/>
                </a:lnTo>
                <a:lnTo>
                  <a:pt x="2038" y="1070"/>
                </a:lnTo>
                <a:lnTo>
                  <a:pt x="2038" y="1046"/>
                </a:lnTo>
                <a:lnTo>
                  <a:pt x="2037" y="1021"/>
                </a:lnTo>
                <a:lnTo>
                  <a:pt x="2036" y="996"/>
                </a:lnTo>
                <a:lnTo>
                  <a:pt x="2034" y="972"/>
                </a:lnTo>
                <a:lnTo>
                  <a:pt x="2032" y="948"/>
                </a:lnTo>
                <a:lnTo>
                  <a:pt x="2028" y="924"/>
                </a:lnTo>
                <a:lnTo>
                  <a:pt x="2024" y="899"/>
                </a:lnTo>
                <a:lnTo>
                  <a:pt x="2019" y="876"/>
                </a:lnTo>
                <a:lnTo>
                  <a:pt x="2014" y="853"/>
                </a:lnTo>
                <a:lnTo>
                  <a:pt x="2008" y="829"/>
                </a:lnTo>
                <a:lnTo>
                  <a:pt x="2002" y="806"/>
                </a:lnTo>
                <a:lnTo>
                  <a:pt x="1996" y="783"/>
                </a:lnTo>
                <a:lnTo>
                  <a:pt x="1988" y="761"/>
                </a:lnTo>
                <a:lnTo>
                  <a:pt x="1980" y="738"/>
                </a:lnTo>
                <a:lnTo>
                  <a:pt x="1972" y="716"/>
                </a:lnTo>
                <a:lnTo>
                  <a:pt x="1963" y="694"/>
                </a:lnTo>
                <a:lnTo>
                  <a:pt x="1953" y="673"/>
                </a:lnTo>
                <a:lnTo>
                  <a:pt x="1944" y="652"/>
                </a:lnTo>
                <a:lnTo>
                  <a:pt x="1933" y="630"/>
                </a:lnTo>
                <a:lnTo>
                  <a:pt x="1922" y="610"/>
                </a:lnTo>
                <a:lnTo>
                  <a:pt x="1910" y="590"/>
                </a:lnTo>
                <a:lnTo>
                  <a:pt x="1899" y="569"/>
                </a:lnTo>
                <a:lnTo>
                  <a:pt x="1886" y="549"/>
                </a:lnTo>
                <a:lnTo>
                  <a:pt x="1873" y="530"/>
                </a:lnTo>
                <a:lnTo>
                  <a:pt x="1861" y="511"/>
                </a:lnTo>
                <a:lnTo>
                  <a:pt x="1846" y="492"/>
                </a:lnTo>
                <a:lnTo>
                  <a:pt x="1832" y="474"/>
                </a:lnTo>
                <a:lnTo>
                  <a:pt x="1818" y="456"/>
                </a:lnTo>
                <a:lnTo>
                  <a:pt x="1803" y="438"/>
                </a:lnTo>
                <a:lnTo>
                  <a:pt x="1787" y="421"/>
                </a:lnTo>
                <a:lnTo>
                  <a:pt x="1772" y="403"/>
                </a:lnTo>
                <a:lnTo>
                  <a:pt x="1755" y="387"/>
                </a:lnTo>
                <a:lnTo>
                  <a:pt x="1739" y="370"/>
                </a:lnTo>
                <a:lnTo>
                  <a:pt x="1721" y="354"/>
                </a:lnTo>
                <a:lnTo>
                  <a:pt x="1704" y="340"/>
                </a:lnTo>
                <a:lnTo>
                  <a:pt x="1686" y="324"/>
                </a:lnTo>
                <a:lnTo>
                  <a:pt x="1668" y="309"/>
                </a:lnTo>
                <a:lnTo>
                  <a:pt x="1650" y="296"/>
                </a:lnTo>
                <a:lnTo>
                  <a:pt x="1631" y="281"/>
                </a:lnTo>
                <a:lnTo>
                  <a:pt x="1612" y="269"/>
                </a:lnTo>
                <a:lnTo>
                  <a:pt x="1593" y="255"/>
                </a:lnTo>
                <a:lnTo>
                  <a:pt x="1572" y="243"/>
                </a:lnTo>
                <a:lnTo>
                  <a:pt x="1552" y="232"/>
                </a:lnTo>
                <a:lnTo>
                  <a:pt x="1532" y="219"/>
                </a:lnTo>
                <a:lnTo>
                  <a:pt x="1512" y="209"/>
                </a:lnTo>
                <a:lnTo>
                  <a:pt x="1490" y="198"/>
                </a:lnTo>
                <a:lnTo>
                  <a:pt x="1469" y="189"/>
                </a:lnTo>
                <a:lnTo>
                  <a:pt x="1448" y="179"/>
                </a:lnTo>
                <a:lnTo>
                  <a:pt x="1426" y="170"/>
                </a:lnTo>
                <a:lnTo>
                  <a:pt x="1404" y="162"/>
                </a:lnTo>
                <a:lnTo>
                  <a:pt x="1381" y="154"/>
                </a:lnTo>
                <a:lnTo>
                  <a:pt x="1359" y="146"/>
                </a:lnTo>
                <a:lnTo>
                  <a:pt x="1336" y="139"/>
                </a:lnTo>
                <a:lnTo>
                  <a:pt x="1313" y="134"/>
                </a:lnTo>
                <a:lnTo>
                  <a:pt x="1290" y="128"/>
                </a:lnTo>
                <a:lnTo>
                  <a:pt x="1266" y="122"/>
                </a:lnTo>
                <a:lnTo>
                  <a:pt x="1243" y="118"/>
                </a:lnTo>
                <a:lnTo>
                  <a:pt x="1218" y="113"/>
                </a:lnTo>
                <a:lnTo>
                  <a:pt x="1194" y="110"/>
                </a:lnTo>
                <a:lnTo>
                  <a:pt x="1170" y="108"/>
                </a:lnTo>
                <a:lnTo>
                  <a:pt x="1146" y="106"/>
                </a:lnTo>
                <a:lnTo>
                  <a:pt x="1121" y="104"/>
                </a:lnTo>
                <a:lnTo>
                  <a:pt x="1096" y="103"/>
                </a:lnTo>
                <a:lnTo>
                  <a:pt x="1072" y="103"/>
                </a:lnTo>
                <a:close/>
              </a:path>
            </a:pathLst>
          </a:cu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24" name="Oval 23">
            <a:hlinkClick r:id="" action="ppaction://noaction"/>
            <a:extLst>
              <a:ext uri="{FF2B5EF4-FFF2-40B4-BE49-F238E27FC236}">
                <a16:creationId xmlns:a16="http://schemas.microsoft.com/office/drawing/2014/main" id="{5CFFDD77-8EE7-4EFF-AA7C-D5EB9351C72F}"/>
              </a:ext>
            </a:extLst>
          </p:cNvPr>
          <p:cNvSpPr>
            <a:spLocks noChangeAspect="1"/>
          </p:cNvSpPr>
          <p:nvPr/>
        </p:nvSpPr>
        <p:spPr>
          <a:xfrm>
            <a:off x="553245"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hlinkClick r:id="" action="ppaction://noaction"/>
            <a:extLst>
              <a:ext uri="{FF2B5EF4-FFF2-40B4-BE49-F238E27FC236}">
                <a16:creationId xmlns:a16="http://schemas.microsoft.com/office/drawing/2014/main" id="{F255AB20-A3F7-4F17-9A6A-228A2A9D0B01}"/>
              </a:ext>
            </a:extLst>
          </p:cNvPr>
          <p:cNvSpPr>
            <a:spLocks noChangeAspect="1"/>
          </p:cNvSpPr>
          <p:nvPr/>
        </p:nvSpPr>
        <p:spPr>
          <a:xfrm>
            <a:off x="407225" y="84517"/>
            <a:ext cx="108000" cy="108000"/>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Oval 25">
            <a:hlinkClick r:id="" action="ppaction://noaction"/>
            <a:extLst>
              <a:ext uri="{FF2B5EF4-FFF2-40B4-BE49-F238E27FC236}">
                <a16:creationId xmlns:a16="http://schemas.microsoft.com/office/drawing/2014/main" id="{8FBFAAFE-F2A0-4734-AC10-E1A33855C234}"/>
              </a:ext>
            </a:extLst>
          </p:cNvPr>
          <p:cNvSpPr>
            <a:spLocks noChangeAspect="1"/>
          </p:cNvSpPr>
          <p:nvPr/>
        </p:nvSpPr>
        <p:spPr>
          <a:xfrm>
            <a:off x="69525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Oval 26">
            <a:hlinkClick r:id="" action="ppaction://noaction"/>
            <a:extLst>
              <a:ext uri="{FF2B5EF4-FFF2-40B4-BE49-F238E27FC236}">
                <a16:creationId xmlns:a16="http://schemas.microsoft.com/office/drawing/2014/main" id="{100B7510-7FA2-4803-B926-E0DB3A678A65}"/>
              </a:ext>
            </a:extLst>
          </p:cNvPr>
          <p:cNvSpPr>
            <a:spLocks noChangeAspect="1"/>
          </p:cNvSpPr>
          <p:nvPr/>
        </p:nvSpPr>
        <p:spPr>
          <a:xfrm>
            <a:off x="83927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Oval 27">
            <a:hlinkClick r:id="" action="ppaction://noaction"/>
            <a:extLst>
              <a:ext uri="{FF2B5EF4-FFF2-40B4-BE49-F238E27FC236}">
                <a16:creationId xmlns:a16="http://schemas.microsoft.com/office/drawing/2014/main" id="{6D817FFC-900B-4A00-97A9-264104502BBF}"/>
              </a:ext>
            </a:extLst>
          </p:cNvPr>
          <p:cNvSpPr>
            <a:spLocks noChangeAspect="1"/>
          </p:cNvSpPr>
          <p:nvPr/>
        </p:nvSpPr>
        <p:spPr>
          <a:xfrm>
            <a:off x="98329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84811847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50DD80B-A683-4D0B-A711-C93EB9F8B912}"/>
              </a:ext>
            </a:extLst>
          </p:cNvPr>
          <p:cNvSpPr>
            <a:spLocks noGrp="1"/>
          </p:cNvSpPr>
          <p:nvPr>
            <p:ph type="dt" sz="half" idx="10"/>
          </p:nvPr>
        </p:nvSpPr>
        <p:spPr/>
        <p:txBody>
          <a:bodyPr/>
          <a:lstStyle/>
          <a:p>
            <a:fld id="{D3DC21D2-B669-477A-AC5A-45A80FB3B66E}" type="datetime3">
              <a:rPr lang="en-US" noProof="0" smtClean="0"/>
              <a:t>13 April 2022</a:t>
            </a:fld>
            <a:endParaRPr lang="en-US" noProof="0"/>
          </a:p>
        </p:txBody>
      </p:sp>
      <p:sp>
        <p:nvSpPr>
          <p:cNvPr id="4" name="Footer Placeholder 3">
            <a:extLst>
              <a:ext uri="{FF2B5EF4-FFF2-40B4-BE49-F238E27FC236}">
                <a16:creationId xmlns:a16="http://schemas.microsoft.com/office/drawing/2014/main" id="{CA2998AA-1E86-44D2-9A48-8DED2173E3E3}"/>
              </a:ext>
            </a:extLst>
          </p:cNvPr>
          <p:cNvSpPr>
            <a:spLocks noGrp="1"/>
          </p:cNvSpPr>
          <p:nvPr>
            <p:ph type="ftr" sz="quarter" idx="11"/>
          </p:nvPr>
        </p:nvSpPr>
        <p:spPr/>
        <p:txBody>
          <a:bodyPr/>
          <a:lstStyle/>
          <a:p>
            <a:r>
              <a:rPr lang="en-US" noProof="0"/>
              <a:t>Confidential  |  © KONE Corporation</a:t>
            </a:r>
          </a:p>
        </p:txBody>
      </p:sp>
      <p:sp>
        <p:nvSpPr>
          <p:cNvPr id="5" name="Slide Number Placeholder 4">
            <a:extLst>
              <a:ext uri="{FF2B5EF4-FFF2-40B4-BE49-F238E27FC236}">
                <a16:creationId xmlns:a16="http://schemas.microsoft.com/office/drawing/2014/main" id="{45029BAC-5FB3-4EF3-9CEA-A47F1D56EE79}"/>
              </a:ext>
            </a:extLst>
          </p:cNvPr>
          <p:cNvSpPr>
            <a:spLocks noGrp="1"/>
          </p:cNvSpPr>
          <p:nvPr>
            <p:ph type="sldNum" sz="quarter" idx="12"/>
          </p:nvPr>
        </p:nvSpPr>
        <p:spPr/>
        <p:txBody>
          <a:bodyPr/>
          <a:lstStyle/>
          <a:p>
            <a:fld id="{604FC64F-66B6-486E-8EFE-9FD96A66D16B}" type="slidenum">
              <a:rPr lang="en-US" noProof="0" smtClean="0"/>
              <a:pPr/>
              <a:t>6</a:t>
            </a:fld>
            <a:endParaRPr lang="en-US" noProof="0"/>
          </a:p>
        </p:txBody>
      </p:sp>
      <p:pic>
        <p:nvPicPr>
          <p:cNvPr id="13" name="Picture Placeholder 12" descr="A group of people walking down a sidewalk&#10;&#10;Description automatically generated with low confidence">
            <a:extLst>
              <a:ext uri="{FF2B5EF4-FFF2-40B4-BE49-F238E27FC236}">
                <a16:creationId xmlns:a16="http://schemas.microsoft.com/office/drawing/2014/main" id="{7E826F5A-9E79-4740-A68F-02D75C5F77F0}"/>
              </a:ext>
            </a:extLst>
          </p:cNvPr>
          <p:cNvPicPr>
            <a:picLocks noGrp="1" noChangeAspect="1"/>
          </p:cNvPicPr>
          <p:nvPr>
            <p:ph type="pic" sz="quarter" idx="18"/>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p:spPr>
      </p:pic>
      <p:sp>
        <p:nvSpPr>
          <p:cNvPr id="36" name="Rectangle 35">
            <a:extLst>
              <a:ext uri="{FF2B5EF4-FFF2-40B4-BE49-F238E27FC236}">
                <a16:creationId xmlns:a16="http://schemas.microsoft.com/office/drawing/2014/main" id="{BA4FB341-A0DC-4729-B866-6F15A3427D9F}"/>
              </a:ext>
            </a:extLst>
          </p:cNvPr>
          <p:cNvSpPr/>
          <p:nvPr/>
        </p:nvSpPr>
        <p:spPr>
          <a:xfrm>
            <a:off x="0" y="0"/>
            <a:ext cx="12192000" cy="3469710"/>
          </a:xfrm>
          <a:prstGeom prst="rect">
            <a:avLst/>
          </a:prstGeom>
          <a:gradFill>
            <a:gsLst>
              <a:gs pos="0">
                <a:srgbClr val="000000">
                  <a:alpha val="58000"/>
                </a:srgbClr>
              </a:gs>
              <a:gs pos="75000">
                <a:schemeClr val="bg1">
                  <a:alpha val="0"/>
                  <a:lumMod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0" name="Text Placeholder 9">
            <a:extLst>
              <a:ext uri="{FF2B5EF4-FFF2-40B4-BE49-F238E27FC236}">
                <a16:creationId xmlns:a16="http://schemas.microsoft.com/office/drawing/2014/main" id="{B6BB0B35-58F5-434C-91C3-F39AFB8D42D6}"/>
              </a:ext>
            </a:extLst>
          </p:cNvPr>
          <p:cNvSpPr>
            <a:spLocks noGrp="1"/>
          </p:cNvSpPr>
          <p:nvPr>
            <p:ph type="body" sz="quarter" idx="17"/>
          </p:nvPr>
        </p:nvSpPr>
        <p:spPr/>
        <p:txBody>
          <a:bodyPr/>
          <a:lstStyle/>
          <a:p>
            <a:endParaRPr lang="fi-FI"/>
          </a:p>
        </p:txBody>
      </p:sp>
      <p:sp>
        <p:nvSpPr>
          <p:cNvPr id="14" name="Date Placeholder 2">
            <a:extLst>
              <a:ext uri="{FF2B5EF4-FFF2-40B4-BE49-F238E27FC236}">
                <a16:creationId xmlns:a16="http://schemas.microsoft.com/office/drawing/2014/main" id="{7B847243-4EB5-42E6-A693-DF2C450CF25E}"/>
              </a:ext>
            </a:extLst>
          </p:cNvPr>
          <p:cNvSpPr txBox="1">
            <a:spLocks/>
          </p:cNvSpPr>
          <p:nvPr/>
        </p:nvSpPr>
        <p:spPr bwMode="auto">
          <a:xfrm>
            <a:off x="849313" y="6606614"/>
            <a:ext cx="2087562" cy="1440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defPPr>
              <a:defRPr lang="fi-FI"/>
            </a:defPPr>
            <a:lvl1pPr marL="0" algn="l" defTabSz="914400" rtl="0" eaLnBrk="1" latinLnBrk="0" hangingPunct="1">
              <a:defRPr sz="7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DC21D2-B669-477A-AC5A-45A80FB3B66E}" type="datetime3">
              <a:rPr lang="en-US" smtClean="0">
                <a:solidFill>
                  <a:schemeClr val="bg1"/>
                </a:solidFill>
              </a:rPr>
              <a:pPr/>
              <a:t>13 April 2022</a:t>
            </a:fld>
            <a:endParaRPr lang="en-US">
              <a:solidFill>
                <a:schemeClr val="bg1"/>
              </a:solidFill>
            </a:endParaRPr>
          </a:p>
        </p:txBody>
      </p:sp>
      <p:sp>
        <p:nvSpPr>
          <p:cNvPr id="15" name="Footer Placeholder 3">
            <a:extLst>
              <a:ext uri="{FF2B5EF4-FFF2-40B4-BE49-F238E27FC236}">
                <a16:creationId xmlns:a16="http://schemas.microsoft.com/office/drawing/2014/main" id="{2029A56C-4ECD-450A-AF71-4D6797FD9434}"/>
              </a:ext>
            </a:extLst>
          </p:cNvPr>
          <p:cNvSpPr txBox="1">
            <a:spLocks/>
          </p:cNvSpPr>
          <p:nvPr/>
        </p:nvSpPr>
        <p:spPr bwMode="auto">
          <a:xfrm>
            <a:off x="9563100" y="6606614"/>
            <a:ext cx="2374900" cy="144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defPPr>
              <a:defRPr lang="fi-FI"/>
            </a:defPPr>
            <a:lvl1pPr marL="0" algn="r" defTabSz="914400" rtl="0" eaLnBrk="1" latinLnBrk="0" hangingPunct="1">
              <a:defRPr sz="7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solidFill>
              </a:rPr>
              <a:t>Confidential  |  © KONE Corporation</a:t>
            </a:r>
          </a:p>
        </p:txBody>
      </p:sp>
      <p:sp>
        <p:nvSpPr>
          <p:cNvPr id="16" name="Slide Number Placeholder 4">
            <a:extLst>
              <a:ext uri="{FF2B5EF4-FFF2-40B4-BE49-F238E27FC236}">
                <a16:creationId xmlns:a16="http://schemas.microsoft.com/office/drawing/2014/main" id="{CF261A54-ABA4-452D-A8A7-9940E85C46D5}"/>
              </a:ext>
            </a:extLst>
          </p:cNvPr>
          <p:cNvSpPr txBox="1">
            <a:spLocks/>
          </p:cNvSpPr>
          <p:nvPr/>
        </p:nvSpPr>
        <p:spPr bwMode="auto">
          <a:xfrm>
            <a:off x="561976" y="6605588"/>
            <a:ext cx="287338" cy="145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defPPr>
              <a:defRPr lang="fi-FI"/>
            </a:defPPr>
            <a:lvl1pPr marL="0" algn="l" defTabSz="914400" rtl="0" eaLnBrk="1" latinLnBrk="0" hangingPunct="1">
              <a:defRPr sz="7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04FC64F-66B6-486E-8EFE-9FD96A66D16B}" type="slidenum">
              <a:rPr lang="en-US" smtClean="0">
                <a:solidFill>
                  <a:schemeClr val="bg1"/>
                </a:solidFill>
              </a:rPr>
              <a:pPr/>
              <a:t>6</a:t>
            </a:fld>
            <a:endParaRPr lang="en-US">
              <a:solidFill>
                <a:schemeClr val="bg1"/>
              </a:solidFill>
            </a:endParaRPr>
          </a:p>
        </p:txBody>
      </p:sp>
      <p:sp>
        <p:nvSpPr>
          <p:cNvPr id="17" name="Rectangle 16">
            <a:extLst>
              <a:ext uri="{FF2B5EF4-FFF2-40B4-BE49-F238E27FC236}">
                <a16:creationId xmlns:a16="http://schemas.microsoft.com/office/drawing/2014/main" id="{9F20DB15-3E16-403D-8550-115B5EDFA073}"/>
              </a:ext>
            </a:extLst>
          </p:cNvPr>
          <p:cNvSpPr/>
          <p:nvPr/>
        </p:nvSpPr>
        <p:spPr>
          <a:xfrm>
            <a:off x="339228" y="2637588"/>
            <a:ext cx="2673866" cy="3780422"/>
          </a:xfrm>
          <a:prstGeom prst="rect">
            <a:avLst/>
          </a:prstGeom>
          <a:solidFill>
            <a:srgbClr val="FFFFFF">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US" dirty="0">
                <a:solidFill>
                  <a:schemeClr val="tx2"/>
                </a:solidFill>
              </a:rPr>
              <a:t> </a:t>
            </a:r>
            <a:r>
              <a:rPr lang="en-US" sz="1800" dirty="0">
                <a:solidFill>
                  <a:schemeClr val="tx2"/>
                </a:solidFill>
              </a:rPr>
              <a:t> </a:t>
            </a:r>
            <a:r>
              <a:rPr lang="en-US" sz="1600" dirty="0">
                <a:solidFill>
                  <a:schemeClr val="tx2"/>
                </a:solidFill>
              </a:rPr>
              <a:t>Another way to cut </a:t>
            </a:r>
          </a:p>
          <a:p>
            <a:pPr algn="ctr"/>
            <a:r>
              <a:rPr lang="en-US" sz="1600" dirty="0">
                <a:solidFill>
                  <a:schemeClr val="tx2"/>
                </a:solidFill>
              </a:rPr>
              <a:t>    your carbon footprint</a:t>
            </a:r>
            <a:endParaRPr lang="en-US" sz="1600" dirty="0">
              <a:solidFill>
                <a:schemeClr val="tx2"/>
              </a:solidFill>
              <a:cs typeface="Arial"/>
            </a:endParaRPr>
          </a:p>
          <a:p>
            <a:endParaRPr lang="en-US" dirty="0">
              <a:solidFill>
                <a:schemeClr val="tx2"/>
              </a:solidFill>
            </a:endParaRPr>
          </a:p>
          <a:p>
            <a:pPr marL="88900"/>
            <a:r>
              <a:rPr lang="en-US" sz="1350" dirty="0">
                <a:solidFill>
                  <a:srgbClr val="354044"/>
                </a:solidFill>
                <a:latin typeface="Arial"/>
                <a:cs typeface="Arial"/>
              </a:rPr>
              <a:t>KONE Care DX is the first carbon neutral maintenance offering in the industry. We offset the CO2 emissions caused by direct and indirect maintenance activities, and the aim is that all KONE Care DX maintenance activities will be carbon neutral thanks to a combination of emission reduction actions already in place and our carbon offsetting program.</a:t>
            </a:r>
          </a:p>
        </p:txBody>
      </p:sp>
      <p:sp>
        <p:nvSpPr>
          <p:cNvPr id="18" name="Rectangle 17">
            <a:extLst>
              <a:ext uri="{FF2B5EF4-FFF2-40B4-BE49-F238E27FC236}">
                <a16:creationId xmlns:a16="http://schemas.microsoft.com/office/drawing/2014/main" id="{70A9EA9F-A769-4D6F-8E61-82430129F2B2}"/>
              </a:ext>
            </a:extLst>
          </p:cNvPr>
          <p:cNvSpPr/>
          <p:nvPr/>
        </p:nvSpPr>
        <p:spPr>
          <a:xfrm>
            <a:off x="3252581" y="2637588"/>
            <a:ext cx="2673866" cy="3780422"/>
          </a:xfrm>
          <a:prstGeom prst="rect">
            <a:avLst/>
          </a:prstGeom>
          <a:solidFill>
            <a:srgbClr val="FFFFFF">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dirty="0">
                <a:solidFill>
                  <a:schemeClr val="tx2"/>
                </a:solidFill>
              </a:rPr>
              <a:t>    </a:t>
            </a:r>
            <a:r>
              <a:rPr lang="en-US" sz="1600" dirty="0">
                <a:solidFill>
                  <a:schemeClr val="tx2"/>
                </a:solidFill>
              </a:rPr>
              <a:t>Less downtime </a:t>
            </a:r>
            <a:br>
              <a:rPr lang="en-US" sz="1600" dirty="0">
                <a:solidFill>
                  <a:schemeClr val="tx2"/>
                </a:solidFill>
              </a:rPr>
            </a:br>
            <a:r>
              <a:rPr lang="en-US" sz="1600" dirty="0">
                <a:solidFill>
                  <a:schemeClr val="tx2"/>
                </a:solidFill>
              </a:rPr>
              <a:t>       and faster repairs</a:t>
            </a:r>
          </a:p>
          <a:p>
            <a:endParaRPr lang="en-US" sz="1600" dirty="0">
              <a:solidFill>
                <a:schemeClr val="tx2"/>
              </a:solidFill>
            </a:endParaRPr>
          </a:p>
          <a:p>
            <a:pPr marL="88900" algn="l"/>
            <a:r>
              <a:rPr lang="en-US" sz="1350" b="0" i="0" u="none" strike="noStrike" baseline="0" dirty="0">
                <a:solidFill>
                  <a:srgbClr val="354044"/>
                </a:solidFill>
                <a:latin typeface="Arial" panose="020B0604020202020204" pitchFamily="34" charset="0"/>
                <a:cs typeface="Arial" panose="020B0604020202020204" pitchFamily="34" charset="0"/>
              </a:rPr>
              <a:t>Thanks to built-in connectivity</a:t>
            </a:r>
          </a:p>
          <a:p>
            <a:pPr marL="88900" algn="l"/>
            <a:r>
              <a:rPr lang="en-US" sz="1350" b="0" i="0" u="none" strike="noStrike" baseline="0" dirty="0">
                <a:solidFill>
                  <a:srgbClr val="354044"/>
                </a:solidFill>
                <a:latin typeface="Arial" panose="020B0604020202020204" pitchFamily="34" charset="0"/>
                <a:cs typeface="Arial" panose="020B0604020202020204" pitchFamily="34" charset="0"/>
              </a:rPr>
              <a:t>we can keep an eye on your</a:t>
            </a:r>
          </a:p>
          <a:p>
            <a:pPr marL="88900" algn="l"/>
            <a:r>
              <a:rPr lang="en-US" sz="1350" b="0" i="0" u="none" strike="noStrike" baseline="0" dirty="0">
                <a:solidFill>
                  <a:srgbClr val="354044"/>
                </a:solidFill>
                <a:latin typeface="Arial" panose="020B0604020202020204" pitchFamily="34" charset="0"/>
                <a:cs typeface="Arial" panose="020B0604020202020204" pitchFamily="34" charset="0"/>
              </a:rPr>
              <a:t>equipment around the clock</a:t>
            </a:r>
          </a:p>
          <a:p>
            <a:pPr marL="88900" algn="l"/>
            <a:r>
              <a:rPr lang="en-US" sz="1350" b="0" i="0" u="none" strike="noStrike" baseline="0" dirty="0">
                <a:solidFill>
                  <a:srgbClr val="354044"/>
                </a:solidFill>
                <a:latin typeface="Arial" panose="020B0604020202020204" pitchFamily="34" charset="0"/>
                <a:cs typeface="Arial" panose="020B0604020202020204" pitchFamily="34" charset="0"/>
              </a:rPr>
              <a:t>and identify and resolve</a:t>
            </a:r>
          </a:p>
          <a:p>
            <a:pPr marL="88900" algn="l"/>
            <a:r>
              <a:rPr lang="en-US" sz="1350" b="0" i="0" u="none" strike="noStrike" baseline="0" dirty="0">
                <a:solidFill>
                  <a:srgbClr val="354044"/>
                </a:solidFill>
                <a:latin typeface="Arial" panose="020B0604020202020204" pitchFamily="34" charset="0"/>
                <a:cs typeface="Arial" panose="020B0604020202020204" pitchFamily="34" charset="0"/>
              </a:rPr>
              <a:t>issues without anyone even</a:t>
            </a:r>
          </a:p>
          <a:p>
            <a:pPr marL="88900" algn="l"/>
            <a:r>
              <a:rPr lang="en-US" sz="1350" b="0" i="0" u="none" strike="noStrike" baseline="0" dirty="0">
                <a:solidFill>
                  <a:srgbClr val="354044"/>
                </a:solidFill>
                <a:latin typeface="Arial" panose="020B0604020202020204" pitchFamily="34" charset="0"/>
                <a:cs typeface="Arial" panose="020B0604020202020204" pitchFamily="34" charset="0"/>
              </a:rPr>
              <a:t>noticing there was a problem</a:t>
            </a:r>
          </a:p>
          <a:p>
            <a:pPr marL="88900" algn="l"/>
            <a:r>
              <a:rPr lang="en-US" sz="1350" b="0" i="0" u="none" strike="noStrike" baseline="0" dirty="0">
                <a:solidFill>
                  <a:srgbClr val="354044"/>
                </a:solidFill>
                <a:latin typeface="Arial" panose="020B0604020202020204" pitchFamily="34" charset="0"/>
                <a:cs typeface="Arial" panose="020B0604020202020204" pitchFamily="34" charset="0"/>
              </a:rPr>
              <a:t>in the first place. And since we</a:t>
            </a:r>
          </a:p>
          <a:p>
            <a:pPr marL="88900" algn="l"/>
            <a:r>
              <a:rPr lang="en-US" sz="1350" b="0" i="0" u="none" strike="noStrike" baseline="0" dirty="0">
                <a:solidFill>
                  <a:srgbClr val="354044"/>
                </a:solidFill>
                <a:latin typeface="Arial" panose="020B0604020202020204" pitchFamily="34" charset="0"/>
                <a:cs typeface="Arial" panose="020B0604020202020204" pitchFamily="34" charset="0"/>
              </a:rPr>
              <a:t>already know the root cause</a:t>
            </a:r>
          </a:p>
          <a:p>
            <a:pPr marL="88900" algn="l"/>
            <a:r>
              <a:rPr lang="en-US" sz="1350" b="0" i="0" u="none" strike="noStrike" baseline="0" dirty="0">
                <a:solidFill>
                  <a:srgbClr val="354044"/>
                </a:solidFill>
                <a:latin typeface="Arial" panose="020B0604020202020204" pitchFamily="34" charset="0"/>
                <a:cs typeface="Arial" panose="020B0604020202020204" pitchFamily="34" charset="0"/>
              </a:rPr>
              <a:t>of any problems, if something</a:t>
            </a:r>
          </a:p>
          <a:p>
            <a:pPr marL="88900" algn="l"/>
            <a:r>
              <a:rPr lang="en-US" sz="1350" b="0" i="0" u="none" strike="noStrike" baseline="0" dirty="0">
                <a:solidFill>
                  <a:srgbClr val="354044"/>
                </a:solidFill>
                <a:latin typeface="Arial" panose="020B0604020202020204" pitchFamily="34" charset="0"/>
                <a:cs typeface="Arial" panose="020B0604020202020204" pitchFamily="34" charset="0"/>
              </a:rPr>
              <a:t>unexpected happens we can fix</a:t>
            </a:r>
          </a:p>
          <a:p>
            <a:pPr marL="88900" algn="l"/>
            <a:r>
              <a:rPr lang="en-US" sz="1350" b="0" i="0" u="none" strike="noStrike" baseline="0" dirty="0">
                <a:solidFill>
                  <a:srgbClr val="354044"/>
                </a:solidFill>
                <a:latin typeface="Arial" panose="020B0604020202020204" pitchFamily="34" charset="0"/>
                <a:cs typeface="Arial" panose="020B0604020202020204" pitchFamily="34" charset="0"/>
              </a:rPr>
              <a:t>it more quickly too.</a:t>
            </a:r>
            <a:endParaRPr lang="en-US" sz="1350" dirty="0">
              <a:solidFill>
                <a:schemeClr val="tx2"/>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7B8977D1-1C6F-4408-AC97-E686FA26FDE8}"/>
              </a:ext>
            </a:extLst>
          </p:cNvPr>
          <p:cNvSpPr/>
          <p:nvPr/>
        </p:nvSpPr>
        <p:spPr>
          <a:xfrm>
            <a:off x="6165935" y="2637588"/>
            <a:ext cx="2673866" cy="3780422"/>
          </a:xfrm>
          <a:prstGeom prst="rect">
            <a:avLst/>
          </a:prstGeom>
          <a:solidFill>
            <a:srgbClr val="FFFFFF">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dirty="0">
                <a:solidFill>
                  <a:schemeClr val="tx2"/>
                </a:solidFill>
              </a:rPr>
              <a:t>Always </a:t>
            </a:r>
          </a:p>
          <a:p>
            <a:pPr algn="ctr"/>
            <a:r>
              <a:rPr lang="fi-FI" sz="1600" dirty="0">
                <a:solidFill>
                  <a:schemeClr val="tx2"/>
                </a:solidFill>
              </a:rPr>
              <a:t>   up to date</a:t>
            </a:r>
          </a:p>
          <a:p>
            <a:pPr algn="l"/>
            <a:endParaRPr lang="fi-FI" dirty="0">
              <a:solidFill>
                <a:srgbClr val="0072BD"/>
              </a:solidFill>
              <a:latin typeface="KONE-Information_v13" panose="02000000000000000000" pitchFamily="50" charset="0"/>
              <a:cs typeface="Arial" panose="020B0604020202020204" pitchFamily="34" charset="0"/>
            </a:endParaRPr>
          </a:p>
          <a:p>
            <a:pPr marL="88900" algn="l"/>
            <a:r>
              <a:rPr lang="en-US" sz="1350" dirty="0">
                <a:solidFill>
                  <a:srgbClr val="354044"/>
                </a:solidFill>
                <a:latin typeface="Arial" panose="020B0604020202020204" pitchFamily="34" charset="0"/>
                <a:cs typeface="Arial" panose="020B0604020202020204" pitchFamily="34" charset="0"/>
              </a:rPr>
              <a:t>T</a:t>
            </a:r>
            <a:r>
              <a:rPr lang="en-US" sz="1350" b="0" i="0" u="none" strike="noStrike" baseline="0" dirty="0">
                <a:solidFill>
                  <a:srgbClr val="354044"/>
                </a:solidFill>
                <a:latin typeface="Arial" panose="020B0604020202020204" pitchFamily="34" charset="0"/>
                <a:cs typeface="Arial" panose="020B0604020202020204" pitchFamily="34" charset="0"/>
              </a:rPr>
              <a:t>ake advantage of the latest</a:t>
            </a:r>
          </a:p>
          <a:p>
            <a:pPr marL="88900" algn="l"/>
            <a:r>
              <a:rPr lang="en-US" sz="1350" b="0" i="0" u="none" strike="noStrike" baseline="0" dirty="0">
                <a:solidFill>
                  <a:srgbClr val="354044"/>
                </a:solidFill>
                <a:latin typeface="Arial" panose="020B0604020202020204" pitchFamily="34" charset="0"/>
                <a:cs typeface="Arial" panose="020B0604020202020204" pitchFamily="34" charset="0"/>
              </a:rPr>
              <a:t>features and functionalities through automatic, remote software updates and upgrades. As well as keeping your equipment secure, this means you can add new smart building solutions to make everyday life even easier for the people who use your building. The possibilities are endless.</a:t>
            </a:r>
            <a:endParaRPr lang="en-US" sz="1350"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D3BE6E71-388D-4C10-85C3-69CC7CA06391}"/>
              </a:ext>
            </a:extLst>
          </p:cNvPr>
          <p:cNvSpPr/>
          <p:nvPr/>
        </p:nvSpPr>
        <p:spPr>
          <a:xfrm>
            <a:off x="9079289" y="2637588"/>
            <a:ext cx="2673866" cy="3780422"/>
          </a:xfrm>
          <a:prstGeom prst="rect">
            <a:avLst/>
          </a:prstGeom>
          <a:solidFill>
            <a:srgbClr val="FFFFFF">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600">
                <a:solidFill>
                  <a:schemeClr val="tx2"/>
                </a:solidFill>
              </a:rPr>
              <a:t>Support from the</a:t>
            </a:r>
          </a:p>
          <a:p>
            <a:pPr algn="ctr"/>
            <a:r>
              <a:rPr lang="fi-FI" sz="1600">
                <a:solidFill>
                  <a:schemeClr val="tx2"/>
                </a:solidFill>
              </a:rPr>
              <a:t>     best in the business</a:t>
            </a:r>
          </a:p>
          <a:p>
            <a:pPr algn="l"/>
            <a:endParaRPr lang="fi-FI">
              <a:solidFill>
                <a:schemeClr val="tx2"/>
              </a:solidFill>
            </a:endParaRPr>
          </a:p>
          <a:p>
            <a:pPr marL="88900"/>
            <a:r>
              <a:rPr lang="en-US" sz="1350" b="0" i="0" u="none" strike="noStrike" baseline="0">
                <a:solidFill>
                  <a:srgbClr val="354044"/>
                </a:solidFill>
                <a:latin typeface="Arial" panose="020B0604020202020204" pitchFamily="34" charset="0"/>
                <a:cs typeface="Arial" panose="020B0604020202020204" pitchFamily="34" charset="0"/>
              </a:rPr>
              <a:t>No one knows your DX equipment like we do, so let o</a:t>
            </a:r>
            <a:r>
              <a:rPr lang="en-US" sz="1350">
                <a:solidFill>
                  <a:srgbClr val="354044"/>
                </a:solidFill>
                <a:latin typeface="Arial" panose="020B0604020202020204" pitchFamily="34" charset="0"/>
                <a:cs typeface="Arial" panose="020B0604020202020204" pitchFamily="34" charset="0"/>
              </a:rPr>
              <a:t>ur expert team of service technicians </a:t>
            </a:r>
            <a:r>
              <a:rPr lang="en-US" sz="1350" b="0" i="0" u="none" strike="noStrike" baseline="0">
                <a:solidFill>
                  <a:srgbClr val="354044"/>
                </a:solidFill>
                <a:latin typeface="Arial" panose="020B0604020202020204" pitchFamily="34" charset="0"/>
                <a:cs typeface="Arial" panose="020B0604020202020204" pitchFamily="34" charset="0"/>
              </a:rPr>
              <a:t>take care of it with the same attention to detail and commitment to quality as when it was being built. If something needs replacing or repairing, we’ll always have the needed spare parts available to get the job done quickly and keep people moving safely and smoothly around your building.</a:t>
            </a:r>
            <a:endParaRPr lang="en-US" sz="135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1409137C-B4BB-46DE-90E6-BB1C972AE0B0}"/>
              </a:ext>
            </a:extLst>
          </p:cNvPr>
          <p:cNvSpPr txBox="1"/>
          <p:nvPr/>
        </p:nvSpPr>
        <p:spPr>
          <a:xfrm>
            <a:off x="245181" y="286398"/>
            <a:ext cx="9256032" cy="584775"/>
          </a:xfrm>
          <a:prstGeom prst="rect">
            <a:avLst/>
          </a:prstGeom>
          <a:noFill/>
        </p:spPr>
        <p:txBody>
          <a:bodyPr wrap="square">
            <a:spAutoFit/>
          </a:bodyPr>
          <a:lstStyle/>
          <a:p>
            <a:r>
              <a:rPr lang="en-US" sz="3200">
                <a:solidFill>
                  <a:schemeClr val="bg1"/>
                </a:solidFill>
                <a:latin typeface="+mj-lt"/>
              </a:rPr>
              <a:t>A lifetime of reliable service</a:t>
            </a:r>
            <a:endParaRPr lang="fi-FI" sz="3200">
              <a:latin typeface="+mj-lt"/>
            </a:endParaRPr>
          </a:p>
        </p:txBody>
      </p:sp>
      <p:sp>
        <p:nvSpPr>
          <p:cNvPr id="29" name="Freeform 9">
            <a:hlinkClick r:id="rId4" action="ppaction://hlinksldjump"/>
            <a:extLst>
              <a:ext uri="{FF2B5EF4-FFF2-40B4-BE49-F238E27FC236}">
                <a16:creationId xmlns:a16="http://schemas.microsoft.com/office/drawing/2014/main" id="{450334CB-73E8-4E6C-8BA1-88914EF35CE6}"/>
              </a:ext>
            </a:extLst>
          </p:cNvPr>
          <p:cNvSpPr>
            <a:spLocks noChangeAspect="1" noEditPoints="1"/>
          </p:cNvSpPr>
          <p:nvPr/>
        </p:nvSpPr>
        <p:spPr bwMode="auto">
          <a:xfrm rot="10800000" flipV="1">
            <a:off x="191181" y="90916"/>
            <a:ext cx="108000" cy="108000"/>
          </a:xfrm>
          <a:custGeom>
            <a:avLst/>
            <a:gdLst>
              <a:gd name="T0" fmla="*/ 1082 w 2142"/>
              <a:gd name="T1" fmla="*/ 1607 h 2142"/>
              <a:gd name="T2" fmla="*/ 990 w 2142"/>
              <a:gd name="T3" fmla="*/ 1578 h 2142"/>
              <a:gd name="T4" fmla="*/ 494 w 2142"/>
              <a:gd name="T5" fmla="*/ 1025 h 2142"/>
              <a:gd name="T6" fmla="*/ 999 w 2142"/>
              <a:gd name="T7" fmla="*/ 1002 h 2142"/>
              <a:gd name="T8" fmla="*/ 1060 w 2142"/>
              <a:gd name="T9" fmla="*/ 534 h 2142"/>
              <a:gd name="T10" fmla="*/ 1153 w 2142"/>
              <a:gd name="T11" fmla="*/ 564 h 2142"/>
              <a:gd name="T12" fmla="*/ 1666 w 2142"/>
              <a:gd name="T13" fmla="*/ 1064 h 2142"/>
              <a:gd name="T14" fmla="*/ 1641 w 2142"/>
              <a:gd name="T15" fmla="*/ 1124 h 2142"/>
              <a:gd name="T16" fmla="*/ 539 w 2142"/>
              <a:gd name="T17" fmla="*/ 1140 h 2142"/>
              <a:gd name="T18" fmla="*/ 488 w 2142"/>
              <a:gd name="T19" fmla="*/ 1109 h 2142"/>
              <a:gd name="T20" fmla="*/ 988 w 2142"/>
              <a:gd name="T21" fmla="*/ 2139 h 2142"/>
              <a:gd name="T22" fmla="*/ 728 w 2142"/>
              <a:gd name="T23" fmla="*/ 2086 h 2142"/>
              <a:gd name="T24" fmla="*/ 494 w 2142"/>
              <a:gd name="T25" fmla="*/ 1973 h 2142"/>
              <a:gd name="T26" fmla="*/ 296 w 2142"/>
              <a:gd name="T27" fmla="*/ 1810 h 2142"/>
              <a:gd name="T28" fmla="*/ 142 w 2142"/>
              <a:gd name="T29" fmla="*/ 1604 h 2142"/>
              <a:gd name="T30" fmla="*/ 41 w 2142"/>
              <a:gd name="T31" fmla="*/ 1364 h 2142"/>
              <a:gd name="T32" fmla="*/ 0 w 2142"/>
              <a:gd name="T33" fmla="*/ 1098 h 2142"/>
              <a:gd name="T34" fmla="*/ 27 w 2142"/>
              <a:gd name="T35" fmla="*/ 829 h 2142"/>
              <a:gd name="T36" fmla="*/ 117 w 2142"/>
              <a:gd name="T37" fmla="*/ 584 h 2142"/>
              <a:gd name="T38" fmla="*/ 261 w 2142"/>
              <a:gd name="T39" fmla="*/ 370 h 2142"/>
              <a:gd name="T40" fmla="*/ 452 w 2142"/>
              <a:gd name="T41" fmla="*/ 198 h 2142"/>
              <a:gd name="T42" fmla="*/ 679 w 2142"/>
              <a:gd name="T43" fmla="*/ 74 h 2142"/>
              <a:gd name="T44" fmla="*/ 936 w 2142"/>
              <a:gd name="T45" fmla="*/ 8 h 2142"/>
              <a:gd name="T46" fmla="*/ 1208 w 2142"/>
              <a:gd name="T47" fmla="*/ 8 h 2142"/>
              <a:gd name="T48" fmla="*/ 1463 w 2142"/>
              <a:gd name="T49" fmla="*/ 74 h 2142"/>
              <a:gd name="T50" fmla="*/ 1691 w 2142"/>
              <a:gd name="T51" fmla="*/ 198 h 2142"/>
              <a:gd name="T52" fmla="*/ 1881 w 2142"/>
              <a:gd name="T53" fmla="*/ 370 h 2142"/>
              <a:gd name="T54" fmla="*/ 2025 w 2142"/>
              <a:gd name="T55" fmla="*/ 584 h 2142"/>
              <a:gd name="T56" fmla="*/ 2115 w 2142"/>
              <a:gd name="T57" fmla="*/ 829 h 2142"/>
              <a:gd name="T58" fmla="*/ 2142 w 2142"/>
              <a:gd name="T59" fmla="*/ 1098 h 2142"/>
              <a:gd name="T60" fmla="*/ 2101 w 2142"/>
              <a:gd name="T61" fmla="*/ 1364 h 2142"/>
              <a:gd name="T62" fmla="*/ 2000 w 2142"/>
              <a:gd name="T63" fmla="*/ 1604 h 2142"/>
              <a:gd name="T64" fmla="*/ 1846 w 2142"/>
              <a:gd name="T65" fmla="*/ 1810 h 2142"/>
              <a:gd name="T66" fmla="*/ 1648 w 2142"/>
              <a:gd name="T67" fmla="*/ 1973 h 2142"/>
              <a:gd name="T68" fmla="*/ 1414 w 2142"/>
              <a:gd name="T69" fmla="*/ 2086 h 2142"/>
              <a:gd name="T70" fmla="*/ 1154 w 2142"/>
              <a:gd name="T71" fmla="*/ 2139 h 2142"/>
              <a:gd name="T72" fmla="*/ 924 w 2142"/>
              <a:gd name="T73" fmla="*/ 113 h 2142"/>
              <a:gd name="T74" fmla="*/ 695 w 2142"/>
              <a:gd name="T75" fmla="*/ 179 h 2142"/>
              <a:gd name="T76" fmla="*/ 492 w 2142"/>
              <a:gd name="T77" fmla="*/ 296 h 2142"/>
              <a:gd name="T78" fmla="*/ 324 w 2142"/>
              <a:gd name="T79" fmla="*/ 456 h 2142"/>
              <a:gd name="T80" fmla="*/ 200 w 2142"/>
              <a:gd name="T81" fmla="*/ 652 h 2142"/>
              <a:gd name="T82" fmla="*/ 123 w 2142"/>
              <a:gd name="T83" fmla="*/ 876 h 2142"/>
              <a:gd name="T84" fmla="*/ 105 w 2142"/>
              <a:gd name="T85" fmla="*/ 1121 h 2142"/>
              <a:gd name="T86" fmla="*/ 147 w 2142"/>
              <a:gd name="T87" fmla="*/ 1358 h 2142"/>
              <a:gd name="T88" fmla="*/ 243 w 2142"/>
              <a:gd name="T89" fmla="*/ 1572 h 2142"/>
              <a:gd name="T90" fmla="*/ 388 w 2142"/>
              <a:gd name="T91" fmla="*/ 1755 h 2142"/>
              <a:gd name="T92" fmla="*/ 570 w 2142"/>
              <a:gd name="T93" fmla="*/ 1899 h 2142"/>
              <a:gd name="T94" fmla="*/ 784 w 2142"/>
              <a:gd name="T95" fmla="*/ 1996 h 2142"/>
              <a:gd name="T96" fmla="*/ 1021 w 2142"/>
              <a:gd name="T97" fmla="*/ 2037 h 2142"/>
              <a:gd name="T98" fmla="*/ 1266 w 2142"/>
              <a:gd name="T99" fmla="*/ 2019 h 2142"/>
              <a:gd name="T100" fmla="*/ 1490 w 2142"/>
              <a:gd name="T101" fmla="*/ 1943 h 2142"/>
              <a:gd name="T102" fmla="*/ 1686 w 2142"/>
              <a:gd name="T103" fmla="*/ 1818 h 2142"/>
              <a:gd name="T104" fmla="*/ 1846 w 2142"/>
              <a:gd name="T105" fmla="*/ 1650 h 2142"/>
              <a:gd name="T106" fmla="*/ 1963 w 2142"/>
              <a:gd name="T107" fmla="*/ 1447 h 2142"/>
              <a:gd name="T108" fmla="*/ 2028 w 2142"/>
              <a:gd name="T109" fmla="*/ 1218 h 2142"/>
              <a:gd name="T110" fmla="*/ 2034 w 2142"/>
              <a:gd name="T111" fmla="*/ 972 h 2142"/>
              <a:gd name="T112" fmla="*/ 1980 w 2142"/>
              <a:gd name="T113" fmla="*/ 738 h 2142"/>
              <a:gd name="T114" fmla="*/ 1873 w 2142"/>
              <a:gd name="T115" fmla="*/ 530 h 2142"/>
              <a:gd name="T116" fmla="*/ 1721 w 2142"/>
              <a:gd name="T117" fmla="*/ 354 h 2142"/>
              <a:gd name="T118" fmla="*/ 1532 w 2142"/>
              <a:gd name="T119" fmla="*/ 219 h 2142"/>
              <a:gd name="T120" fmla="*/ 1313 w 2142"/>
              <a:gd name="T121" fmla="*/ 134 h 2142"/>
              <a:gd name="T122" fmla="*/ 1072 w 2142"/>
              <a:gd name="T123" fmla="*/ 103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2" h="2142">
                <a:moveTo>
                  <a:pt x="1372" y="1210"/>
                </a:moveTo>
                <a:lnTo>
                  <a:pt x="1565" y="1210"/>
                </a:lnTo>
                <a:lnTo>
                  <a:pt x="1153" y="1578"/>
                </a:lnTo>
                <a:lnTo>
                  <a:pt x="1144" y="1585"/>
                </a:lnTo>
                <a:lnTo>
                  <a:pt x="1135" y="1590"/>
                </a:lnTo>
                <a:lnTo>
                  <a:pt x="1125" y="1596"/>
                </a:lnTo>
                <a:lnTo>
                  <a:pt x="1114" y="1601"/>
                </a:lnTo>
                <a:lnTo>
                  <a:pt x="1104" y="1604"/>
                </a:lnTo>
                <a:lnTo>
                  <a:pt x="1093" y="1606"/>
                </a:lnTo>
                <a:lnTo>
                  <a:pt x="1082" y="1607"/>
                </a:lnTo>
                <a:lnTo>
                  <a:pt x="1072" y="1608"/>
                </a:lnTo>
                <a:lnTo>
                  <a:pt x="1060" y="1607"/>
                </a:lnTo>
                <a:lnTo>
                  <a:pt x="1049" y="1606"/>
                </a:lnTo>
                <a:lnTo>
                  <a:pt x="1039" y="1604"/>
                </a:lnTo>
                <a:lnTo>
                  <a:pt x="1033" y="1603"/>
                </a:lnTo>
                <a:lnTo>
                  <a:pt x="1028" y="1601"/>
                </a:lnTo>
                <a:lnTo>
                  <a:pt x="1018" y="1596"/>
                </a:lnTo>
                <a:lnTo>
                  <a:pt x="1009" y="1590"/>
                </a:lnTo>
                <a:lnTo>
                  <a:pt x="999" y="1585"/>
                </a:lnTo>
                <a:lnTo>
                  <a:pt x="990" y="1578"/>
                </a:lnTo>
                <a:lnTo>
                  <a:pt x="975" y="1564"/>
                </a:lnTo>
                <a:lnTo>
                  <a:pt x="1372" y="1210"/>
                </a:lnTo>
                <a:close/>
                <a:moveTo>
                  <a:pt x="476" y="1070"/>
                </a:moveTo>
                <a:lnTo>
                  <a:pt x="478" y="1064"/>
                </a:lnTo>
                <a:lnTo>
                  <a:pt x="479" y="1056"/>
                </a:lnTo>
                <a:lnTo>
                  <a:pt x="481" y="1049"/>
                </a:lnTo>
                <a:lnTo>
                  <a:pt x="484" y="1042"/>
                </a:lnTo>
                <a:lnTo>
                  <a:pt x="487" y="1035"/>
                </a:lnTo>
                <a:lnTo>
                  <a:pt x="491" y="1030"/>
                </a:lnTo>
                <a:lnTo>
                  <a:pt x="494" y="1025"/>
                </a:lnTo>
                <a:lnTo>
                  <a:pt x="499" y="1020"/>
                </a:lnTo>
                <a:lnTo>
                  <a:pt x="505" y="1016"/>
                </a:lnTo>
                <a:lnTo>
                  <a:pt x="509" y="1012"/>
                </a:lnTo>
                <a:lnTo>
                  <a:pt x="515" y="1008"/>
                </a:lnTo>
                <a:lnTo>
                  <a:pt x="520" y="1006"/>
                </a:lnTo>
                <a:lnTo>
                  <a:pt x="527" y="1004"/>
                </a:lnTo>
                <a:lnTo>
                  <a:pt x="533" y="1003"/>
                </a:lnTo>
                <a:lnTo>
                  <a:pt x="539" y="1002"/>
                </a:lnTo>
                <a:lnTo>
                  <a:pt x="546" y="1002"/>
                </a:lnTo>
                <a:lnTo>
                  <a:pt x="999" y="1002"/>
                </a:lnTo>
                <a:lnTo>
                  <a:pt x="1451" y="1002"/>
                </a:lnTo>
                <a:lnTo>
                  <a:pt x="975" y="577"/>
                </a:lnTo>
                <a:lnTo>
                  <a:pt x="990" y="564"/>
                </a:lnTo>
                <a:lnTo>
                  <a:pt x="999" y="557"/>
                </a:lnTo>
                <a:lnTo>
                  <a:pt x="1009" y="550"/>
                </a:lnTo>
                <a:lnTo>
                  <a:pt x="1018" y="546"/>
                </a:lnTo>
                <a:lnTo>
                  <a:pt x="1028" y="541"/>
                </a:lnTo>
                <a:lnTo>
                  <a:pt x="1039" y="538"/>
                </a:lnTo>
                <a:lnTo>
                  <a:pt x="1049" y="536"/>
                </a:lnTo>
                <a:lnTo>
                  <a:pt x="1060" y="534"/>
                </a:lnTo>
                <a:lnTo>
                  <a:pt x="1072" y="533"/>
                </a:lnTo>
                <a:lnTo>
                  <a:pt x="1082" y="534"/>
                </a:lnTo>
                <a:lnTo>
                  <a:pt x="1093" y="536"/>
                </a:lnTo>
                <a:lnTo>
                  <a:pt x="1104" y="538"/>
                </a:lnTo>
                <a:lnTo>
                  <a:pt x="1109" y="539"/>
                </a:lnTo>
                <a:lnTo>
                  <a:pt x="1114" y="541"/>
                </a:lnTo>
                <a:lnTo>
                  <a:pt x="1125" y="546"/>
                </a:lnTo>
                <a:lnTo>
                  <a:pt x="1135" y="550"/>
                </a:lnTo>
                <a:lnTo>
                  <a:pt x="1144" y="557"/>
                </a:lnTo>
                <a:lnTo>
                  <a:pt x="1153" y="564"/>
                </a:lnTo>
                <a:lnTo>
                  <a:pt x="1629" y="988"/>
                </a:lnTo>
                <a:lnTo>
                  <a:pt x="1637" y="996"/>
                </a:lnTo>
                <a:lnTo>
                  <a:pt x="1643" y="1004"/>
                </a:lnTo>
                <a:lnTo>
                  <a:pt x="1650" y="1013"/>
                </a:lnTo>
                <a:lnTo>
                  <a:pt x="1655" y="1023"/>
                </a:lnTo>
                <a:lnTo>
                  <a:pt x="1657" y="1028"/>
                </a:lnTo>
                <a:lnTo>
                  <a:pt x="1659" y="1032"/>
                </a:lnTo>
                <a:lnTo>
                  <a:pt x="1662" y="1042"/>
                </a:lnTo>
                <a:lnTo>
                  <a:pt x="1665" y="1053"/>
                </a:lnTo>
                <a:lnTo>
                  <a:pt x="1666" y="1064"/>
                </a:lnTo>
                <a:lnTo>
                  <a:pt x="1666" y="1071"/>
                </a:lnTo>
                <a:lnTo>
                  <a:pt x="1665" y="1080"/>
                </a:lnTo>
                <a:lnTo>
                  <a:pt x="1664" y="1087"/>
                </a:lnTo>
                <a:lnTo>
                  <a:pt x="1661" y="1095"/>
                </a:lnTo>
                <a:lnTo>
                  <a:pt x="1658" y="1102"/>
                </a:lnTo>
                <a:lnTo>
                  <a:pt x="1655" y="1109"/>
                </a:lnTo>
                <a:lnTo>
                  <a:pt x="1650" y="1114"/>
                </a:lnTo>
                <a:lnTo>
                  <a:pt x="1646" y="1120"/>
                </a:lnTo>
                <a:lnTo>
                  <a:pt x="1643" y="1122"/>
                </a:lnTo>
                <a:lnTo>
                  <a:pt x="1641" y="1124"/>
                </a:lnTo>
                <a:lnTo>
                  <a:pt x="1635" y="1129"/>
                </a:lnTo>
                <a:lnTo>
                  <a:pt x="1630" y="1132"/>
                </a:lnTo>
                <a:lnTo>
                  <a:pt x="1624" y="1136"/>
                </a:lnTo>
                <a:lnTo>
                  <a:pt x="1617" y="1138"/>
                </a:lnTo>
                <a:lnTo>
                  <a:pt x="1611" y="1139"/>
                </a:lnTo>
                <a:lnTo>
                  <a:pt x="1604" y="1140"/>
                </a:lnTo>
                <a:lnTo>
                  <a:pt x="1596" y="1141"/>
                </a:lnTo>
                <a:lnTo>
                  <a:pt x="1071" y="1141"/>
                </a:lnTo>
                <a:lnTo>
                  <a:pt x="546" y="1141"/>
                </a:lnTo>
                <a:lnTo>
                  <a:pt x="539" y="1140"/>
                </a:lnTo>
                <a:lnTo>
                  <a:pt x="533" y="1139"/>
                </a:lnTo>
                <a:lnTo>
                  <a:pt x="527" y="1138"/>
                </a:lnTo>
                <a:lnTo>
                  <a:pt x="520" y="1136"/>
                </a:lnTo>
                <a:lnTo>
                  <a:pt x="515" y="1133"/>
                </a:lnTo>
                <a:lnTo>
                  <a:pt x="509" y="1130"/>
                </a:lnTo>
                <a:lnTo>
                  <a:pt x="505" y="1127"/>
                </a:lnTo>
                <a:lnTo>
                  <a:pt x="499" y="1122"/>
                </a:lnTo>
                <a:lnTo>
                  <a:pt x="494" y="1118"/>
                </a:lnTo>
                <a:lnTo>
                  <a:pt x="491" y="1113"/>
                </a:lnTo>
                <a:lnTo>
                  <a:pt x="488" y="1109"/>
                </a:lnTo>
                <a:lnTo>
                  <a:pt x="484" y="1103"/>
                </a:lnTo>
                <a:lnTo>
                  <a:pt x="481" y="1097"/>
                </a:lnTo>
                <a:lnTo>
                  <a:pt x="480" y="1091"/>
                </a:lnTo>
                <a:lnTo>
                  <a:pt x="478" y="1085"/>
                </a:lnTo>
                <a:lnTo>
                  <a:pt x="476" y="1078"/>
                </a:lnTo>
                <a:lnTo>
                  <a:pt x="476" y="1070"/>
                </a:lnTo>
                <a:close/>
                <a:moveTo>
                  <a:pt x="1072" y="2142"/>
                </a:moveTo>
                <a:lnTo>
                  <a:pt x="1044" y="2142"/>
                </a:lnTo>
                <a:lnTo>
                  <a:pt x="1017" y="2141"/>
                </a:lnTo>
                <a:lnTo>
                  <a:pt x="988" y="2139"/>
                </a:lnTo>
                <a:lnTo>
                  <a:pt x="961" y="2136"/>
                </a:lnTo>
                <a:lnTo>
                  <a:pt x="936" y="2133"/>
                </a:lnTo>
                <a:lnTo>
                  <a:pt x="909" y="2130"/>
                </a:lnTo>
                <a:lnTo>
                  <a:pt x="882" y="2125"/>
                </a:lnTo>
                <a:lnTo>
                  <a:pt x="856" y="2121"/>
                </a:lnTo>
                <a:lnTo>
                  <a:pt x="830" y="2115"/>
                </a:lnTo>
                <a:lnTo>
                  <a:pt x="804" y="2108"/>
                </a:lnTo>
                <a:lnTo>
                  <a:pt x="778" y="2101"/>
                </a:lnTo>
                <a:lnTo>
                  <a:pt x="753" y="2094"/>
                </a:lnTo>
                <a:lnTo>
                  <a:pt x="728" y="2086"/>
                </a:lnTo>
                <a:lnTo>
                  <a:pt x="704" y="2077"/>
                </a:lnTo>
                <a:lnTo>
                  <a:pt x="679" y="2068"/>
                </a:lnTo>
                <a:lnTo>
                  <a:pt x="654" y="2058"/>
                </a:lnTo>
                <a:lnTo>
                  <a:pt x="631" y="2047"/>
                </a:lnTo>
                <a:lnTo>
                  <a:pt x="607" y="2036"/>
                </a:lnTo>
                <a:lnTo>
                  <a:pt x="584" y="2025"/>
                </a:lnTo>
                <a:lnTo>
                  <a:pt x="561" y="2013"/>
                </a:lnTo>
                <a:lnTo>
                  <a:pt x="538" y="2000"/>
                </a:lnTo>
                <a:lnTo>
                  <a:pt x="516" y="1987"/>
                </a:lnTo>
                <a:lnTo>
                  <a:pt x="494" y="1973"/>
                </a:lnTo>
                <a:lnTo>
                  <a:pt x="473" y="1959"/>
                </a:lnTo>
                <a:lnTo>
                  <a:pt x="452" y="1944"/>
                </a:lnTo>
                <a:lnTo>
                  <a:pt x="431" y="1929"/>
                </a:lnTo>
                <a:lnTo>
                  <a:pt x="410" y="1913"/>
                </a:lnTo>
                <a:lnTo>
                  <a:pt x="391" y="1898"/>
                </a:lnTo>
                <a:lnTo>
                  <a:pt x="371" y="1881"/>
                </a:lnTo>
                <a:lnTo>
                  <a:pt x="351" y="1864"/>
                </a:lnTo>
                <a:lnTo>
                  <a:pt x="332" y="1846"/>
                </a:lnTo>
                <a:lnTo>
                  <a:pt x="314" y="1828"/>
                </a:lnTo>
                <a:lnTo>
                  <a:pt x="296" y="1810"/>
                </a:lnTo>
                <a:lnTo>
                  <a:pt x="278" y="1791"/>
                </a:lnTo>
                <a:lnTo>
                  <a:pt x="261" y="1772"/>
                </a:lnTo>
                <a:lnTo>
                  <a:pt x="245" y="1751"/>
                </a:lnTo>
                <a:lnTo>
                  <a:pt x="229" y="1732"/>
                </a:lnTo>
                <a:lnTo>
                  <a:pt x="213" y="1712"/>
                </a:lnTo>
                <a:lnTo>
                  <a:pt x="198" y="1691"/>
                </a:lnTo>
                <a:lnTo>
                  <a:pt x="184" y="1669"/>
                </a:lnTo>
                <a:lnTo>
                  <a:pt x="169" y="1648"/>
                </a:lnTo>
                <a:lnTo>
                  <a:pt x="156" y="1626"/>
                </a:lnTo>
                <a:lnTo>
                  <a:pt x="142" y="1604"/>
                </a:lnTo>
                <a:lnTo>
                  <a:pt x="130" y="1581"/>
                </a:lnTo>
                <a:lnTo>
                  <a:pt x="117" y="1558"/>
                </a:lnTo>
                <a:lnTo>
                  <a:pt x="106" y="1535"/>
                </a:lnTo>
                <a:lnTo>
                  <a:pt x="95" y="1512"/>
                </a:lnTo>
                <a:lnTo>
                  <a:pt x="85" y="1488"/>
                </a:lnTo>
                <a:lnTo>
                  <a:pt x="75" y="1463"/>
                </a:lnTo>
                <a:lnTo>
                  <a:pt x="66" y="1438"/>
                </a:lnTo>
                <a:lnTo>
                  <a:pt x="57" y="1414"/>
                </a:lnTo>
                <a:lnTo>
                  <a:pt x="49" y="1389"/>
                </a:lnTo>
                <a:lnTo>
                  <a:pt x="41" y="1364"/>
                </a:lnTo>
                <a:lnTo>
                  <a:pt x="34" y="1338"/>
                </a:lnTo>
                <a:lnTo>
                  <a:pt x="27" y="1312"/>
                </a:lnTo>
                <a:lnTo>
                  <a:pt x="22" y="1286"/>
                </a:lnTo>
                <a:lnTo>
                  <a:pt x="17" y="1261"/>
                </a:lnTo>
                <a:lnTo>
                  <a:pt x="13" y="1234"/>
                </a:lnTo>
                <a:lnTo>
                  <a:pt x="9" y="1208"/>
                </a:lnTo>
                <a:lnTo>
                  <a:pt x="6" y="1181"/>
                </a:lnTo>
                <a:lnTo>
                  <a:pt x="4" y="1154"/>
                </a:lnTo>
                <a:lnTo>
                  <a:pt x="2" y="1125"/>
                </a:lnTo>
                <a:lnTo>
                  <a:pt x="0" y="1098"/>
                </a:lnTo>
                <a:lnTo>
                  <a:pt x="0" y="1070"/>
                </a:lnTo>
                <a:lnTo>
                  <a:pt x="0" y="1043"/>
                </a:lnTo>
                <a:lnTo>
                  <a:pt x="2" y="1016"/>
                </a:lnTo>
                <a:lnTo>
                  <a:pt x="4" y="988"/>
                </a:lnTo>
                <a:lnTo>
                  <a:pt x="6" y="961"/>
                </a:lnTo>
                <a:lnTo>
                  <a:pt x="9" y="934"/>
                </a:lnTo>
                <a:lnTo>
                  <a:pt x="13" y="908"/>
                </a:lnTo>
                <a:lnTo>
                  <a:pt x="17" y="881"/>
                </a:lnTo>
                <a:lnTo>
                  <a:pt x="22" y="855"/>
                </a:lnTo>
                <a:lnTo>
                  <a:pt x="27" y="829"/>
                </a:lnTo>
                <a:lnTo>
                  <a:pt x="34" y="803"/>
                </a:lnTo>
                <a:lnTo>
                  <a:pt x="41" y="778"/>
                </a:lnTo>
                <a:lnTo>
                  <a:pt x="49" y="753"/>
                </a:lnTo>
                <a:lnTo>
                  <a:pt x="57" y="728"/>
                </a:lnTo>
                <a:lnTo>
                  <a:pt x="66" y="703"/>
                </a:lnTo>
                <a:lnTo>
                  <a:pt x="75" y="679"/>
                </a:lnTo>
                <a:lnTo>
                  <a:pt x="85" y="654"/>
                </a:lnTo>
                <a:lnTo>
                  <a:pt x="95" y="630"/>
                </a:lnTo>
                <a:lnTo>
                  <a:pt x="106" y="606"/>
                </a:lnTo>
                <a:lnTo>
                  <a:pt x="117" y="584"/>
                </a:lnTo>
                <a:lnTo>
                  <a:pt x="130" y="560"/>
                </a:lnTo>
                <a:lnTo>
                  <a:pt x="142" y="538"/>
                </a:lnTo>
                <a:lnTo>
                  <a:pt x="156" y="515"/>
                </a:lnTo>
                <a:lnTo>
                  <a:pt x="169" y="494"/>
                </a:lnTo>
                <a:lnTo>
                  <a:pt x="184" y="473"/>
                </a:lnTo>
                <a:lnTo>
                  <a:pt x="198" y="451"/>
                </a:lnTo>
                <a:lnTo>
                  <a:pt x="213" y="430"/>
                </a:lnTo>
                <a:lnTo>
                  <a:pt x="229" y="409"/>
                </a:lnTo>
                <a:lnTo>
                  <a:pt x="245" y="389"/>
                </a:lnTo>
                <a:lnTo>
                  <a:pt x="261" y="370"/>
                </a:lnTo>
                <a:lnTo>
                  <a:pt x="278" y="351"/>
                </a:lnTo>
                <a:lnTo>
                  <a:pt x="296" y="332"/>
                </a:lnTo>
                <a:lnTo>
                  <a:pt x="314" y="314"/>
                </a:lnTo>
                <a:lnTo>
                  <a:pt x="332" y="296"/>
                </a:lnTo>
                <a:lnTo>
                  <a:pt x="351" y="278"/>
                </a:lnTo>
                <a:lnTo>
                  <a:pt x="371" y="261"/>
                </a:lnTo>
                <a:lnTo>
                  <a:pt x="391" y="244"/>
                </a:lnTo>
                <a:lnTo>
                  <a:pt x="410" y="228"/>
                </a:lnTo>
                <a:lnTo>
                  <a:pt x="431" y="212"/>
                </a:lnTo>
                <a:lnTo>
                  <a:pt x="452" y="198"/>
                </a:lnTo>
                <a:lnTo>
                  <a:pt x="473" y="183"/>
                </a:lnTo>
                <a:lnTo>
                  <a:pt x="494" y="169"/>
                </a:lnTo>
                <a:lnTo>
                  <a:pt x="516" y="155"/>
                </a:lnTo>
                <a:lnTo>
                  <a:pt x="538" y="142"/>
                </a:lnTo>
                <a:lnTo>
                  <a:pt x="561" y="129"/>
                </a:lnTo>
                <a:lnTo>
                  <a:pt x="584" y="117"/>
                </a:lnTo>
                <a:lnTo>
                  <a:pt x="607" y="106"/>
                </a:lnTo>
                <a:lnTo>
                  <a:pt x="631" y="94"/>
                </a:lnTo>
                <a:lnTo>
                  <a:pt x="654" y="84"/>
                </a:lnTo>
                <a:lnTo>
                  <a:pt x="679" y="74"/>
                </a:lnTo>
                <a:lnTo>
                  <a:pt x="704" y="65"/>
                </a:lnTo>
                <a:lnTo>
                  <a:pt x="728" y="56"/>
                </a:lnTo>
                <a:lnTo>
                  <a:pt x="753" y="48"/>
                </a:lnTo>
                <a:lnTo>
                  <a:pt x="778" y="40"/>
                </a:lnTo>
                <a:lnTo>
                  <a:pt x="804" y="33"/>
                </a:lnTo>
                <a:lnTo>
                  <a:pt x="830" y="27"/>
                </a:lnTo>
                <a:lnTo>
                  <a:pt x="856" y="21"/>
                </a:lnTo>
                <a:lnTo>
                  <a:pt x="882" y="17"/>
                </a:lnTo>
                <a:lnTo>
                  <a:pt x="909" y="12"/>
                </a:lnTo>
                <a:lnTo>
                  <a:pt x="936" y="8"/>
                </a:lnTo>
                <a:lnTo>
                  <a:pt x="961" y="5"/>
                </a:lnTo>
                <a:lnTo>
                  <a:pt x="988" y="3"/>
                </a:lnTo>
                <a:lnTo>
                  <a:pt x="1017" y="1"/>
                </a:lnTo>
                <a:lnTo>
                  <a:pt x="1044" y="0"/>
                </a:lnTo>
                <a:lnTo>
                  <a:pt x="1072" y="0"/>
                </a:lnTo>
                <a:lnTo>
                  <a:pt x="1099" y="0"/>
                </a:lnTo>
                <a:lnTo>
                  <a:pt x="1126" y="1"/>
                </a:lnTo>
                <a:lnTo>
                  <a:pt x="1154" y="3"/>
                </a:lnTo>
                <a:lnTo>
                  <a:pt x="1181" y="5"/>
                </a:lnTo>
                <a:lnTo>
                  <a:pt x="1208" y="8"/>
                </a:lnTo>
                <a:lnTo>
                  <a:pt x="1234" y="12"/>
                </a:lnTo>
                <a:lnTo>
                  <a:pt x="1261" y="17"/>
                </a:lnTo>
                <a:lnTo>
                  <a:pt x="1287" y="21"/>
                </a:lnTo>
                <a:lnTo>
                  <a:pt x="1313" y="27"/>
                </a:lnTo>
                <a:lnTo>
                  <a:pt x="1338" y="33"/>
                </a:lnTo>
                <a:lnTo>
                  <a:pt x="1364" y="40"/>
                </a:lnTo>
                <a:lnTo>
                  <a:pt x="1389" y="48"/>
                </a:lnTo>
                <a:lnTo>
                  <a:pt x="1414" y="56"/>
                </a:lnTo>
                <a:lnTo>
                  <a:pt x="1439" y="65"/>
                </a:lnTo>
                <a:lnTo>
                  <a:pt x="1463" y="74"/>
                </a:lnTo>
                <a:lnTo>
                  <a:pt x="1488" y="84"/>
                </a:lnTo>
                <a:lnTo>
                  <a:pt x="1512" y="94"/>
                </a:lnTo>
                <a:lnTo>
                  <a:pt x="1535" y="106"/>
                </a:lnTo>
                <a:lnTo>
                  <a:pt x="1558" y="117"/>
                </a:lnTo>
                <a:lnTo>
                  <a:pt x="1581" y="129"/>
                </a:lnTo>
                <a:lnTo>
                  <a:pt x="1604" y="142"/>
                </a:lnTo>
                <a:lnTo>
                  <a:pt x="1626" y="155"/>
                </a:lnTo>
                <a:lnTo>
                  <a:pt x="1648" y="169"/>
                </a:lnTo>
                <a:lnTo>
                  <a:pt x="1669" y="183"/>
                </a:lnTo>
                <a:lnTo>
                  <a:pt x="1691" y="198"/>
                </a:lnTo>
                <a:lnTo>
                  <a:pt x="1712" y="212"/>
                </a:lnTo>
                <a:lnTo>
                  <a:pt x="1732" y="228"/>
                </a:lnTo>
                <a:lnTo>
                  <a:pt x="1753" y="244"/>
                </a:lnTo>
                <a:lnTo>
                  <a:pt x="1772" y="261"/>
                </a:lnTo>
                <a:lnTo>
                  <a:pt x="1791" y="278"/>
                </a:lnTo>
                <a:lnTo>
                  <a:pt x="1810" y="296"/>
                </a:lnTo>
                <a:lnTo>
                  <a:pt x="1828" y="314"/>
                </a:lnTo>
                <a:lnTo>
                  <a:pt x="1846" y="332"/>
                </a:lnTo>
                <a:lnTo>
                  <a:pt x="1864" y="351"/>
                </a:lnTo>
                <a:lnTo>
                  <a:pt x="1881" y="370"/>
                </a:lnTo>
                <a:lnTo>
                  <a:pt x="1898" y="389"/>
                </a:lnTo>
                <a:lnTo>
                  <a:pt x="1913" y="409"/>
                </a:lnTo>
                <a:lnTo>
                  <a:pt x="1929" y="430"/>
                </a:lnTo>
                <a:lnTo>
                  <a:pt x="1944" y="451"/>
                </a:lnTo>
                <a:lnTo>
                  <a:pt x="1958" y="473"/>
                </a:lnTo>
                <a:lnTo>
                  <a:pt x="1973" y="494"/>
                </a:lnTo>
                <a:lnTo>
                  <a:pt x="1987" y="515"/>
                </a:lnTo>
                <a:lnTo>
                  <a:pt x="2000" y="538"/>
                </a:lnTo>
                <a:lnTo>
                  <a:pt x="2012" y="560"/>
                </a:lnTo>
                <a:lnTo>
                  <a:pt x="2025" y="584"/>
                </a:lnTo>
                <a:lnTo>
                  <a:pt x="2036" y="606"/>
                </a:lnTo>
                <a:lnTo>
                  <a:pt x="2047" y="630"/>
                </a:lnTo>
                <a:lnTo>
                  <a:pt x="2057" y="654"/>
                </a:lnTo>
                <a:lnTo>
                  <a:pt x="2068" y="679"/>
                </a:lnTo>
                <a:lnTo>
                  <a:pt x="2077" y="703"/>
                </a:lnTo>
                <a:lnTo>
                  <a:pt x="2086" y="728"/>
                </a:lnTo>
                <a:lnTo>
                  <a:pt x="2093" y="753"/>
                </a:lnTo>
                <a:lnTo>
                  <a:pt x="2101" y="778"/>
                </a:lnTo>
                <a:lnTo>
                  <a:pt x="2108" y="803"/>
                </a:lnTo>
                <a:lnTo>
                  <a:pt x="2115" y="829"/>
                </a:lnTo>
                <a:lnTo>
                  <a:pt x="2121" y="855"/>
                </a:lnTo>
                <a:lnTo>
                  <a:pt x="2125" y="881"/>
                </a:lnTo>
                <a:lnTo>
                  <a:pt x="2130" y="908"/>
                </a:lnTo>
                <a:lnTo>
                  <a:pt x="2134" y="934"/>
                </a:lnTo>
                <a:lnTo>
                  <a:pt x="2136" y="961"/>
                </a:lnTo>
                <a:lnTo>
                  <a:pt x="2139" y="988"/>
                </a:lnTo>
                <a:lnTo>
                  <a:pt x="2141" y="1016"/>
                </a:lnTo>
                <a:lnTo>
                  <a:pt x="2142" y="1043"/>
                </a:lnTo>
                <a:lnTo>
                  <a:pt x="2142" y="1070"/>
                </a:lnTo>
                <a:lnTo>
                  <a:pt x="2142" y="1098"/>
                </a:lnTo>
                <a:lnTo>
                  <a:pt x="2141" y="1125"/>
                </a:lnTo>
                <a:lnTo>
                  <a:pt x="2139" y="1154"/>
                </a:lnTo>
                <a:lnTo>
                  <a:pt x="2136" y="1181"/>
                </a:lnTo>
                <a:lnTo>
                  <a:pt x="2134" y="1208"/>
                </a:lnTo>
                <a:lnTo>
                  <a:pt x="2130" y="1234"/>
                </a:lnTo>
                <a:lnTo>
                  <a:pt x="2125" y="1261"/>
                </a:lnTo>
                <a:lnTo>
                  <a:pt x="2121" y="1286"/>
                </a:lnTo>
                <a:lnTo>
                  <a:pt x="2115" y="1312"/>
                </a:lnTo>
                <a:lnTo>
                  <a:pt x="2108" y="1338"/>
                </a:lnTo>
                <a:lnTo>
                  <a:pt x="2101" y="1364"/>
                </a:lnTo>
                <a:lnTo>
                  <a:pt x="2093" y="1389"/>
                </a:lnTo>
                <a:lnTo>
                  <a:pt x="2086" y="1414"/>
                </a:lnTo>
                <a:lnTo>
                  <a:pt x="2077" y="1438"/>
                </a:lnTo>
                <a:lnTo>
                  <a:pt x="2068" y="1463"/>
                </a:lnTo>
                <a:lnTo>
                  <a:pt x="2057" y="1488"/>
                </a:lnTo>
                <a:lnTo>
                  <a:pt x="2047" y="1512"/>
                </a:lnTo>
                <a:lnTo>
                  <a:pt x="2036" y="1535"/>
                </a:lnTo>
                <a:lnTo>
                  <a:pt x="2025" y="1558"/>
                </a:lnTo>
                <a:lnTo>
                  <a:pt x="2012" y="1581"/>
                </a:lnTo>
                <a:lnTo>
                  <a:pt x="2000" y="1604"/>
                </a:lnTo>
                <a:lnTo>
                  <a:pt x="1987" y="1626"/>
                </a:lnTo>
                <a:lnTo>
                  <a:pt x="1973" y="1648"/>
                </a:lnTo>
                <a:lnTo>
                  <a:pt x="1958" y="1669"/>
                </a:lnTo>
                <a:lnTo>
                  <a:pt x="1944" y="1691"/>
                </a:lnTo>
                <a:lnTo>
                  <a:pt x="1929" y="1712"/>
                </a:lnTo>
                <a:lnTo>
                  <a:pt x="1913" y="1732"/>
                </a:lnTo>
                <a:lnTo>
                  <a:pt x="1898" y="1751"/>
                </a:lnTo>
                <a:lnTo>
                  <a:pt x="1881" y="1772"/>
                </a:lnTo>
                <a:lnTo>
                  <a:pt x="1864" y="1791"/>
                </a:lnTo>
                <a:lnTo>
                  <a:pt x="1846" y="1810"/>
                </a:lnTo>
                <a:lnTo>
                  <a:pt x="1828" y="1828"/>
                </a:lnTo>
                <a:lnTo>
                  <a:pt x="1810" y="1846"/>
                </a:lnTo>
                <a:lnTo>
                  <a:pt x="1791" y="1864"/>
                </a:lnTo>
                <a:lnTo>
                  <a:pt x="1772" y="1881"/>
                </a:lnTo>
                <a:lnTo>
                  <a:pt x="1753" y="1898"/>
                </a:lnTo>
                <a:lnTo>
                  <a:pt x="1732" y="1913"/>
                </a:lnTo>
                <a:lnTo>
                  <a:pt x="1712" y="1929"/>
                </a:lnTo>
                <a:lnTo>
                  <a:pt x="1691" y="1944"/>
                </a:lnTo>
                <a:lnTo>
                  <a:pt x="1669" y="1959"/>
                </a:lnTo>
                <a:lnTo>
                  <a:pt x="1648" y="1973"/>
                </a:lnTo>
                <a:lnTo>
                  <a:pt x="1626" y="1987"/>
                </a:lnTo>
                <a:lnTo>
                  <a:pt x="1604" y="2000"/>
                </a:lnTo>
                <a:lnTo>
                  <a:pt x="1581" y="2013"/>
                </a:lnTo>
                <a:lnTo>
                  <a:pt x="1558" y="2025"/>
                </a:lnTo>
                <a:lnTo>
                  <a:pt x="1535" y="2036"/>
                </a:lnTo>
                <a:lnTo>
                  <a:pt x="1512" y="2047"/>
                </a:lnTo>
                <a:lnTo>
                  <a:pt x="1488" y="2058"/>
                </a:lnTo>
                <a:lnTo>
                  <a:pt x="1463" y="2068"/>
                </a:lnTo>
                <a:lnTo>
                  <a:pt x="1439" y="2077"/>
                </a:lnTo>
                <a:lnTo>
                  <a:pt x="1414" y="2086"/>
                </a:lnTo>
                <a:lnTo>
                  <a:pt x="1389" y="2094"/>
                </a:lnTo>
                <a:lnTo>
                  <a:pt x="1364" y="2101"/>
                </a:lnTo>
                <a:lnTo>
                  <a:pt x="1338" y="2108"/>
                </a:lnTo>
                <a:lnTo>
                  <a:pt x="1313" y="2115"/>
                </a:lnTo>
                <a:lnTo>
                  <a:pt x="1287" y="2121"/>
                </a:lnTo>
                <a:lnTo>
                  <a:pt x="1261" y="2125"/>
                </a:lnTo>
                <a:lnTo>
                  <a:pt x="1234" y="2130"/>
                </a:lnTo>
                <a:lnTo>
                  <a:pt x="1208" y="2133"/>
                </a:lnTo>
                <a:lnTo>
                  <a:pt x="1181" y="2136"/>
                </a:lnTo>
                <a:lnTo>
                  <a:pt x="1154" y="2139"/>
                </a:lnTo>
                <a:lnTo>
                  <a:pt x="1126" y="2141"/>
                </a:lnTo>
                <a:lnTo>
                  <a:pt x="1099" y="2142"/>
                </a:lnTo>
                <a:lnTo>
                  <a:pt x="1072" y="2142"/>
                </a:lnTo>
                <a:close/>
                <a:moveTo>
                  <a:pt x="1072" y="103"/>
                </a:moveTo>
                <a:lnTo>
                  <a:pt x="1046" y="103"/>
                </a:lnTo>
                <a:lnTo>
                  <a:pt x="1021" y="104"/>
                </a:lnTo>
                <a:lnTo>
                  <a:pt x="997" y="106"/>
                </a:lnTo>
                <a:lnTo>
                  <a:pt x="973" y="108"/>
                </a:lnTo>
                <a:lnTo>
                  <a:pt x="948" y="110"/>
                </a:lnTo>
                <a:lnTo>
                  <a:pt x="924" y="113"/>
                </a:lnTo>
                <a:lnTo>
                  <a:pt x="901" y="118"/>
                </a:lnTo>
                <a:lnTo>
                  <a:pt x="876" y="122"/>
                </a:lnTo>
                <a:lnTo>
                  <a:pt x="853" y="128"/>
                </a:lnTo>
                <a:lnTo>
                  <a:pt x="830" y="134"/>
                </a:lnTo>
                <a:lnTo>
                  <a:pt x="806" y="139"/>
                </a:lnTo>
                <a:lnTo>
                  <a:pt x="784" y="146"/>
                </a:lnTo>
                <a:lnTo>
                  <a:pt x="761" y="154"/>
                </a:lnTo>
                <a:lnTo>
                  <a:pt x="739" y="162"/>
                </a:lnTo>
                <a:lnTo>
                  <a:pt x="717" y="170"/>
                </a:lnTo>
                <a:lnTo>
                  <a:pt x="695" y="179"/>
                </a:lnTo>
                <a:lnTo>
                  <a:pt x="673" y="189"/>
                </a:lnTo>
                <a:lnTo>
                  <a:pt x="652" y="198"/>
                </a:lnTo>
                <a:lnTo>
                  <a:pt x="631" y="209"/>
                </a:lnTo>
                <a:lnTo>
                  <a:pt x="610" y="219"/>
                </a:lnTo>
                <a:lnTo>
                  <a:pt x="590" y="232"/>
                </a:lnTo>
                <a:lnTo>
                  <a:pt x="570" y="243"/>
                </a:lnTo>
                <a:lnTo>
                  <a:pt x="550" y="255"/>
                </a:lnTo>
                <a:lnTo>
                  <a:pt x="530" y="269"/>
                </a:lnTo>
                <a:lnTo>
                  <a:pt x="511" y="281"/>
                </a:lnTo>
                <a:lnTo>
                  <a:pt x="492" y="296"/>
                </a:lnTo>
                <a:lnTo>
                  <a:pt x="474" y="309"/>
                </a:lnTo>
                <a:lnTo>
                  <a:pt x="456" y="324"/>
                </a:lnTo>
                <a:lnTo>
                  <a:pt x="438" y="340"/>
                </a:lnTo>
                <a:lnTo>
                  <a:pt x="421" y="354"/>
                </a:lnTo>
                <a:lnTo>
                  <a:pt x="404" y="370"/>
                </a:lnTo>
                <a:lnTo>
                  <a:pt x="388" y="387"/>
                </a:lnTo>
                <a:lnTo>
                  <a:pt x="371" y="403"/>
                </a:lnTo>
                <a:lnTo>
                  <a:pt x="355" y="421"/>
                </a:lnTo>
                <a:lnTo>
                  <a:pt x="340" y="438"/>
                </a:lnTo>
                <a:lnTo>
                  <a:pt x="324" y="456"/>
                </a:lnTo>
                <a:lnTo>
                  <a:pt x="310" y="474"/>
                </a:lnTo>
                <a:lnTo>
                  <a:pt x="296" y="492"/>
                </a:lnTo>
                <a:lnTo>
                  <a:pt x="283" y="511"/>
                </a:lnTo>
                <a:lnTo>
                  <a:pt x="269" y="530"/>
                </a:lnTo>
                <a:lnTo>
                  <a:pt x="256" y="549"/>
                </a:lnTo>
                <a:lnTo>
                  <a:pt x="243" y="569"/>
                </a:lnTo>
                <a:lnTo>
                  <a:pt x="232" y="590"/>
                </a:lnTo>
                <a:lnTo>
                  <a:pt x="221" y="610"/>
                </a:lnTo>
                <a:lnTo>
                  <a:pt x="210" y="630"/>
                </a:lnTo>
                <a:lnTo>
                  <a:pt x="200" y="652"/>
                </a:lnTo>
                <a:lnTo>
                  <a:pt x="189" y="673"/>
                </a:lnTo>
                <a:lnTo>
                  <a:pt x="179" y="694"/>
                </a:lnTo>
                <a:lnTo>
                  <a:pt x="170" y="716"/>
                </a:lnTo>
                <a:lnTo>
                  <a:pt x="162" y="738"/>
                </a:lnTo>
                <a:lnTo>
                  <a:pt x="155" y="761"/>
                </a:lnTo>
                <a:lnTo>
                  <a:pt x="147" y="783"/>
                </a:lnTo>
                <a:lnTo>
                  <a:pt x="140" y="806"/>
                </a:lnTo>
                <a:lnTo>
                  <a:pt x="134" y="829"/>
                </a:lnTo>
                <a:lnTo>
                  <a:pt x="129" y="853"/>
                </a:lnTo>
                <a:lnTo>
                  <a:pt x="123" y="876"/>
                </a:lnTo>
                <a:lnTo>
                  <a:pt x="119" y="899"/>
                </a:lnTo>
                <a:lnTo>
                  <a:pt x="115" y="924"/>
                </a:lnTo>
                <a:lnTo>
                  <a:pt x="112" y="948"/>
                </a:lnTo>
                <a:lnTo>
                  <a:pt x="108" y="972"/>
                </a:lnTo>
                <a:lnTo>
                  <a:pt x="106" y="996"/>
                </a:lnTo>
                <a:lnTo>
                  <a:pt x="105" y="1021"/>
                </a:lnTo>
                <a:lnTo>
                  <a:pt x="104" y="1046"/>
                </a:lnTo>
                <a:lnTo>
                  <a:pt x="104" y="1070"/>
                </a:lnTo>
                <a:lnTo>
                  <a:pt x="104" y="1096"/>
                </a:lnTo>
                <a:lnTo>
                  <a:pt x="105" y="1121"/>
                </a:lnTo>
                <a:lnTo>
                  <a:pt x="106" y="1146"/>
                </a:lnTo>
                <a:lnTo>
                  <a:pt x="108" y="1169"/>
                </a:lnTo>
                <a:lnTo>
                  <a:pt x="112" y="1194"/>
                </a:lnTo>
                <a:lnTo>
                  <a:pt x="115" y="1218"/>
                </a:lnTo>
                <a:lnTo>
                  <a:pt x="119" y="1241"/>
                </a:lnTo>
                <a:lnTo>
                  <a:pt x="123" y="1266"/>
                </a:lnTo>
                <a:lnTo>
                  <a:pt x="129" y="1289"/>
                </a:lnTo>
                <a:lnTo>
                  <a:pt x="134" y="1312"/>
                </a:lnTo>
                <a:lnTo>
                  <a:pt x="140" y="1336"/>
                </a:lnTo>
                <a:lnTo>
                  <a:pt x="147" y="1358"/>
                </a:lnTo>
                <a:lnTo>
                  <a:pt x="155" y="1381"/>
                </a:lnTo>
                <a:lnTo>
                  <a:pt x="162" y="1404"/>
                </a:lnTo>
                <a:lnTo>
                  <a:pt x="170" y="1425"/>
                </a:lnTo>
                <a:lnTo>
                  <a:pt x="179" y="1447"/>
                </a:lnTo>
                <a:lnTo>
                  <a:pt x="189" y="1469"/>
                </a:lnTo>
                <a:lnTo>
                  <a:pt x="200" y="1490"/>
                </a:lnTo>
                <a:lnTo>
                  <a:pt x="210" y="1512"/>
                </a:lnTo>
                <a:lnTo>
                  <a:pt x="221" y="1532"/>
                </a:lnTo>
                <a:lnTo>
                  <a:pt x="232" y="1552"/>
                </a:lnTo>
                <a:lnTo>
                  <a:pt x="243" y="1572"/>
                </a:lnTo>
                <a:lnTo>
                  <a:pt x="256" y="1593"/>
                </a:lnTo>
                <a:lnTo>
                  <a:pt x="269" y="1612"/>
                </a:lnTo>
                <a:lnTo>
                  <a:pt x="283" y="1631"/>
                </a:lnTo>
                <a:lnTo>
                  <a:pt x="296" y="1650"/>
                </a:lnTo>
                <a:lnTo>
                  <a:pt x="310" y="1668"/>
                </a:lnTo>
                <a:lnTo>
                  <a:pt x="324" y="1686"/>
                </a:lnTo>
                <a:lnTo>
                  <a:pt x="340" y="1704"/>
                </a:lnTo>
                <a:lnTo>
                  <a:pt x="355" y="1721"/>
                </a:lnTo>
                <a:lnTo>
                  <a:pt x="371" y="1738"/>
                </a:lnTo>
                <a:lnTo>
                  <a:pt x="388" y="1755"/>
                </a:lnTo>
                <a:lnTo>
                  <a:pt x="404" y="1772"/>
                </a:lnTo>
                <a:lnTo>
                  <a:pt x="421" y="1787"/>
                </a:lnTo>
                <a:lnTo>
                  <a:pt x="438" y="1802"/>
                </a:lnTo>
                <a:lnTo>
                  <a:pt x="456" y="1818"/>
                </a:lnTo>
                <a:lnTo>
                  <a:pt x="474" y="1832"/>
                </a:lnTo>
                <a:lnTo>
                  <a:pt x="492" y="1846"/>
                </a:lnTo>
                <a:lnTo>
                  <a:pt x="511" y="1859"/>
                </a:lnTo>
                <a:lnTo>
                  <a:pt x="530" y="1873"/>
                </a:lnTo>
                <a:lnTo>
                  <a:pt x="550" y="1886"/>
                </a:lnTo>
                <a:lnTo>
                  <a:pt x="570" y="1899"/>
                </a:lnTo>
                <a:lnTo>
                  <a:pt x="590" y="1910"/>
                </a:lnTo>
                <a:lnTo>
                  <a:pt x="610" y="1921"/>
                </a:lnTo>
                <a:lnTo>
                  <a:pt x="631" y="1933"/>
                </a:lnTo>
                <a:lnTo>
                  <a:pt x="652" y="1943"/>
                </a:lnTo>
                <a:lnTo>
                  <a:pt x="673" y="1953"/>
                </a:lnTo>
                <a:lnTo>
                  <a:pt x="695" y="1963"/>
                </a:lnTo>
                <a:lnTo>
                  <a:pt x="717" y="1972"/>
                </a:lnTo>
                <a:lnTo>
                  <a:pt x="739" y="1980"/>
                </a:lnTo>
                <a:lnTo>
                  <a:pt x="761" y="1988"/>
                </a:lnTo>
                <a:lnTo>
                  <a:pt x="784" y="1996"/>
                </a:lnTo>
                <a:lnTo>
                  <a:pt x="806" y="2002"/>
                </a:lnTo>
                <a:lnTo>
                  <a:pt x="830" y="2008"/>
                </a:lnTo>
                <a:lnTo>
                  <a:pt x="853" y="2014"/>
                </a:lnTo>
                <a:lnTo>
                  <a:pt x="876" y="2019"/>
                </a:lnTo>
                <a:lnTo>
                  <a:pt x="901" y="2024"/>
                </a:lnTo>
                <a:lnTo>
                  <a:pt x="924" y="2027"/>
                </a:lnTo>
                <a:lnTo>
                  <a:pt x="948" y="2031"/>
                </a:lnTo>
                <a:lnTo>
                  <a:pt x="973" y="2034"/>
                </a:lnTo>
                <a:lnTo>
                  <a:pt x="997" y="2036"/>
                </a:lnTo>
                <a:lnTo>
                  <a:pt x="1021" y="2037"/>
                </a:lnTo>
                <a:lnTo>
                  <a:pt x="1046" y="2038"/>
                </a:lnTo>
                <a:lnTo>
                  <a:pt x="1072" y="2038"/>
                </a:lnTo>
                <a:lnTo>
                  <a:pt x="1096" y="2038"/>
                </a:lnTo>
                <a:lnTo>
                  <a:pt x="1121" y="2037"/>
                </a:lnTo>
                <a:lnTo>
                  <a:pt x="1146" y="2036"/>
                </a:lnTo>
                <a:lnTo>
                  <a:pt x="1170" y="2034"/>
                </a:lnTo>
                <a:lnTo>
                  <a:pt x="1194" y="2031"/>
                </a:lnTo>
                <a:lnTo>
                  <a:pt x="1218" y="2027"/>
                </a:lnTo>
                <a:lnTo>
                  <a:pt x="1243" y="2024"/>
                </a:lnTo>
                <a:lnTo>
                  <a:pt x="1266" y="2019"/>
                </a:lnTo>
                <a:lnTo>
                  <a:pt x="1290" y="2014"/>
                </a:lnTo>
                <a:lnTo>
                  <a:pt x="1313" y="2008"/>
                </a:lnTo>
                <a:lnTo>
                  <a:pt x="1336" y="2002"/>
                </a:lnTo>
                <a:lnTo>
                  <a:pt x="1359" y="1996"/>
                </a:lnTo>
                <a:lnTo>
                  <a:pt x="1381" y="1988"/>
                </a:lnTo>
                <a:lnTo>
                  <a:pt x="1404" y="1980"/>
                </a:lnTo>
                <a:lnTo>
                  <a:pt x="1426" y="1972"/>
                </a:lnTo>
                <a:lnTo>
                  <a:pt x="1448" y="1963"/>
                </a:lnTo>
                <a:lnTo>
                  <a:pt x="1469" y="1953"/>
                </a:lnTo>
                <a:lnTo>
                  <a:pt x="1490" y="1943"/>
                </a:lnTo>
                <a:lnTo>
                  <a:pt x="1512" y="1933"/>
                </a:lnTo>
                <a:lnTo>
                  <a:pt x="1532" y="1921"/>
                </a:lnTo>
                <a:lnTo>
                  <a:pt x="1552" y="1910"/>
                </a:lnTo>
                <a:lnTo>
                  <a:pt x="1572" y="1899"/>
                </a:lnTo>
                <a:lnTo>
                  <a:pt x="1593" y="1886"/>
                </a:lnTo>
                <a:lnTo>
                  <a:pt x="1612" y="1873"/>
                </a:lnTo>
                <a:lnTo>
                  <a:pt x="1631" y="1859"/>
                </a:lnTo>
                <a:lnTo>
                  <a:pt x="1650" y="1846"/>
                </a:lnTo>
                <a:lnTo>
                  <a:pt x="1668" y="1832"/>
                </a:lnTo>
                <a:lnTo>
                  <a:pt x="1686" y="1818"/>
                </a:lnTo>
                <a:lnTo>
                  <a:pt x="1704" y="1802"/>
                </a:lnTo>
                <a:lnTo>
                  <a:pt x="1721" y="1787"/>
                </a:lnTo>
                <a:lnTo>
                  <a:pt x="1739" y="1772"/>
                </a:lnTo>
                <a:lnTo>
                  <a:pt x="1755" y="1755"/>
                </a:lnTo>
                <a:lnTo>
                  <a:pt x="1772" y="1738"/>
                </a:lnTo>
                <a:lnTo>
                  <a:pt x="1787" y="1721"/>
                </a:lnTo>
                <a:lnTo>
                  <a:pt x="1803" y="1704"/>
                </a:lnTo>
                <a:lnTo>
                  <a:pt x="1818" y="1686"/>
                </a:lnTo>
                <a:lnTo>
                  <a:pt x="1832" y="1668"/>
                </a:lnTo>
                <a:lnTo>
                  <a:pt x="1846" y="1650"/>
                </a:lnTo>
                <a:lnTo>
                  <a:pt x="1861" y="1631"/>
                </a:lnTo>
                <a:lnTo>
                  <a:pt x="1873" y="1612"/>
                </a:lnTo>
                <a:lnTo>
                  <a:pt x="1886" y="1593"/>
                </a:lnTo>
                <a:lnTo>
                  <a:pt x="1899" y="1572"/>
                </a:lnTo>
                <a:lnTo>
                  <a:pt x="1910" y="1552"/>
                </a:lnTo>
                <a:lnTo>
                  <a:pt x="1922" y="1532"/>
                </a:lnTo>
                <a:lnTo>
                  <a:pt x="1933" y="1512"/>
                </a:lnTo>
                <a:lnTo>
                  <a:pt x="1944" y="1490"/>
                </a:lnTo>
                <a:lnTo>
                  <a:pt x="1953" y="1469"/>
                </a:lnTo>
                <a:lnTo>
                  <a:pt x="1963" y="1447"/>
                </a:lnTo>
                <a:lnTo>
                  <a:pt x="1972" y="1425"/>
                </a:lnTo>
                <a:lnTo>
                  <a:pt x="1980" y="1404"/>
                </a:lnTo>
                <a:lnTo>
                  <a:pt x="1988" y="1381"/>
                </a:lnTo>
                <a:lnTo>
                  <a:pt x="1996" y="1358"/>
                </a:lnTo>
                <a:lnTo>
                  <a:pt x="2002" y="1336"/>
                </a:lnTo>
                <a:lnTo>
                  <a:pt x="2008" y="1312"/>
                </a:lnTo>
                <a:lnTo>
                  <a:pt x="2014" y="1289"/>
                </a:lnTo>
                <a:lnTo>
                  <a:pt x="2019" y="1266"/>
                </a:lnTo>
                <a:lnTo>
                  <a:pt x="2024" y="1241"/>
                </a:lnTo>
                <a:lnTo>
                  <a:pt x="2028" y="1218"/>
                </a:lnTo>
                <a:lnTo>
                  <a:pt x="2032" y="1194"/>
                </a:lnTo>
                <a:lnTo>
                  <a:pt x="2034" y="1169"/>
                </a:lnTo>
                <a:lnTo>
                  <a:pt x="2036" y="1146"/>
                </a:lnTo>
                <a:lnTo>
                  <a:pt x="2037" y="1121"/>
                </a:lnTo>
                <a:lnTo>
                  <a:pt x="2038" y="1096"/>
                </a:lnTo>
                <a:lnTo>
                  <a:pt x="2038" y="1070"/>
                </a:lnTo>
                <a:lnTo>
                  <a:pt x="2038" y="1046"/>
                </a:lnTo>
                <a:lnTo>
                  <a:pt x="2037" y="1021"/>
                </a:lnTo>
                <a:lnTo>
                  <a:pt x="2036" y="996"/>
                </a:lnTo>
                <a:lnTo>
                  <a:pt x="2034" y="972"/>
                </a:lnTo>
                <a:lnTo>
                  <a:pt x="2032" y="948"/>
                </a:lnTo>
                <a:lnTo>
                  <a:pt x="2028" y="924"/>
                </a:lnTo>
                <a:lnTo>
                  <a:pt x="2024" y="899"/>
                </a:lnTo>
                <a:lnTo>
                  <a:pt x="2019" y="876"/>
                </a:lnTo>
                <a:lnTo>
                  <a:pt x="2014" y="853"/>
                </a:lnTo>
                <a:lnTo>
                  <a:pt x="2008" y="829"/>
                </a:lnTo>
                <a:lnTo>
                  <a:pt x="2002" y="806"/>
                </a:lnTo>
                <a:lnTo>
                  <a:pt x="1996" y="783"/>
                </a:lnTo>
                <a:lnTo>
                  <a:pt x="1988" y="761"/>
                </a:lnTo>
                <a:lnTo>
                  <a:pt x="1980" y="738"/>
                </a:lnTo>
                <a:lnTo>
                  <a:pt x="1972" y="716"/>
                </a:lnTo>
                <a:lnTo>
                  <a:pt x="1963" y="694"/>
                </a:lnTo>
                <a:lnTo>
                  <a:pt x="1953" y="673"/>
                </a:lnTo>
                <a:lnTo>
                  <a:pt x="1944" y="652"/>
                </a:lnTo>
                <a:lnTo>
                  <a:pt x="1933" y="630"/>
                </a:lnTo>
                <a:lnTo>
                  <a:pt x="1922" y="610"/>
                </a:lnTo>
                <a:lnTo>
                  <a:pt x="1910" y="590"/>
                </a:lnTo>
                <a:lnTo>
                  <a:pt x="1899" y="569"/>
                </a:lnTo>
                <a:lnTo>
                  <a:pt x="1886" y="549"/>
                </a:lnTo>
                <a:lnTo>
                  <a:pt x="1873" y="530"/>
                </a:lnTo>
                <a:lnTo>
                  <a:pt x="1861" y="511"/>
                </a:lnTo>
                <a:lnTo>
                  <a:pt x="1846" y="492"/>
                </a:lnTo>
                <a:lnTo>
                  <a:pt x="1832" y="474"/>
                </a:lnTo>
                <a:lnTo>
                  <a:pt x="1818" y="456"/>
                </a:lnTo>
                <a:lnTo>
                  <a:pt x="1803" y="438"/>
                </a:lnTo>
                <a:lnTo>
                  <a:pt x="1787" y="421"/>
                </a:lnTo>
                <a:lnTo>
                  <a:pt x="1772" y="403"/>
                </a:lnTo>
                <a:lnTo>
                  <a:pt x="1755" y="387"/>
                </a:lnTo>
                <a:lnTo>
                  <a:pt x="1739" y="370"/>
                </a:lnTo>
                <a:lnTo>
                  <a:pt x="1721" y="354"/>
                </a:lnTo>
                <a:lnTo>
                  <a:pt x="1704" y="340"/>
                </a:lnTo>
                <a:lnTo>
                  <a:pt x="1686" y="324"/>
                </a:lnTo>
                <a:lnTo>
                  <a:pt x="1668" y="309"/>
                </a:lnTo>
                <a:lnTo>
                  <a:pt x="1650" y="296"/>
                </a:lnTo>
                <a:lnTo>
                  <a:pt x="1631" y="281"/>
                </a:lnTo>
                <a:lnTo>
                  <a:pt x="1612" y="269"/>
                </a:lnTo>
                <a:lnTo>
                  <a:pt x="1593" y="255"/>
                </a:lnTo>
                <a:lnTo>
                  <a:pt x="1572" y="243"/>
                </a:lnTo>
                <a:lnTo>
                  <a:pt x="1552" y="232"/>
                </a:lnTo>
                <a:lnTo>
                  <a:pt x="1532" y="219"/>
                </a:lnTo>
                <a:lnTo>
                  <a:pt x="1512" y="209"/>
                </a:lnTo>
                <a:lnTo>
                  <a:pt x="1490" y="198"/>
                </a:lnTo>
                <a:lnTo>
                  <a:pt x="1469" y="189"/>
                </a:lnTo>
                <a:lnTo>
                  <a:pt x="1448" y="179"/>
                </a:lnTo>
                <a:lnTo>
                  <a:pt x="1426" y="170"/>
                </a:lnTo>
                <a:lnTo>
                  <a:pt x="1404" y="162"/>
                </a:lnTo>
                <a:lnTo>
                  <a:pt x="1381" y="154"/>
                </a:lnTo>
                <a:lnTo>
                  <a:pt x="1359" y="146"/>
                </a:lnTo>
                <a:lnTo>
                  <a:pt x="1336" y="139"/>
                </a:lnTo>
                <a:lnTo>
                  <a:pt x="1313" y="134"/>
                </a:lnTo>
                <a:lnTo>
                  <a:pt x="1290" y="128"/>
                </a:lnTo>
                <a:lnTo>
                  <a:pt x="1266" y="122"/>
                </a:lnTo>
                <a:lnTo>
                  <a:pt x="1243" y="118"/>
                </a:lnTo>
                <a:lnTo>
                  <a:pt x="1218" y="113"/>
                </a:lnTo>
                <a:lnTo>
                  <a:pt x="1194" y="110"/>
                </a:lnTo>
                <a:lnTo>
                  <a:pt x="1170" y="108"/>
                </a:lnTo>
                <a:lnTo>
                  <a:pt x="1146" y="106"/>
                </a:lnTo>
                <a:lnTo>
                  <a:pt x="1121" y="104"/>
                </a:lnTo>
                <a:lnTo>
                  <a:pt x="1096" y="103"/>
                </a:lnTo>
                <a:lnTo>
                  <a:pt x="1072" y="103"/>
                </a:lnTo>
                <a:close/>
              </a:path>
            </a:pathLst>
          </a:cu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30" name="Oval 29">
            <a:hlinkClick r:id="" action="ppaction://noaction"/>
            <a:extLst>
              <a:ext uri="{FF2B5EF4-FFF2-40B4-BE49-F238E27FC236}">
                <a16:creationId xmlns:a16="http://schemas.microsoft.com/office/drawing/2014/main" id="{4BF293A6-6C72-411D-B896-EE0E5B23FB49}"/>
              </a:ext>
            </a:extLst>
          </p:cNvPr>
          <p:cNvSpPr>
            <a:spLocks noChangeAspect="1"/>
          </p:cNvSpPr>
          <p:nvPr/>
        </p:nvSpPr>
        <p:spPr>
          <a:xfrm>
            <a:off x="553245"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Oval 30">
            <a:hlinkClick r:id="" action="ppaction://noaction"/>
            <a:extLst>
              <a:ext uri="{FF2B5EF4-FFF2-40B4-BE49-F238E27FC236}">
                <a16:creationId xmlns:a16="http://schemas.microsoft.com/office/drawing/2014/main" id="{58253057-E60A-45C7-B3F6-06898DEC65A7}"/>
              </a:ext>
            </a:extLst>
          </p:cNvPr>
          <p:cNvSpPr>
            <a:spLocks noChangeAspect="1"/>
          </p:cNvSpPr>
          <p:nvPr/>
        </p:nvSpPr>
        <p:spPr>
          <a:xfrm>
            <a:off x="407225" y="84517"/>
            <a:ext cx="108000" cy="108000"/>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Oval 31">
            <a:hlinkClick r:id="" action="ppaction://noaction"/>
            <a:extLst>
              <a:ext uri="{FF2B5EF4-FFF2-40B4-BE49-F238E27FC236}">
                <a16:creationId xmlns:a16="http://schemas.microsoft.com/office/drawing/2014/main" id="{E5416FD7-A6DD-46B5-91EC-93512E62E16D}"/>
              </a:ext>
            </a:extLst>
          </p:cNvPr>
          <p:cNvSpPr>
            <a:spLocks noChangeAspect="1"/>
          </p:cNvSpPr>
          <p:nvPr/>
        </p:nvSpPr>
        <p:spPr>
          <a:xfrm>
            <a:off x="69525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Oval 32">
            <a:hlinkClick r:id="" action="ppaction://noaction"/>
            <a:extLst>
              <a:ext uri="{FF2B5EF4-FFF2-40B4-BE49-F238E27FC236}">
                <a16:creationId xmlns:a16="http://schemas.microsoft.com/office/drawing/2014/main" id="{6EF50082-1427-4771-8A72-27CFD9E8EEBF}"/>
              </a:ext>
            </a:extLst>
          </p:cNvPr>
          <p:cNvSpPr>
            <a:spLocks noChangeAspect="1"/>
          </p:cNvSpPr>
          <p:nvPr/>
        </p:nvSpPr>
        <p:spPr>
          <a:xfrm>
            <a:off x="83927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Oval 33">
            <a:hlinkClick r:id="" action="ppaction://noaction"/>
            <a:extLst>
              <a:ext uri="{FF2B5EF4-FFF2-40B4-BE49-F238E27FC236}">
                <a16:creationId xmlns:a16="http://schemas.microsoft.com/office/drawing/2014/main" id="{DE464D5E-5FA4-484B-A40D-E61866B044E7}"/>
              </a:ext>
            </a:extLst>
          </p:cNvPr>
          <p:cNvSpPr>
            <a:spLocks noChangeAspect="1"/>
          </p:cNvSpPr>
          <p:nvPr/>
        </p:nvSpPr>
        <p:spPr>
          <a:xfrm>
            <a:off x="98329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TextBox 34">
            <a:extLst>
              <a:ext uri="{FF2B5EF4-FFF2-40B4-BE49-F238E27FC236}">
                <a16:creationId xmlns:a16="http://schemas.microsoft.com/office/drawing/2014/main" id="{13EB8E4B-E304-44CB-A291-B7B6F45C5E9F}"/>
              </a:ext>
            </a:extLst>
          </p:cNvPr>
          <p:cNvSpPr txBox="1"/>
          <p:nvPr/>
        </p:nvSpPr>
        <p:spPr>
          <a:xfrm>
            <a:off x="245181" y="1263493"/>
            <a:ext cx="10754250"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solidFill>
                  <a:schemeClr val="bg1"/>
                </a:solidFill>
              </a:rPr>
              <a:t>We want your relationship with your intelligent, connected KONE DX elevator to be a long and happy one. The best way to protect your investment and keep everything running safely and smoothly is to let us take care of it with the same level of care and attention we gave it when it was being built. With KONE Care DX we’re with you every step of the way, for the entire life of your equipment.</a:t>
            </a:r>
          </a:p>
        </p:txBody>
      </p:sp>
      <p:cxnSp>
        <p:nvCxnSpPr>
          <p:cNvPr id="38" name="Straight Connector 37">
            <a:extLst>
              <a:ext uri="{FF2B5EF4-FFF2-40B4-BE49-F238E27FC236}">
                <a16:creationId xmlns:a16="http://schemas.microsoft.com/office/drawing/2014/main" id="{CAF1D57C-0CBF-4836-A181-358421CE39E2}"/>
              </a:ext>
            </a:extLst>
          </p:cNvPr>
          <p:cNvCxnSpPr/>
          <p:nvPr/>
        </p:nvCxnSpPr>
        <p:spPr>
          <a:xfrm>
            <a:off x="407225" y="3316704"/>
            <a:ext cx="2377250" cy="0"/>
          </a:xfrm>
          <a:prstGeom prst="line">
            <a:avLst/>
          </a:prstGeom>
          <a:ln w="12700">
            <a:solidFill>
              <a:schemeClr val="tx2"/>
            </a:solidFill>
          </a:ln>
        </p:spPr>
        <p:style>
          <a:lnRef idx="1">
            <a:schemeClr val="accent3"/>
          </a:lnRef>
          <a:fillRef idx="0">
            <a:schemeClr val="accent3"/>
          </a:fillRef>
          <a:effectRef idx="0">
            <a:schemeClr val="accent3"/>
          </a:effectRef>
          <a:fontRef idx="minor">
            <a:schemeClr val="tx1"/>
          </a:fontRef>
        </p:style>
      </p:cxnSp>
      <p:cxnSp>
        <p:nvCxnSpPr>
          <p:cNvPr id="39" name="Straight Connector 38">
            <a:extLst>
              <a:ext uri="{FF2B5EF4-FFF2-40B4-BE49-F238E27FC236}">
                <a16:creationId xmlns:a16="http://schemas.microsoft.com/office/drawing/2014/main" id="{0E2DE581-AE74-4F98-8DEE-DC1F97B3A6D1}"/>
              </a:ext>
            </a:extLst>
          </p:cNvPr>
          <p:cNvCxnSpPr/>
          <p:nvPr/>
        </p:nvCxnSpPr>
        <p:spPr>
          <a:xfrm>
            <a:off x="3404425" y="3316704"/>
            <a:ext cx="2377250" cy="0"/>
          </a:xfrm>
          <a:prstGeom prst="line">
            <a:avLst/>
          </a:prstGeom>
          <a:ln w="12700">
            <a:solidFill>
              <a:schemeClr val="tx2"/>
            </a:solidFill>
          </a:ln>
        </p:spPr>
        <p:style>
          <a:lnRef idx="1">
            <a:schemeClr val="accent3"/>
          </a:lnRef>
          <a:fillRef idx="0">
            <a:schemeClr val="accent3"/>
          </a:fillRef>
          <a:effectRef idx="0">
            <a:schemeClr val="accent3"/>
          </a:effectRef>
          <a:fontRef idx="minor">
            <a:schemeClr val="tx1"/>
          </a:fontRef>
        </p:style>
      </p:cxnSp>
      <p:cxnSp>
        <p:nvCxnSpPr>
          <p:cNvPr id="40" name="Straight Connector 39">
            <a:extLst>
              <a:ext uri="{FF2B5EF4-FFF2-40B4-BE49-F238E27FC236}">
                <a16:creationId xmlns:a16="http://schemas.microsoft.com/office/drawing/2014/main" id="{4C33C12F-3124-4A24-ADC4-791EBAE4A9ED}"/>
              </a:ext>
            </a:extLst>
          </p:cNvPr>
          <p:cNvCxnSpPr/>
          <p:nvPr/>
        </p:nvCxnSpPr>
        <p:spPr>
          <a:xfrm>
            <a:off x="6274625" y="3316704"/>
            <a:ext cx="2377250" cy="0"/>
          </a:xfrm>
          <a:prstGeom prst="line">
            <a:avLst/>
          </a:prstGeom>
          <a:ln w="12700">
            <a:solidFill>
              <a:schemeClr val="tx2"/>
            </a:solidFill>
          </a:ln>
        </p:spPr>
        <p:style>
          <a:lnRef idx="1">
            <a:schemeClr val="accent3"/>
          </a:lnRef>
          <a:fillRef idx="0">
            <a:schemeClr val="accent3"/>
          </a:fillRef>
          <a:effectRef idx="0">
            <a:schemeClr val="accent3"/>
          </a:effectRef>
          <a:fontRef idx="minor">
            <a:schemeClr val="tx1"/>
          </a:fontRef>
        </p:style>
      </p:cxnSp>
      <p:cxnSp>
        <p:nvCxnSpPr>
          <p:cNvPr id="41" name="Straight Connector 40">
            <a:extLst>
              <a:ext uri="{FF2B5EF4-FFF2-40B4-BE49-F238E27FC236}">
                <a16:creationId xmlns:a16="http://schemas.microsoft.com/office/drawing/2014/main" id="{319DEAFF-9C7C-465C-99F9-221A3C33B372}"/>
              </a:ext>
            </a:extLst>
          </p:cNvPr>
          <p:cNvCxnSpPr/>
          <p:nvPr/>
        </p:nvCxnSpPr>
        <p:spPr>
          <a:xfrm>
            <a:off x="9271825" y="3316704"/>
            <a:ext cx="2377250" cy="0"/>
          </a:xfrm>
          <a:prstGeom prst="line">
            <a:avLst/>
          </a:prstGeom>
          <a:ln w="12700">
            <a:solidFill>
              <a:schemeClr val="tx2"/>
            </a:solidFill>
          </a:ln>
        </p:spPr>
        <p:style>
          <a:lnRef idx="1">
            <a:schemeClr val="accent3"/>
          </a:lnRef>
          <a:fillRef idx="0">
            <a:schemeClr val="accent3"/>
          </a:fillRef>
          <a:effectRef idx="0">
            <a:schemeClr val="accent3"/>
          </a:effectRef>
          <a:fontRef idx="minor">
            <a:schemeClr val="tx1"/>
          </a:fontRef>
        </p:style>
      </p:cxnSp>
      <p:sp>
        <p:nvSpPr>
          <p:cNvPr id="42" name="TextBox 41">
            <a:extLst>
              <a:ext uri="{FF2B5EF4-FFF2-40B4-BE49-F238E27FC236}">
                <a16:creationId xmlns:a16="http://schemas.microsoft.com/office/drawing/2014/main" id="{D2EB507A-8B4A-444F-8094-BD3F8BD608C4}"/>
              </a:ext>
            </a:extLst>
          </p:cNvPr>
          <p:cNvSpPr txBox="1"/>
          <p:nvPr/>
        </p:nvSpPr>
        <p:spPr>
          <a:xfrm>
            <a:off x="340495" y="2640581"/>
            <a:ext cx="469900" cy="584775"/>
          </a:xfrm>
          <a:prstGeom prst="rect">
            <a:avLst/>
          </a:prstGeom>
          <a:noFill/>
        </p:spPr>
        <p:txBody>
          <a:bodyPr wrap="square" rtlCol="0">
            <a:spAutoFit/>
          </a:bodyPr>
          <a:lstStyle/>
          <a:p>
            <a:r>
              <a:rPr lang="fi-FI" sz="3200" dirty="0">
                <a:solidFill>
                  <a:schemeClr val="tx2"/>
                </a:solidFill>
                <a:latin typeface="+mj-lt"/>
              </a:rPr>
              <a:t>1</a:t>
            </a:r>
          </a:p>
        </p:txBody>
      </p:sp>
      <p:sp>
        <p:nvSpPr>
          <p:cNvPr id="43" name="TextBox 42">
            <a:extLst>
              <a:ext uri="{FF2B5EF4-FFF2-40B4-BE49-F238E27FC236}">
                <a16:creationId xmlns:a16="http://schemas.microsoft.com/office/drawing/2014/main" id="{F13367DE-C56D-4985-BF87-01F51DFDAD85}"/>
              </a:ext>
            </a:extLst>
          </p:cNvPr>
          <p:cNvSpPr txBox="1"/>
          <p:nvPr/>
        </p:nvSpPr>
        <p:spPr>
          <a:xfrm>
            <a:off x="3352322" y="2640581"/>
            <a:ext cx="469900" cy="584775"/>
          </a:xfrm>
          <a:prstGeom prst="rect">
            <a:avLst/>
          </a:prstGeom>
          <a:noFill/>
        </p:spPr>
        <p:txBody>
          <a:bodyPr wrap="square" rtlCol="0">
            <a:spAutoFit/>
          </a:bodyPr>
          <a:lstStyle/>
          <a:p>
            <a:r>
              <a:rPr lang="fi-FI" sz="3200">
                <a:solidFill>
                  <a:schemeClr val="tx2"/>
                </a:solidFill>
                <a:latin typeface="+mj-lt"/>
              </a:rPr>
              <a:t>2</a:t>
            </a:r>
          </a:p>
        </p:txBody>
      </p:sp>
      <p:sp>
        <p:nvSpPr>
          <p:cNvPr id="44" name="TextBox 43">
            <a:extLst>
              <a:ext uri="{FF2B5EF4-FFF2-40B4-BE49-F238E27FC236}">
                <a16:creationId xmlns:a16="http://schemas.microsoft.com/office/drawing/2014/main" id="{647B72BA-CC79-4C22-85D3-107F86CB3013}"/>
              </a:ext>
            </a:extLst>
          </p:cNvPr>
          <p:cNvSpPr txBox="1"/>
          <p:nvPr/>
        </p:nvSpPr>
        <p:spPr>
          <a:xfrm>
            <a:off x="6375309" y="2640581"/>
            <a:ext cx="469900" cy="584775"/>
          </a:xfrm>
          <a:prstGeom prst="rect">
            <a:avLst/>
          </a:prstGeom>
          <a:noFill/>
        </p:spPr>
        <p:txBody>
          <a:bodyPr wrap="square" rtlCol="0">
            <a:spAutoFit/>
          </a:bodyPr>
          <a:lstStyle/>
          <a:p>
            <a:r>
              <a:rPr lang="fi-FI" sz="3200">
                <a:solidFill>
                  <a:schemeClr val="tx2"/>
                </a:solidFill>
                <a:latin typeface="+mj-lt"/>
              </a:rPr>
              <a:t>3</a:t>
            </a:r>
          </a:p>
        </p:txBody>
      </p:sp>
      <p:sp>
        <p:nvSpPr>
          <p:cNvPr id="45" name="TextBox 44">
            <a:extLst>
              <a:ext uri="{FF2B5EF4-FFF2-40B4-BE49-F238E27FC236}">
                <a16:creationId xmlns:a16="http://schemas.microsoft.com/office/drawing/2014/main" id="{ACF82CDD-DFC4-494E-BEB8-9618B392A098}"/>
              </a:ext>
            </a:extLst>
          </p:cNvPr>
          <p:cNvSpPr txBox="1"/>
          <p:nvPr/>
        </p:nvSpPr>
        <p:spPr>
          <a:xfrm>
            <a:off x="9132247" y="2624564"/>
            <a:ext cx="469900" cy="584775"/>
          </a:xfrm>
          <a:prstGeom prst="rect">
            <a:avLst/>
          </a:prstGeom>
          <a:noFill/>
        </p:spPr>
        <p:txBody>
          <a:bodyPr wrap="square" rtlCol="0">
            <a:spAutoFit/>
          </a:bodyPr>
          <a:lstStyle/>
          <a:p>
            <a:r>
              <a:rPr lang="fi-FI" sz="3200">
                <a:solidFill>
                  <a:schemeClr val="tx2"/>
                </a:solidFill>
                <a:latin typeface="+mj-lt"/>
              </a:rPr>
              <a:t>4</a:t>
            </a:r>
          </a:p>
        </p:txBody>
      </p:sp>
      <p:sp>
        <p:nvSpPr>
          <p:cNvPr id="47" name="TextBox 46">
            <a:extLst>
              <a:ext uri="{FF2B5EF4-FFF2-40B4-BE49-F238E27FC236}">
                <a16:creationId xmlns:a16="http://schemas.microsoft.com/office/drawing/2014/main" id="{5B37D019-2938-4C95-8389-177B38BF759E}"/>
              </a:ext>
            </a:extLst>
          </p:cNvPr>
          <p:cNvSpPr txBox="1"/>
          <p:nvPr/>
        </p:nvSpPr>
        <p:spPr>
          <a:xfrm>
            <a:off x="245181" y="802813"/>
            <a:ext cx="6096000" cy="369332"/>
          </a:xfrm>
          <a:prstGeom prst="rect">
            <a:avLst/>
          </a:prstGeom>
          <a:noFill/>
        </p:spPr>
        <p:txBody>
          <a:bodyPr wrap="square">
            <a:spAutoFit/>
          </a:bodyPr>
          <a:lstStyle/>
          <a:p>
            <a:r>
              <a:rPr lang="en-US" sz="1800" b="0" i="0" u="none" strike="noStrike" baseline="0" dirty="0">
                <a:solidFill>
                  <a:srgbClr val="FFFFFF"/>
                </a:solidFill>
                <a:latin typeface="+mj-lt"/>
              </a:rPr>
              <a:t>WHY CHOOSE KONE CARE™ DX MAINTENANCE?</a:t>
            </a:r>
            <a:endParaRPr lang="fi-FI" dirty="0">
              <a:latin typeface="+mj-lt"/>
            </a:endParaRPr>
          </a:p>
        </p:txBody>
      </p:sp>
    </p:spTree>
    <p:extLst>
      <p:ext uri="{BB962C8B-B14F-4D97-AF65-F5344CB8AC3E}">
        <p14:creationId xmlns:p14="http://schemas.microsoft.com/office/powerpoint/2010/main" val="262375565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9F5B16C8-014A-3246-A2DD-E42381EC595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6103917" cy="6858000"/>
          </a:xfrm>
          <a:prstGeom prst="rect">
            <a:avLst/>
          </a:prstGeom>
        </p:spPr>
      </p:pic>
      <p:sp>
        <p:nvSpPr>
          <p:cNvPr id="2" name="Date Placeholder 1">
            <a:extLst>
              <a:ext uri="{FF2B5EF4-FFF2-40B4-BE49-F238E27FC236}">
                <a16:creationId xmlns:a16="http://schemas.microsoft.com/office/drawing/2014/main" id="{1A9C5DE3-A82E-4A1C-91D4-888FA5D45290}"/>
              </a:ext>
            </a:extLst>
          </p:cNvPr>
          <p:cNvSpPr>
            <a:spLocks noGrp="1"/>
          </p:cNvSpPr>
          <p:nvPr>
            <p:ph type="dt" sz="half" idx="10"/>
          </p:nvPr>
        </p:nvSpPr>
        <p:spPr/>
        <p:txBody>
          <a:bodyPr/>
          <a:lstStyle/>
          <a:p>
            <a:fld id="{79E9087F-8D29-4365-A1D1-C2092CC6B701}" type="datetime3">
              <a:rPr lang="en-US" noProof="0" smtClean="0">
                <a:solidFill>
                  <a:schemeClr val="bg1"/>
                </a:solidFill>
              </a:rPr>
              <a:t>13 April 2022</a:t>
            </a:fld>
            <a:endParaRPr lang="en-US" noProof="0">
              <a:solidFill>
                <a:schemeClr val="bg1"/>
              </a:solidFill>
            </a:endParaRPr>
          </a:p>
        </p:txBody>
      </p:sp>
      <p:sp>
        <p:nvSpPr>
          <p:cNvPr id="3" name="Footer Placeholder 2">
            <a:extLst>
              <a:ext uri="{FF2B5EF4-FFF2-40B4-BE49-F238E27FC236}">
                <a16:creationId xmlns:a16="http://schemas.microsoft.com/office/drawing/2014/main" id="{ECF69EFF-57E5-49A4-AC02-C59A4C7E184A}"/>
              </a:ext>
            </a:extLst>
          </p:cNvPr>
          <p:cNvSpPr>
            <a:spLocks noGrp="1"/>
          </p:cNvSpPr>
          <p:nvPr>
            <p:ph type="ftr" sz="quarter" idx="11"/>
          </p:nvPr>
        </p:nvSpPr>
        <p:spPr/>
        <p:txBody>
          <a:bodyPr/>
          <a:lstStyle/>
          <a:p>
            <a:r>
              <a:rPr lang="en-US" noProof="0"/>
              <a:t>Confidential  |  © KONE Corporation</a:t>
            </a:r>
          </a:p>
        </p:txBody>
      </p:sp>
      <p:sp>
        <p:nvSpPr>
          <p:cNvPr id="4" name="Slide Number Placeholder 3">
            <a:extLst>
              <a:ext uri="{FF2B5EF4-FFF2-40B4-BE49-F238E27FC236}">
                <a16:creationId xmlns:a16="http://schemas.microsoft.com/office/drawing/2014/main" id="{B209A3C4-6D6A-4562-BE01-FC5A9F74A5A6}"/>
              </a:ext>
            </a:extLst>
          </p:cNvPr>
          <p:cNvSpPr>
            <a:spLocks noGrp="1"/>
          </p:cNvSpPr>
          <p:nvPr>
            <p:ph type="sldNum" sz="quarter" idx="12"/>
          </p:nvPr>
        </p:nvSpPr>
        <p:spPr/>
        <p:txBody>
          <a:bodyPr/>
          <a:lstStyle/>
          <a:p>
            <a:fld id="{604FC64F-66B6-486E-8EFE-9FD96A66D16B}" type="slidenum">
              <a:rPr lang="en-US" noProof="0" smtClean="0">
                <a:solidFill>
                  <a:schemeClr val="bg1"/>
                </a:solidFill>
              </a:rPr>
              <a:pPr/>
              <a:t>7</a:t>
            </a:fld>
            <a:endParaRPr lang="en-US" noProof="0">
              <a:solidFill>
                <a:schemeClr val="bg1"/>
              </a:solidFill>
            </a:endParaRPr>
          </a:p>
        </p:txBody>
      </p:sp>
      <p:sp>
        <p:nvSpPr>
          <p:cNvPr id="5" name="Content Placeholder 4">
            <a:extLst>
              <a:ext uri="{FF2B5EF4-FFF2-40B4-BE49-F238E27FC236}">
                <a16:creationId xmlns:a16="http://schemas.microsoft.com/office/drawing/2014/main" id="{0E0EA915-A505-4C2A-B6F1-BC2990945D02}"/>
              </a:ext>
            </a:extLst>
          </p:cNvPr>
          <p:cNvSpPr>
            <a:spLocks noGrp="1"/>
          </p:cNvSpPr>
          <p:nvPr>
            <p:ph sz="quarter" idx="13"/>
          </p:nvPr>
        </p:nvSpPr>
        <p:spPr>
          <a:xfrm>
            <a:off x="6583157" y="1844643"/>
            <a:ext cx="4402007" cy="3403263"/>
          </a:xfrm>
        </p:spPr>
        <p:txBody>
          <a:bodyPr vert="horz" lIns="0" tIns="0" rIns="0" bIns="0" rtlCol="0" anchor="t">
            <a:noAutofit/>
          </a:bodyPr>
          <a:lstStyle/>
          <a:p>
            <a:pPr marL="0" indent="0">
              <a:lnSpc>
                <a:spcPct val="100000"/>
              </a:lnSpc>
              <a:spcBef>
                <a:spcPts val="1200"/>
              </a:spcBef>
              <a:buNone/>
            </a:pPr>
            <a:r>
              <a:rPr lang="en-US" sz="1600">
                <a:cs typeface="Arial"/>
              </a:rPr>
              <a:t>Keep your KONE DX elevator running at the peak of its health. With KONE 24/7 Connect, AI-powered predictive maintenance, advanced analytics, remote updates and intelligent troubleshooting, KONE Care™ DX is the smartest way to maximize uptime and prolong your elevator’s life.</a:t>
            </a:r>
          </a:p>
          <a:p>
            <a:pPr marL="225425" indent="-225425">
              <a:lnSpc>
                <a:spcPct val="100000"/>
              </a:lnSpc>
              <a:spcBef>
                <a:spcPts val="1200"/>
              </a:spcBef>
            </a:pPr>
            <a:r>
              <a:rPr lang="en-US" sz="1600">
                <a:cs typeface="Arial"/>
              </a:rPr>
              <a:t>Remote software and security updates </a:t>
            </a:r>
          </a:p>
          <a:p>
            <a:pPr marL="225425" indent="-225425">
              <a:lnSpc>
                <a:spcPct val="100000"/>
              </a:lnSpc>
              <a:spcBef>
                <a:spcPts val="1200"/>
              </a:spcBef>
            </a:pPr>
            <a:r>
              <a:rPr lang="en-US" sz="1600">
                <a:cs typeface="Arial"/>
              </a:rPr>
              <a:t>Intelligent troubleshooting</a:t>
            </a:r>
          </a:p>
          <a:p>
            <a:pPr marL="225425" indent="-225425">
              <a:lnSpc>
                <a:spcPct val="100000"/>
              </a:lnSpc>
              <a:spcBef>
                <a:spcPts val="1200"/>
              </a:spcBef>
            </a:pPr>
            <a:r>
              <a:rPr lang="en-US" sz="1600">
                <a:cs typeface="Arial"/>
              </a:rPr>
              <a:t>70% of maintenance activities performed proactively and 40% fewer entrapments*</a:t>
            </a:r>
          </a:p>
          <a:p>
            <a:pPr marL="0" indent="0">
              <a:lnSpc>
                <a:spcPct val="100000"/>
              </a:lnSpc>
              <a:spcBef>
                <a:spcPts val="1200"/>
              </a:spcBef>
              <a:buNone/>
            </a:pPr>
            <a:endParaRPr lang="en-US" sz="1600">
              <a:cs typeface="Arial"/>
            </a:endParaRPr>
          </a:p>
        </p:txBody>
      </p:sp>
      <p:sp>
        <p:nvSpPr>
          <p:cNvPr id="6" name="Title 5">
            <a:extLst>
              <a:ext uri="{FF2B5EF4-FFF2-40B4-BE49-F238E27FC236}">
                <a16:creationId xmlns:a16="http://schemas.microsoft.com/office/drawing/2014/main" id="{5B651ECF-CA61-43C9-B8A5-F5EC7D586EBE}"/>
              </a:ext>
            </a:extLst>
          </p:cNvPr>
          <p:cNvSpPr>
            <a:spLocks noGrp="1"/>
          </p:cNvSpPr>
          <p:nvPr>
            <p:ph type="title"/>
          </p:nvPr>
        </p:nvSpPr>
        <p:spPr>
          <a:xfrm>
            <a:off x="6583157" y="404812"/>
            <a:ext cx="4175887" cy="863601"/>
          </a:xfrm>
        </p:spPr>
        <p:txBody>
          <a:bodyPr/>
          <a:lstStyle/>
          <a:p>
            <a:r>
              <a:rPr lang="en-US" sz="1600">
                <a:cs typeface="Arial"/>
              </a:rPr>
              <a:t>WHAT ARE THE BENEFITS?</a:t>
            </a:r>
          </a:p>
        </p:txBody>
      </p:sp>
      <p:grpSp>
        <p:nvGrpSpPr>
          <p:cNvPr id="10" name="Group 9">
            <a:extLst>
              <a:ext uri="{FF2B5EF4-FFF2-40B4-BE49-F238E27FC236}">
                <a16:creationId xmlns:a16="http://schemas.microsoft.com/office/drawing/2014/main" id="{F61DB673-FAF5-8F4D-BE5C-DC51985E4695}"/>
              </a:ext>
            </a:extLst>
          </p:cNvPr>
          <p:cNvGrpSpPr>
            <a:grpSpLocks noChangeAspect="1"/>
          </p:cNvGrpSpPr>
          <p:nvPr/>
        </p:nvGrpSpPr>
        <p:grpSpPr>
          <a:xfrm>
            <a:off x="11064013" y="404664"/>
            <a:ext cx="720000" cy="364398"/>
            <a:chOff x="3498850" y="2112963"/>
            <a:chExt cx="5197475" cy="2630487"/>
          </a:xfrm>
        </p:grpSpPr>
        <p:sp>
          <p:nvSpPr>
            <p:cNvPr id="11" name="Freeform 6">
              <a:extLst>
                <a:ext uri="{FF2B5EF4-FFF2-40B4-BE49-F238E27FC236}">
                  <a16:creationId xmlns:a16="http://schemas.microsoft.com/office/drawing/2014/main" id="{17D0A6AF-0189-6443-9DAE-08757B33F218}"/>
                </a:ext>
              </a:extLst>
            </p:cNvPr>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2" name="Freeform 7">
              <a:extLst>
                <a:ext uri="{FF2B5EF4-FFF2-40B4-BE49-F238E27FC236}">
                  <a16:creationId xmlns:a16="http://schemas.microsoft.com/office/drawing/2014/main" id="{AAC806EE-5015-964B-8BF1-BB88CA7D2E10}"/>
                </a:ext>
              </a:extLst>
            </p:cNvPr>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3" name="Title 5">
            <a:extLst>
              <a:ext uri="{FF2B5EF4-FFF2-40B4-BE49-F238E27FC236}">
                <a16:creationId xmlns:a16="http://schemas.microsoft.com/office/drawing/2014/main" id="{0270F12D-1A2E-E945-8C90-7777EE877759}"/>
              </a:ext>
            </a:extLst>
          </p:cNvPr>
          <p:cNvSpPr txBox="1">
            <a:spLocks/>
          </p:cNvSpPr>
          <p:nvPr/>
        </p:nvSpPr>
        <p:spPr>
          <a:xfrm>
            <a:off x="6581899" y="694706"/>
            <a:ext cx="4175887" cy="86360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a:lstStyle>
          <a:p>
            <a:r>
              <a:rPr lang="en-GB">
                <a:cs typeface="Arial"/>
              </a:rPr>
              <a:t>Intelligently prolong your elevator's life</a:t>
            </a:r>
          </a:p>
        </p:txBody>
      </p:sp>
      <p:sp>
        <p:nvSpPr>
          <p:cNvPr id="15" name="Content Placeholder 4">
            <a:extLst>
              <a:ext uri="{FF2B5EF4-FFF2-40B4-BE49-F238E27FC236}">
                <a16:creationId xmlns:a16="http://schemas.microsoft.com/office/drawing/2014/main" id="{D25B489C-9939-E748-B556-065E06B43ABC}"/>
              </a:ext>
            </a:extLst>
          </p:cNvPr>
          <p:cNvSpPr txBox="1">
            <a:spLocks/>
          </p:cNvSpPr>
          <p:nvPr/>
        </p:nvSpPr>
        <p:spPr>
          <a:xfrm>
            <a:off x="7190509" y="5247906"/>
            <a:ext cx="4102925" cy="630382"/>
          </a:xfrm>
          <a:prstGeom prst="rect">
            <a:avLst/>
          </a:prstGeom>
        </p:spPr>
        <p:txBody>
          <a:bodyPr vert="horz" lIns="0" tIns="0" rIns="0" bIns="0" rtlCol="0" anchor="ctr">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indent="0">
              <a:lnSpc>
                <a:spcPct val="100000"/>
              </a:lnSpc>
              <a:spcBef>
                <a:spcPts val="1200"/>
              </a:spcBef>
              <a:buNone/>
            </a:pPr>
            <a:r>
              <a:rPr lang="en-US" sz="1600" b="1">
                <a:solidFill>
                  <a:schemeClr val="tx2"/>
                </a:solidFill>
                <a:cs typeface="Arial"/>
              </a:rPr>
              <a:t>40% fewer faults experienced*</a:t>
            </a:r>
            <a:endParaRPr lang="en-GB" sz="1600" b="1">
              <a:solidFill>
                <a:schemeClr val="tx2"/>
              </a:solidFill>
              <a:cs typeface="Arial"/>
            </a:endParaRPr>
          </a:p>
        </p:txBody>
      </p:sp>
      <p:pic>
        <p:nvPicPr>
          <p:cNvPr id="17" name="Picture 16">
            <a:extLst>
              <a:ext uri="{FF2B5EF4-FFF2-40B4-BE49-F238E27FC236}">
                <a16:creationId xmlns:a16="http://schemas.microsoft.com/office/drawing/2014/main" id="{3C5CEE77-199F-5747-8683-8796A226EA8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21979" y="5328291"/>
            <a:ext cx="396338" cy="472557"/>
          </a:xfrm>
          <a:prstGeom prst="rect">
            <a:avLst/>
          </a:prstGeom>
        </p:spPr>
      </p:pic>
      <p:cxnSp>
        <p:nvCxnSpPr>
          <p:cNvPr id="19" name="Straight Connector 18">
            <a:extLst>
              <a:ext uri="{FF2B5EF4-FFF2-40B4-BE49-F238E27FC236}">
                <a16:creationId xmlns:a16="http://schemas.microsoft.com/office/drawing/2014/main" id="{3CCCFC7D-8896-6043-8E25-274A2B93D870}"/>
              </a:ext>
            </a:extLst>
          </p:cNvPr>
          <p:cNvCxnSpPr/>
          <p:nvPr/>
        </p:nvCxnSpPr>
        <p:spPr>
          <a:xfrm>
            <a:off x="6590805" y="5189517"/>
            <a:ext cx="44057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C0751CA-E2F9-8A47-9712-B81776F24299}"/>
              </a:ext>
            </a:extLst>
          </p:cNvPr>
          <p:cNvCxnSpPr/>
          <p:nvPr/>
        </p:nvCxnSpPr>
        <p:spPr>
          <a:xfrm>
            <a:off x="6593774" y="5955475"/>
            <a:ext cx="44057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Freeform 9">
            <a:hlinkClick r:id="rId5" action="ppaction://hlinksldjump"/>
            <a:extLst>
              <a:ext uri="{FF2B5EF4-FFF2-40B4-BE49-F238E27FC236}">
                <a16:creationId xmlns:a16="http://schemas.microsoft.com/office/drawing/2014/main" id="{5DFDC0F3-0D5B-435A-AD54-FCDA2873327E}"/>
              </a:ext>
            </a:extLst>
          </p:cNvPr>
          <p:cNvSpPr>
            <a:spLocks noChangeAspect="1" noEditPoints="1"/>
          </p:cNvSpPr>
          <p:nvPr/>
        </p:nvSpPr>
        <p:spPr bwMode="auto">
          <a:xfrm rot="10800000" flipV="1">
            <a:off x="191181" y="90916"/>
            <a:ext cx="108000" cy="108000"/>
          </a:xfrm>
          <a:custGeom>
            <a:avLst/>
            <a:gdLst>
              <a:gd name="T0" fmla="*/ 1082 w 2142"/>
              <a:gd name="T1" fmla="*/ 1607 h 2142"/>
              <a:gd name="T2" fmla="*/ 990 w 2142"/>
              <a:gd name="T3" fmla="*/ 1578 h 2142"/>
              <a:gd name="T4" fmla="*/ 494 w 2142"/>
              <a:gd name="T5" fmla="*/ 1025 h 2142"/>
              <a:gd name="T6" fmla="*/ 999 w 2142"/>
              <a:gd name="T7" fmla="*/ 1002 h 2142"/>
              <a:gd name="T8" fmla="*/ 1060 w 2142"/>
              <a:gd name="T9" fmla="*/ 534 h 2142"/>
              <a:gd name="T10" fmla="*/ 1153 w 2142"/>
              <a:gd name="T11" fmla="*/ 564 h 2142"/>
              <a:gd name="T12" fmla="*/ 1666 w 2142"/>
              <a:gd name="T13" fmla="*/ 1064 h 2142"/>
              <a:gd name="T14" fmla="*/ 1641 w 2142"/>
              <a:gd name="T15" fmla="*/ 1124 h 2142"/>
              <a:gd name="T16" fmla="*/ 539 w 2142"/>
              <a:gd name="T17" fmla="*/ 1140 h 2142"/>
              <a:gd name="T18" fmla="*/ 488 w 2142"/>
              <a:gd name="T19" fmla="*/ 1109 h 2142"/>
              <a:gd name="T20" fmla="*/ 988 w 2142"/>
              <a:gd name="T21" fmla="*/ 2139 h 2142"/>
              <a:gd name="T22" fmla="*/ 728 w 2142"/>
              <a:gd name="T23" fmla="*/ 2086 h 2142"/>
              <a:gd name="T24" fmla="*/ 494 w 2142"/>
              <a:gd name="T25" fmla="*/ 1973 h 2142"/>
              <a:gd name="T26" fmla="*/ 296 w 2142"/>
              <a:gd name="T27" fmla="*/ 1810 h 2142"/>
              <a:gd name="T28" fmla="*/ 142 w 2142"/>
              <a:gd name="T29" fmla="*/ 1604 h 2142"/>
              <a:gd name="T30" fmla="*/ 41 w 2142"/>
              <a:gd name="T31" fmla="*/ 1364 h 2142"/>
              <a:gd name="T32" fmla="*/ 0 w 2142"/>
              <a:gd name="T33" fmla="*/ 1098 h 2142"/>
              <a:gd name="T34" fmla="*/ 27 w 2142"/>
              <a:gd name="T35" fmla="*/ 829 h 2142"/>
              <a:gd name="T36" fmla="*/ 117 w 2142"/>
              <a:gd name="T37" fmla="*/ 584 h 2142"/>
              <a:gd name="T38" fmla="*/ 261 w 2142"/>
              <a:gd name="T39" fmla="*/ 370 h 2142"/>
              <a:gd name="T40" fmla="*/ 452 w 2142"/>
              <a:gd name="T41" fmla="*/ 198 h 2142"/>
              <a:gd name="T42" fmla="*/ 679 w 2142"/>
              <a:gd name="T43" fmla="*/ 74 h 2142"/>
              <a:gd name="T44" fmla="*/ 936 w 2142"/>
              <a:gd name="T45" fmla="*/ 8 h 2142"/>
              <a:gd name="T46" fmla="*/ 1208 w 2142"/>
              <a:gd name="T47" fmla="*/ 8 h 2142"/>
              <a:gd name="T48" fmla="*/ 1463 w 2142"/>
              <a:gd name="T49" fmla="*/ 74 h 2142"/>
              <a:gd name="T50" fmla="*/ 1691 w 2142"/>
              <a:gd name="T51" fmla="*/ 198 h 2142"/>
              <a:gd name="T52" fmla="*/ 1881 w 2142"/>
              <a:gd name="T53" fmla="*/ 370 h 2142"/>
              <a:gd name="T54" fmla="*/ 2025 w 2142"/>
              <a:gd name="T55" fmla="*/ 584 h 2142"/>
              <a:gd name="T56" fmla="*/ 2115 w 2142"/>
              <a:gd name="T57" fmla="*/ 829 h 2142"/>
              <a:gd name="T58" fmla="*/ 2142 w 2142"/>
              <a:gd name="T59" fmla="*/ 1098 h 2142"/>
              <a:gd name="T60" fmla="*/ 2101 w 2142"/>
              <a:gd name="T61" fmla="*/ 1364 h 2142"/>
              <a:gd name="T62" fmla="*/ 2000 w 2142"/>
              <a:gd name="T63" fmla="*/ 1604 h 2142"/>
              <a:gd name="T64" fmla="*/ 1846 w 2142"/>
              <a:gd name="T65" fmla="*/ 1810 h 2142"/>
              <a:gd name="T66" fmla="*/ 1648 w 2142"/>
              <a:gd name="T67" fmla="*/ 1973 h 2142"/>
              <a:gd name="T68" fmla="*/ 1414 w 2142"/>
              <a:gd name="T69" fmla="*/ 2086 h 2142"/>
              <a:gd name="T70" fmla="*/ 1154 w 2142"/>
              <a:gd name="T71" fmla="*/ 2139 h 2142"/>
              <a:gd name="T72" fmla="*/ 924 w 2142"/>
              <a:gd name="T73" fmla="*/ 113 h 2142"/>
              <a:gd name="T74" fmla="*/ 695 w 2142"/>
              <a:gd name="T75" fmla="*/ 179 h 2142"/>
              <a:gd name="T76" fmla="*/ 492 w 2142"/>
              <a:gd name="T77" fmla="*/ 296 h 2142"/>
              <a:gd name="T78" fmla="*/ 324 w 2142"/>
              <a:gd name="T79" fmla="*/ 456 h 2142"/>
              <a:gd name="T80" fmla="*/ 200 w 2142"/>
              <a:gd name="T81" fmla="*/ 652 h 2142"/>
              <a:gd name="T82" fmla="*/ 123 w 2142"/>
              <a:gd name="T83" fmla="*/ 876 h 2142"/>
              <a:gd name="T84" fmla="*/ 105 w 2142"/>
              <a:gd name="T85" fmla="*/ 1121 h 2142"/>
              <a:gd name="T86" fmla="*/ 147 w 2142"/>
              <a:gd name="T87" fmla="*/ 1358 h 2142"/>
              <a:gd name="T88" fmla="*/ 243 w 2142"/>
              <a:gd name="T89" fmla="*/ 1572 h 2142"/>
              <a:gd name="T90" fmla="*/ 388 w 2142"/>
              <a:gd name="T91" fmla="*/ 1755 h 2142"/>
              <a:gd name="T92" fmla="*/ 570 w 2142"/>
              <a:gd name="T93" fmla="*/ 1899 h 2142"/>
              <a:gd name="T94" fmla="*/ 784 w 2142"/>
              <a:gd name="T95" fmla="*/ 1996 h 2142"/>
              <a:gd name="T96" fmla="*/ 1021 w 2142"/>
              <a:gd name="T97" fmla="*/ 2037 h 2142"/>
              <a:gd name="T98" fmla="*/ 1266 w 2142"/>
              <a:gd name="T99" fmla="*/ 2019 h 2142"/>
              <a:gd name="T100" fmla="*/ 1490 w 2142"/>
              <a:gd name="T101" fmla="*/ 1943 h 2142"/>
              <a:gd name="T102" fmla="*/ 1686 w 2142"/>
              <a:gd name="T103" fmla="*/ 1818 h 2142"/>
              <a:gd name="T104" fmla="*/ 1846 w 2142"/>
              <a:gd name="T105" fmla="*/ 1650 h 2142"/>
              <a:gd name="T106" fmla="*/ 1963 w 2142"/>
              <a:gd name="T107" fmla="*/ 1447 h 2142"/>
              <a:gd name="T108" fmla="*/ 2028 w 2142"/>
              <a:gd name="T109" fmla="*/ 1218 h 2142"/>
              <a:gd name="T110" fmla="*/ 2034 w 2142"/>
              <a:gd name="T111" fmla="*/ 972 h 2142"/>
              <a:gd name="T112" fmla="*/ 1980 w 2142"/>
              <a:gd name="T113" fmla="*/ 738 h 2142"/>
              <a:gd name="T114" fmla="*/ 1873 w 2142"/>
              <a:gd name="T115" fmla="*/ 530 h 2142"/>
              <a:gd name="T116" fmla="*/ 1721 w 2142"/>
              <a:gd name="T117" fmla="*/ 354 h 2142"/>
              <a:gd name="T118" fmla="*/ 1532 w 2142"/>
              <a:gd name="T119" fmla="*/ 219 h 2142"/>
              <a:gd name="T120" fmla="*/ 1313 w 2142"/>
              <a:gd name="T121" fmla="*/ 134 h 2142"/>
              <a:gd name="T122" fmla="*/ 1072 w 2142"/>
              <a:gd name="T123" fmla="*/ 103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2" h="2142">
                <a:moveTo>
                  <a:pt x="1372" y="1210"/>
                </a:moveTo>
                <a:lnTo>
                  <a:pt x="1565" y="1210"/>
                </a:lnTo>
                <a:lnTo>
                  <a:pt x="1153" y="1578"/>
                </a:lnTo>
                <a:lnTo>
                  <a:pt x="1144" y="1585"/>
                </a:lnTo>
                <a:lnTo>
                  <a:pt x="1135" y="1590"/>
                </a:lnTo>
                <a:lnTo>
                  <a:pt x="1125" y="1596"/>
                </a:lnTo>
                <a:lnTo>
                  <a:pt x="1114" y="1601"/>
                </a:lnTo>
                <a:lnTo>
                  <a:pt x="1104" y="1604"/>
                </a:lnTo>
                <a:lnTo>
                  <a:pt x="1093" y="1606"/>
                </a:lnTo>
                <a:lnTo>
                  <a:pt x="1082" y="1607"/>
                </a:lnTo>
                <a:lnTo>
                  <a:pt x="1072" y="1608"/>
                </a:lnTo>
                <a:lnTo>
                  <a:pt x="1060" y="1607"/>
                </a:lnTo>
                <a:lnTo>
                  <a:pt x="1049" y="1606"/>
                </a:lnTo>
                <a:lnTo>
                  <a:pt x="1039" y="1604"/>
                </a:lnTo>
                <a:lnTo>
                  <a:pt x="1033" y="1603"/>
                </a:lnTo>
                <a:lnTo>
                  <a:pt x="1028" y="1601"/>
                </a:lnTo>
                <a:lnTo>
                  <a:pt x="1018" y="1596"/>
                </a:lnTo>
                <a:lnTo>
                  <a:pt x="1009" y="1590"/>
                </a:lnTo>
                <a:lnTo>
                  <a:pt x="999" y="1585"/>
                </a:lnTo>
                <a:lnTo>
                  <a:pt x="990" y="1578"/>
                </a:lnTo>
                <a:lnTo>
                  <a:pt x="975" y="1564"/>
                </a:lnTo>
                <a:lnTo>
                  <a:pt x="1372" y="1210"/>
                </a:lnTo>
                <a:close/>
                <a:moveTo>
                  <a:pt x="476" y="1070"/>
                </a:moveTo>
                <a:lnTo>
                  <a:pt x="478" y="1064"/>
                </a:lnTo>
                <a:lnTo>
                  <a:pt x="479" y="1056"/>
                </a:lnTo>
                <a:lnTo>
                  <a:pt x="481" y="1049"/>
                </a:lnTo>
                <a:lnTo>
                  <a:pt x="484" y="1042"/>
                </a:lnTo>
                <a:lnTo>
                  <a:pt x="487" y="1035"/>
                </a:lnTo>
                <a:lnTo>
                  <a:pt x="491" y="1030"/>
                </a:lnTo>
                <a:lnTo>
                  <a:pt x="494" y="1025"/>
                </a:lnTo>
                <a:lnTo>
                  <a:pt x="499" y="1020"/>
                </a:lnTo>
                <a:lnTo>
                  <a:pt x="505" y="1016"/>
                </a:lnTo>
                <a:lnTo>
                  <a:pt x="509" y="1012"/>
                </a:lnTo>
                <a:lnTo>
                  <a:pt x="515" y="1008"/>
                </a:lnTo>
                <a:lnTo>
                  <a:pt x="520" y="1006"/>
                </a:lnTo>
                <a:lnTo>
                  <a:pt x="527" y="1004"/>
                </a:lnTo>
                <a:lnTo>
                  <a:pt x="533" y="1003"/>
                </a:lnTo>
                <a:lnTo>
                  <a:pt x="539" y="1002"/>
                </a:lnTo>
                <a:lnTo>
                  <a:pt x="546" y="1002"/>
                </a:lnTo>
                <a:lnTo>
                  <a:pt x="999" y="1002"/>
                </a:lnTo>
                <a:lnTo>
                  <a:pt x="1451" y="1002"/>
                </a:lnTo>
                <a:lnTo>
                  <a:pt x="975" y="577"/>
                </a:lnTo>
                <a:lnTo>
                  <a:pt x="990" y="564"/>
                </a:lnTo>
                <a:lnTo>
                  <a:pt x="999" y="557"/>
                </a:lnTo>
                <a:lnTo>
                  <a:pt x="1009" y="550"/>
                </a:lnTo>
                <a:lnTo>
                  <a:pt x="1018" y="546"/>
                </a:lnTo>
                <a:lnTo>
                  <a:pt x="1028" y="541"/>
                </a:lnTo>
                <a:lnTo>
                  <a:pt x="1039" y="538"/>
                </a:lnTo>
                <a:lnTo>
                  <a:pt x="1049" y="536"/>
                </a:lnTo>
                <a:lnTo>
                  <a:pt x="1060" y="534"/>
                </a:lnTo>
                <a:lnTo>
                  <a:pt x="1072" y="533"/>
                </a:lnTo>
                <a:lnTo>
                  <a:pt x="1082" y="534"/>
                </a:lnTo>
                <a:lnTo>
                  <a:pt x="1093" y="536"/>
                </a:lnTo>
                <a:lnTo>
                  <a:pt x="1104" y="538"/>
                </a:lnTo>
                <a:lnTo>
                  <a:pt x="1109" y="539"/>
                </a:lnTo>
                <a:lnTo>
                  <a:pt x="1114" y="541"/>
                </a:lnTo>
                <a:lnTo>
                  <a:pt x="1125" y="546"/>
                </a:lnTo>
                <a:lnTo>
                  <a:pt x="1135" y="550"/>
                </a:lnTo>
                <a:lnTo>
                  <a:pt x="1144" y="557"/>
                </a:lnTo>
                <a:lnTo>
                  <a:pt x="1153" y="564"/>
                </a:lnTo>
                <a:lnTo>
                  <a:pt x="1629" y="988"/>
                </a:lnTo>
                <a:lnTo>
                  <a:pt x="1637" y="996"/>
                </a:lnTo>
                <a:lnTo>
                  <a:pt x="1643" y="1004"/>
                </a:lnTo>
                <a:lnTo>
                  <a:pt x="1650" y="1013"/>
                </a:lnTo>
                <a:lnTo>
                  <a:pt x="1655" y="1023"/>
                </a:lnTo>
                <a:lnTo>
                  <a:pt x="1657" y="1028"/>
                </a:lnTo>
                <a:lnTo>
                  <a:pt x="1659" y="1032"/>
                </a:lnTo>
                <a:lnTo>
                  <a:pt x="1662" y="1042"/>
                </a:lnTo>
                <a:lnTo>
                  <a:pt x="1665" y="1053"/>
                </a:lnTo>
                <a:lnTo>
                  <a:pt x="1666" y="1064"/>
                </a:lnTo>
                <a:lnTo>
                  <a:pt x="1666" y="1071"/>
                </a:lnTo>
                <a:lnTo>
                  <a:pt x="1665" y="1080"/>
                </a:lnTo>
                <a:lnTo>
                  <a:pt x="1664" y="1087"/>
                </a:lnTo>
                <a:lnTo>
                  <a:pt x="1661" y="1095"/>
                </a:lnTo>
                <a:lnTo>
                  <a:pt x="1658" y="1102"/>
                </a:lnTo>
                <a:lnTo>
                  <a:pt x="1655" y="1109"/>
                </a:lnTo>
                <a:lnTo>
                  <a:pt x="1650" y="1114"/>
                </a:lnTo>
                <a:lnTo>
                  <a:pt x="1646" y="1120"/>
                </a:lnTo>
                <a:lnTo>
                  <a:pt x="1643" y="1122"/>
                </a:lnTo>
                <a:lnTo>
                  <a:pt x="1641" y="1124"/>
                </a:lnTo>
                <a:lnTo>
                  <a:pt x="1635" y="1129"/>
                </a:lnTo>
                <a:lnTo>
                  <a:pt x="1630" y="1132"/>
                </a:lnTo>
                <a:lnTo>
                  <a:pt x="1624" y="1136"/>
                </a:lnTo>
                <a:lnTo>
                  <a:pt x="1617" y="1138"/>
                </a:lnTo>
                <a:lnTo>
                  <a:pt x="1611" y="1139"/>
                </a:lnTo>
                <a:lnTo>
                  <a:pt x="1604" y="1140"/>
                </a:lnTo>
                <a:lnTo>
                  <a:pt x="1596" y="1141"/>
                </a:lnTo>
                <a:lnTo>
                  <a:pt x="1071" y="1141"/>
                </a:lnTo>
                <a:lnTo>
                  <a:pt x="546" y="1141"/>
                </a:lnTo>
                <a:lnTo>
                  <a:pt x="539" y="1140"/>
                </a:lnTo>
                <a:lnTo>
                  <a:pt x="533" y="1139"/>
                </a:lnTo>
                <a:lnTo>
                  <a:pt x="527" y="1138"/>
                </a:lnTo>
                <a:lnTo>
                  <a:pt x="520" y="1136"/>
                </a:lnTo>
                <a:lnTo>
                  <a:pt x="515" y="1133"/>
                </a:lnTo>
                <a:lnTo>
                  <a:pt x="509" y="1130"/>
                </a:lnTo>
                <a:lnTo>
                  <a:pt x="505" y="1127"/>
                </a:lnTo>
                <a:lnTo>
                  <a:pt x="499" y="1122"/>
                </a:lnTo>
                <a:lnTo>
                  <a:pt x="494" y="1118"/>
                </a:lnTo>
                <a:lnTo>
                  <a:pt x="491" y="1113"/>
                </a:lnTo>
                <a:lnTo>
                  <a:pt x="488" y="1109"/>
                </a:lnTo>
                <a:lnTo>
                  <a:pt x="484" y="1103"/>
                </a:lnTo>
                <a:lnTo>
                  <a:pt x="481" y="1097"/>
                </a:lnTo>
                <a:lnTo>
                  <a:pt x="480" y="1091"/>
                </a:lnTo>
                <a:lnTo>
                  <a:pt x="478" y="1085"/>
                </a:lnTo>
                <a:lnTo>
                  <a:pt x="476" y="1078"/>
                </a:lnTo>
                <a:lnTo>
                  <a:pt x="476" y="1070"/>
                </a:lnTo>
                <a:close/>
                <a:moveTo>
                  <a:pt x="1072" y="2142"/>
                </a:moveTo>
                <a:lnTo>
                  <a:pt x="1044" y="2142"/>
                </a:lnTo>
                <a:lnTo>
                  <a:pt x="1017" y="2141"/>
                </a:lnTo>
                <a:lnTo>
                  <a:pt x="988" y="2139"/>
                </a:lnTo>
                <a:lnTo>
                  <a:pt x="961" y="2136"/>
                </a:lnTo>
                <a:lnTo>
                  <a:pt x="936" y="2133"/>
                </a:lnTo>
                <a:lnTo>
                  <a:pt x="909" y="2130"/>
                </a:lnTo>
                <a:lnTo>
                  <a:pt x="882" y="2125"/>
                </a:lnTo>
                <a:lnTo>
                  <a:pt x="856" y="2121"/>
                </a:lnTo>
                <a:lnTo>
                  <a:pt x="830" y="2115"/>
                </a:lnTo>
                <a:lnTo>
                  <a:pt x="804" y="2108"/>
                </a:lnTo>
                <a:lnTo>
                  <a:pt x="778" y="2101"/>
                </a:lnTo>
                <a:lnTo>
                  <a:pt x="753" y="2094"/>
                </a:lnTo>
                <a:lnTo>
                  <a:pt x="728" y="2086"/>
                </a:lnTo>
                <a:lnTo>
                  <a:pt x="704" y="2077"/>
                </a:lnTo>
                <a:lnTo>
                  <a:pt x="679" y="2068"/>
                </a:lnTo>
                <a:lnTo>
                  <a:pt x="654" y="2058"/>
                </a:lnTo>
                <a:lnTo>
                  <a:pt x="631" y="2047"/>
                </a:lnTo>
                <a:lnTo>
                  <a:pt x="607" y="2036"/>
                </a:lnTo>
                <a:lnTo>
                  <a:pt x="584" y="2025"/>
                </a:lnTo>
                <a:lnTo>
                  <a:pt x="561" y="2013"/>
                </a:lnTo>
                <a:lnTo>
                  <a:pt x="538" y="2000"/>
                </a:lnTo>
                <a:lnTo>
                  <a:pt x="516" y="1987"/>
                </a:lnTo>
                <a:lnTo>
                  <a:pt x="494" y="1973"/>
                </a:lnTo>
                <a:lnTo>
                  <a:pt x="473" y="1959"/>
                </a:lnTo>
                <a:lnTo>
                  <a:pt x="452" y="1944"/>
                </a:lnTo>
                <a:lnTo>
                  <a:pt x="431" y="1929"/>
                </a:lnTo>
                <a:lnTo>
                  <a:pt x="410" y="1913"/>
                </a:lnTo>
                <a:lnTo>
                  <a:pt x="391" y="1898"/>
                </a:lnTo>
                <a:lnTo>
                  <a:pt x="371" y="1881"/>
                </a:lnTo>
                <a:lnTo>
                  <a:pt x="351" y="1864"/>
                </a:lnTo>
                <a:lnTo>
                  <a:pt x="332" y="1846"/>
                </a:lnTo>
                <a:lnTo>
                  <a:pt x="314" y="1828"/>
                </a:lnTo>
                <a:lnTo>
                  <a:pt x="296" y="1810"/>
                </a:lnTo>
                <a:lnTo>
                  <a:pt x="278" y="1791"/>
                </a:lnTo>
                <a:lnTo>
                  <a:pt x="261" y="1772"/>
                </a:lnTo>
                <a:lnTo>
                  <a:pt x="245" y="1751"/>
                </a:lnTo>
                <a:lnTo>
                  <a:pt x="229" y="1732"/>
                </a:lnTo>
                <a:lnTo>
                  <a:pt x="213" y="1712"/>
                </a:lnTo>
                <a:lnTo>
                  <a:pt x="198" y="1691"/>
                </a:lnTo>
                <a:lnTo>
                  <a:pt x="184" y="1669"/>
                </a:lnTo>
                <a:lnTo>
                  <a:pt x="169" y="1648"/>
                </a:lnTo>
                <a:lnTo>
                  <a:pt x="156" y="1626"/>
                </a:lnTo>
                <a:lnTo>
                  <a:pt x="142" y="1604"/>
                </a:lnTo>
                <a:lnTo>
                  <a:pt x="130" y="1581"/>
                </a:lnTo>
                <a:lnTo>
                  <a:pt x="117" y="1558"/>
                </a:lnTo>
                <a:lnTo>
                  <a:pt x="106" y="1535"/>
                </a:lnTo>
                <a:lnTo>
                  <a:pt x="95" y="1512"/>
                </a:lnTo>
                <a:lnTo>
                  <a:pt x="85" y="1488"/>
                </a:lnTo>
                <a:lnTo>
                  <a:pt x="75" y="1463"/>
                </a:lnTo>
                <a:lnTo>
                  <a:pt x="66" y="1438"/>
                </a:lnTo>
                <a:lnTo>
                  <a:pt x="57" y="1414"/>
                </a:lnTo>
                <a:lnTo>
                  <a:pt x="49" y="1389"/>
                </a:lnTo>
                <a:lnTo>
                  <a:pt x="41" y="1364"/>
                </a:lnTo>
                <a:lnTo>
                  <a:pt x="34" y="1338"/>
                </a:lnTo>
                <a:lnTo>
                  <a:pt x="27" y="1312"/>
                </a:lnTo>
                <a:lnTo>
                  <a:pt x="22" y="1286"/>
                </a:lnTo>
                <a:lnTo>
                  <a:pt x="17" y="1261"/>
                </a:lnTo>
                <a:lnTo>
                  <a:pt x="13" y="1234"/>
                </a:lnTo>
                <a:lnTo>
                  <a:pt x="9" y="1208"/>
                </a:lnTo>
                <a:lnTo>
                  <a:pt x="6" y="1181"/>
                </a:lnTo>
                <a:lnTo>
                  <a:pt x="4" y="1154"/>
                </a:lnTo>
                <a:lnTo>
                  <a:pt x="2" y="1125"/>
                </a:lnTo>
                <a:lnTo>
                  <a:pt x="0" y="1098"/>
                </a:lnTo>
                <a:lnTo>
                  <a:pt x="0" y="1070"/>
                </a:lnTo>
                <a:lnTo>
                  <a:pt x="0" y="1043"/>
                </a:lnTo>
                <a:lnTo>
                  <a:pt x="2" y="1016"/>
                </a:lnTo>
                <a:lnTo>
                  <a:pt x="4" y="988"/>
                </a:lnTo>
                <a:lnTo>
                  <a:pt x="6" y="961"/>
                </a:lnTo>
                <a:lnTo>
                  <a:pt x="9" y="934"/>
                </a:lnTo>
                <a:lnTo>
                  <a:pt x="13" y="908"/>
                </a:lnTo>
                <a:lnTo>
                  <a:pt x="17" y="881"/>
                </a:lnTo>
                <a:lnTo>
                  <a:pt x="22" y="855"/>
                </a:lnTo>
                <a:lnTo>
                  <a:pt x="27" y="829"/>
                </a:lnTo>
                <a:lnTo>
                  <a:pt x="34" y="803"/>
                </a:lnTo>
                <a:lnTo>
                  <a:pt x="41" y="778"/>
                </a:lnTo>
                <a:lnTo>
                  <a:pt x="49" y="753"/>
                </a:lnTo>
                <a:lnTo>
                  <a:pt x="57" y="728"/>
                </a:lnTo>
                <a:lnTo>
                  <a:pt x="66" y="703"/>
                </a:lnTo>
                <a:lnTo>
                  <a:pt x="75" y="679"/>
                </a:lnTo>
                <a:lnTo>
                  <a:pt x="85" y="654"/>
                </a:lnTo>
                <a:lnTo>
                  <a:pt x="95" y="630"/>
                </a:lnTo>
                <a:lnTo>
                  <a:pt x="106" y="606"/>
                </a:lnTo>
                <a:lnTo>
                  <a:pt x="117" y="584"/>
                </a:lnTo>
                <a:lnTo>
                  <a:pt x="130" y="560"/>
                </a:lnTo>
                <a:lnTo>
                  <a:pt x="142" y="538"/>
                </a:lnTo>
                <a:lnTo>
                  <a:pt x="156" y="515"/>
                </a:lnTo>
                <a:lnTo>
                  <a:pt x="169" y="494"/>
                </a:lnTo>
                <a:lnTo>
                  <a:pt x="184" y="473"/>
                </a:lnTo>
                <a:lnTo>
                  <a:pt x="198" y="451"/>
                </a:lnTo>
                <a:lnTo>
                  <a:pt x="213" y="430"/>
                </a:lnTo>
                <a:lnTo>
                  <a:pt x="229" y="409"/>
                </a:lnTo>
                <a:lnTo>
                  <a:pt x="245" y="389"/>
                </a:lnTo>
                <a:lnTo>
                  <a:pt x="261" y="370"/>
                </a:lnTo>
                <a:lnTo>
                  <a:pt x="278" y="351"/>
                </a:lnTo>
                <a:lnTo>
                  <a:pt x="296" y="332"/>
                </a:lnTo>
                <a:lnTo>
                  <a:pt x="314" y="314"/>
                </a:lnTo>
                <a:lnTo>
                  <a:pt x="332" y="296"/>
                </a:lnTo>
                <a:lnTo>
                  <a:pt x="351" y="278"/>
                </a:lnTo>
                <a:lnTo>
                  <a:pt x="371" y="261"/>
                </a:lnTo>
                <a:lnTo>
                  <a:pt x="391" y="244"/>
                </a:lnTo>
                <a:lnTo>
                  <a:pt x="410" y="228"/>
                </a:lnTo>
                <a:lnTo>
                  <a:pt x="431" y="212"/>
                </a:lnTo>
                <a:lnTo>
                  <a:pt x="452" y="198"/>
                </a:lnTo>
                <a:lnTo>
                  <a:pt x="473" y="183"/>
                </a:lnTo>
                <a:lnTo>
                  <a:pt x="494" y="169"/>
                </a:lnTo>
                <a:lnTo>
                  <a:pt x="516" y="155"/>
                </a:lnTo>
                <a:lnTo>
                  <a:pt x="538" y="142"/>
                </a:lnTo>
                <a:lnTo>
                  <a:pt x="561" y="129"/>
                </a:lnTo>
                <a:lnTo>
                  <a:pt x="584" y="117"/>
                </a:lnTo>
                <a:lnTo>
                  <a:pt x="607" y="106"/>
                </a:lnTo>
                <a:lnTo>
                  <a:pt x="631" y="94"/>
                </a:lnTo>
                <a:lnTo>
                  <a:pt x="654" y="84"/>
                </a:lnTo>
                <a:lnTo>
                  <a:pt x="679" y="74"/>
                </a:lnTo>
                <a:lnTo>
                  <a:pt x="704" y="65"/>
                </a:lnTo>
                <a:lnTo>
                  <a:pt x="728" y="56"/>
                </a:lnTo>
                <a:lnTo>
                  <a:pt x="753" y="48"/>
                </a:lnTo>
                <a:lnTo>
                  <a:pt x="778" y="40"/>
                </a:lnTo>
                <a:lnTo>
                  <a:pt x="804" y="33"/>
                </a:lnTo>
                <a:lnTo>
                  <a:pt x="830" y="27"/>
                </a:lnTo>
                <a:lnTo>
                  <a:pt x="856" y="21"/>
                </a:lnTo>
                <a:lnTo>
                  <a:pt x="882" y="17"/>
                </a:lnTo>
                <a:lnTo>
                  <a:pt x="909" y="12"/>
                </a:lnTo>
                <a:lnTo>
                  <a:pt x="936" y="8"/>
                </a:lnTo>
                <a:lnTo>
                  <a:pt x="961" y="5"/>
                </a:lnTo>
                <a:lnTo>
                  <a:pt x="988" y="3"/>
                </a:lnTo>
                <a:lnTo>
                  <a:pt x="1017" y="1"/>
                </a:lnTo>
                <a:lnTo>
                  <a:pt x="1044" y="0"/>
                </a:lnTo>
                <a:lnTo>
                  <a:pt x="1072" y="0"/>
                </a:lnTo>
                <a:lnTo>
                  <a:pt x="1099" y="0"/>
                </a:lnTo>
                <a:lnTo>
                  <a:pt x="1126" y="1"/>
                </a:lnTo>
                <a:lnTo>
                  <a:pt x="1154" y="3"/>
                </a:lnTo>
                <a:lnTo>
                  <a:pt x="1181" y="5"/>
                </a:lnTo>
                <a:lnTo>
                  <a:pt x="1208" y="8"/>
                </a:lnTo>
                <a:lnTo>
                  <a:pt x="1234" y="12"/>
                </a:lnTo>
                <a:lnTo>
                  <a:pt x="1261" y="17"/>
                </a:lnTo>
                <a:lnTo>
                  <a:pt x="1287" y="21"/>
                </a:lnTo>
                <a:lnTo>
                  <a:pt x="1313" y="27"/>
                </a:lnTo>
                <a:lnTo>
                  <a:pt x="1338" y="33"/>
                </a:lnTo>
                <a:lnTo>
                  <a:pt x="1364" y="40"/>
                </a:lnTo>
                <a:lnTo>
                  <a:pt x="1389" y="48"/>
                </a:lnTo>
                <a:lnTo>
                  <a:pt x="1414" y="56"/>
                </a:lnTo>
                <a:lnTo>
                  <a:pt x="1439" y="65"/>
                </a:lnTo>
                <a:lnTo>
                  <a:pt x="1463" y="74"/>
                </a:lnTo>
                <a:lnTo>
                  <a:pt x="1488" y="84"/>
                </a:lnTo>
                <a:lnTo>
                  <a:pt x="1512" y="94"/>
                </a:lnTo>
                <a:lnTo>
                  <a:pt x="1535" y="106"/>
                </a:lnTo>
                <a:lnTo>
                  <a:pt x="1558" y="117"/>
                </a:lnTo>
                <a:lnTo>
                  <a:pt x="1581" y="129"/>
                </a:lnTo>
                <a:lnTo>
                  <a:pt x="1604" y="142"/>
                </a:lnTo>
                <a:lnTo>
                  <a:pt x="1626" y="155"/>
                </a:lnTo>
                <a:lnTo>
                  <a:pt x="1648" y="169"/>
                </a:lnTo>
                <a:lnTo>
                  <a:pt x="1669" y="183"/>
                </a:lnTo>
                <a:lnTo>
                  <a:pt x="1691" y="198"/>
                </a:lnTo>
                <a:lnTo>
                  <a:pt x="1712" y="212"/>
                </a:lnTo>
                <a:lnTo>
                  <a:pt x="1732" y="228"/>
                </a:lnTo>
                <a:lnTo>
                  <a:pt x="1753" y="244"/>
                </a:lnTo>
                <a:lnTo>
                  <a:pt x="1772" y="261"/>
                </a:lnTo>
                <a:lnTo>
                  <a:pt x="1791" y="278"/>
                </a:lnTo>
                <a:lnTo>
                  <a:pt x="1810" y="296"/>
                </a:lnTo>
                <a:lnTo>
                  <a:pt x="1828" y="314"/>
                </a:lnTo>
                <a:lnTo>
                  <a:pt x="1846" y="332"/>
                </a:lnTo>
                <a:lnTo>
                  <a:pt x="1864" y="351"/>
                </a:lnTo>
                <a:lnTo>
                  <a:pt x="1881" y="370"/>
                </a:lnTo>
                <a:lnTo>
                  <a:pt x="1898" y="389"/>
                </a:lnTo>
                <a:lnTo>
                  <a:pt x="1913" y="409"/>
                </a:lnTo>
                <a:lnTo>
                  <a:pt x="1929" y="430"/>
                </a:lnTo>
                <a:lnTo>
                  <a:pt x="1944" y="451"/>
                </a:lnTo>
                <a:lnTo>
                  <a:pt x="1958" y="473"/>
                </a:lnTo>
                <a:lnTo>
                  <a:pt x="1973" y="494"/>
                </a:lnTo>
                <a:lnTo>
                  <a:pt x="1987" y="515"/>
                </a:lnTo>
                <a:lnTo>
                  <a:pt x="2000" y="538"/>
                </a:lnTo>
                <a:lnTo>
                  <a:pt x="2012" y="560"/>
                </a:lnTo>
                <a:lnTo>
                  <a:pt x="2025" y="584"/>
                </a:lnTo>
                <a:lnTo>
                  <a:pt x="2036" y="606"/>
                </a:lnTo>
                <a:lnTo>
                  <a:pt x="2047" y="630"/>
                </a:lnTo>
                <a:lnTo>
                  <a:pt x="2057" y="654"/>
                </a:lnTo>
                <a:lnTo>
                  <a:pt x="2068" y="679"/>
                </a:lnTo>
                <a:lnTo>
                  <a:pt x="2077" y="703"/>
                </a:lnTo>
                <a:lnTo>
                  <a:pt x="2086" y="728"/>
                </a:lnTo>
                <a:lnTo>
                  <a:pt x="2093" y="753"/>
                </a:lnTo>
                <a:lnTo>
                  <a:pt x="2101" y="778"/>
                </a:lnTo>
                <a:lnTo>
                  <a:pt x="2108" y="803"/>
                </a:lnTo>
                <a:lnTo>
                  <a:pt x="2115" y="829"/>
                </a:lnTo>
                <a:lnTo>
                  <a:pt x="2121" y="855"/>
                </a:lnTo>
                <a:lnTo>
                  <a:pt x="2125" y="881"/>
                </a:lnTo>
                <a:lnTo>
                  <a:pt x="2130" y="908"/>
                </a:lnTo>
                <a:lnTo>
                  <a:pt x="2134" y="934"/>
                </a:lnTo>
                <a:lnTo>
                  <a:pt x="2136" y="961"/>
                </a:lnTo>
                <a:lnTo>
                  <a:pt x="2139" y="988"/>
                </a:lnTo>
                <a:lnTo>
                  <a:pt x="2141" y="1016"/>
                </a:lnTo>
                <a:lnTo>
                  <a:pt x="2142" y="1043"/>
                </a:lnTo>
                <a:lnTo>
                  <a:pt x="2142" y="1070"/>
                </a:lnTo>
                <a:lnTo>
                  <a:pt x="2142" y="1098"/>
                </a:lnTo>
                <a:lnTo>
                  <a:pt x="2141" y="1125"/>
                </a:lnTo>
                <a:lnTo>
                  <a:pt x="2139" y="1154"/>
                </a:lnTo>
                <a:lnTo>
                  <a:pt x="2136" y="1181"/>
                </a:lnTo>
                <a:lnTo>
                  <a:pt x="2134" y="1208"/>
                </a:lnTo>
                <a:lnTo>
                  <a:pt x="2130" y="1234"/>
                </a:lnTo>
                <a:lnTo>
                  <a:pt x="2125" y="1261"/>
                </a:lnTo>
                <a:lnTo>
                  <a:pt x="2121" y="1286"/>
                </a:lnTo>
                <a:lnTo>
                  <a:pt x="2115" y="1312"/>
                </a:lnTo>
                <a:lnTo>
                  <a:pt x="2108" y="1338"/>
                </a:lnTo>
                <a:lnTo>
                  <a:pt x="2101" y="1364"/>
                </a:lnTo>
                <a:lnTo>
                  <a:pt x="2093" y="1389"/>
                </a:lnTo>
                <a:lnTo>
                  <a:pt x="2086" y="1414"/>
                </a:lnTo>
                <a:lnTo>
                  <a:pt x="2077" y="1438"/>
                </a:lnTo>
                <a:lnTo>
                  <a:pt x="2068" y="1463"/>
                </a:lnTo>
                <a:lnTo>
                  <a:pt x="2057" y="1488"/>
                </a:lnTo>
                <a:lnTo>
                  <a:pt x="2047" y="1512"/>
                </a:lnTo>
                <a:lnTo>
                  <a:pt x="2036" y="1535"/>
                </a:lnTo>
                <a:lnTo>
                  <a:pt x="2025" y="1558"/>
                </a:lnTo>
                <a:lnTo>
                  <a:pt x="2012" y="1581"/>
                </a:lnTo>
                <a:lnTo>
                  <a:pt x="2000" y="1604"/>
                </a:lnTo>
                <a:lnTo>
                  <a:pt x="1987" y="1626"/>
                </a:lnTo>
                <a:lnTo>
                  <a:pt x="1973" y="1648"/>
                </a:lnTo>
                <a:lnTo>
                  <a:pt x="1958" y="1669"/>
                </a:lnTo>
                <a:lnTo>
                  <a:pt x="1944" y="1691"/>
                </a:lnTo>
                <a:lnTo>
                  <a:pt x="1929" y="1712"/>
                </a:lnTo>
                <a:lnTo>
                  <a:pt x="1913" y="1732"/>
                </a:lnTo>
                <a:lnTo>
                  <a:pt x="1898" y="1751"/>
                </a:lnTo>
                <a:lnTo>
                  <a:pt x="1881" y="1772"/>
                </a:lnTo>
                <a:lnTo>
                  <a:pt x="1864" y="1791"/>
                </a:lnTo>
                <a:lnTo>
                  <a:pt x="1846" y="1810"/>
                </a:lnTo>
                <a:lnTo>
                  <a:pt x="1828" y="1828"/>
                </a:lnTo>
                <a:lnTo>
                  <a:pt x="1810" y="1846"/>
                </a:lnTo>
                <a:lnTo>
                  <a:pt x="1791" y="1864"/>
                </a:lnTo>
                <a:lnTo>
                  <a:pt x="1772" y="1881"/>
                </a:lnTo>
                <a:lnTo>
                  <a:pt x="1753" y="1898"/>
                </a:lnTo>
                <a:lnTo>
                  <a:pt x="1732" y="1913"/>
                </a:lnTo>
                <a:lnTo>
                  <a:pt x="1712" y="1929"/>
                </a:lnTo>
                <a:lnTo>
                  <a:pt x="1691" y="1944"/>
                </a:lnTo>
                <a:lnTo>
                  <a:pt x="1669" y="1959"/>
                </a:lnTo>
                <a:lnTo>
                  <a:pt x="1648" y="1973"/>
                </a:lnTo>
                <a:lnTo>
                  <a:pt x="1626" y="1987"/>
                </a:lnTo>
                <a:lnTo>
                  <a:pt x="1604" y="2000"/>
                </a:lnTo>
                <a:lnTo>
                  <a:pt x="1581" y="2013"/>
                </a:lnTo>
                <a:lnTo>
                  <a:pt x="1558" y="2025"/>
                </a:lnTo>
                <a:lnTo>
                  <a:pt x="1535" y="2036"/>
                </a:lnTo>
                <a:lnTo>
                  <a:pt x="1512" y="2047"/>
                </a:lnTo>
                <a:lnTo>
                  <a:pt x="1488" y="2058"/>
                </a:lnTo>
                <a:lnTo>
                  <a:pt x="1463" y="2068"/>
                </a:lnTo>
                <a:lnTo>
                  <a:pt x="1439" y="2077"/>
                </a:lnTo>
                <a:lnTo>
                  <a:pt x="1414" y="2086"/>
                </a:lnTo>
                <a:lnTo>
                  <a:pt x="1389" y="2094"/>
                </a:lnTo>
                <a:lnTo>
                  <a:pt x="1364" y="2101"/>
                </a:lnTo>
                <a:lnTo>
                  <a:pt x="1338" y="2108"/>
                </a:lnTo>
                <a:lnTo>
                  <a:pt x="1313" y="2115"/>
                </a:lnTo>
                <a:lnTo>
                  <a:pt x="1287" y="2121"/>
                </a:lnTo>
                <a:lnTo>
                  <a:pt x="1261" y="2125"/>
                </a:lnTo>
                <a:lnTo>
                  <a:pt x="1234" y="2130"/>
                </a:lnTo>
                <a:lnTo>
                  <a:pt x="1208" y="2133"/>
                </a:lnTo>
                <a:lnTo>
                  <a:pt x="1181" y="2136"/>
                </a:lnTo>
                <a:lnTo>
                  <a:pt x="1154" y="2139"/>
                </a:lnTo>
                <a:lnTo>
                  <a:pt x="1126" y="2141"/>
                </a:lnTo>
                <a:lnTo>
                  <a:pt x="1099" y="2142"/>
                </a:lnTo>
                <a:lnTo>
                  <a:pt x="1072" y="2142"/>
                </a:lnTo>
                <a:close/>
                <a:moveTo>
                  <a:pt x="1072" y="103"/>
                </a:moveTo>
                <a:lnTo>
                  <a:pt x="1046" y="103"/>
                </a:lnTo>
                <a:lnTo>
                  <a:pt x="1021" y="104"/>
                </a:lnTo>
                <a:lnTo>
                  <a:pt x="997" y="106"/>
                </a:lnTo>
                <a:lnTo>
                  <a:pt x="973" y="108"/>
                </a:lnTo>
                <a:lnTo>
                  <a:pt x="948" y="110"/>
                </a:lnTo>
                <a:lnTo>
                  <a:pt x="924" y="113"/>
                </a:lnTo>
                <a:lnTo>
                  <a:pt x="901" y="118"/>
                </a:lnTo>
                <a:lnTo>
                  <a:pt x="876" y="122"/>
                </a:lnTo>
                <a:lnTo>
                  <a:pt x="853" y="128"/>
                </a:lnTo>
                <a:lnTo>
                  <a:pt x="830" y="134"/>
                </a:lnTo>
                <a:lnTo>
                  <a:pt x="806" y="139"/>
                </a:lnTo>
                <a:lnTo>
                  <a:pt x="784" y="146"/>
                </a:lnTo>
                <a:lnTo>
                  <a:pt x="761" y="154"/>
                </a:lnTo>
                <a:lnTo>
                  <a:pt x="739" y="162"/>
                </a:lnTo>
                <a:lnTo>
                  <a:pt x="717" y="170"/>
                </a:lnTo>
                <a:lnTo>
                  <a:pt x="695" y="179"/>
                </a:lnTo>
                <a:lnTo>
                  <a:pt x="673" y="189"/>
                </a:lnTo>
                <a:lnTo>
                  <a:pt x="652" y="198"/>
                </a:lnTo>
                <a:lnTo>
                  <a:pt x="631" y="209"/>
                </a:lnTo>
                <a:lnTo>
                  <a:pt x="610" y="219"/>
                </a:lnTo>
                <a:lnTo>
                  <a:pt x="590" y="232"/>
                </a:lnTo>
                <a:lnTo>
                  <a:pt x="570" y="243"/>
                </a:lnTo>
                <a:lnTo>
                  <a:pt x="550" y="255"/>
                </a:lnTo>
                <a:lnTo>
                  <a:pt x="530" y="269"/>
                </a:lnTo>
                <a:lnTo>
                  <a:pt x="511" y="281"/>
                </a:lnTo>
                <a:lnTo>
                  <a:pt x="492" y="296"/>
                </a:lnTo>
                <a:lnTo>
                  <a:pt x="474" y="309"/>
                </a:lnTo>
                <a:lnTo>
                  <a:pt x="456" y="324"/>
                </a:lnTo>
                <a:lnTo>
                  <a:pt x="438" y="340"/>
                </a:lnTo>
                <a:lnTo>
                  <a:pt x="421" y="354"/>
                </a:lnTo>
                <a:lnTo>
                  <a:pt x="404" y="370"/>
                </a:lnTo>
                <a:lnTo>
                  <a:pt x="388" y="387"/>
                </a:lnTo>
                <a:lnTo>
                  <a:pt x="371" y="403"/>
                </a:lnTo>
                <a:lnTo>
                  <a:pt x="355" y="421"/>
                </a:lnTo>
                <a:lnTo>
                  <a:pt x="340" y="438"/>
                </a:lnTo>
                <a:lnTo>
                  <a:pt x="324" y="456"/>
                </a:lnTo>
                <a:lnTo>
                  <a:pt x="310" y="474"/>
                </a:lnTo>
                <a:lnTo>
                  <a:pt x="296" y="492"/>
                </a:lnTo>
                <a:lnTo>
                  <a:pt x="283" y="511"/>
                </a:lnTo>
                <a:lnTo>
                  <a:pt x="269" y="530"/>
                </a:lnTo>
                <a:lnTo>
                  <a:pt x="256" y="549"/>
                </a:lnTo>
                <a:lnTo>
                  <a:pt x="243" y="569"/>
                </a:lnTo>
                <a:lnTo>
                  <a:pt x="232" y="590"/>
                </a:lnTo>
                <a:lnTo>
                  <a:pt x="221" y="610"/>
                </a:lnTo>
                <a:lnTo>
                  <a:pt x="210" y="630"/>
                </a:lnTo>
                <a:lnTo>
                  <a:pt x="200" y="652"/>
                </a:lnTo>
                <a:lnTo>
                  <a:pt x="189" y="673"/>
                </a:lnTo>
                <a:lnTo>
                  <a:pt x="179" y="694"/>
                </a:lnTo>
                <a:lnTo>
                  <a:pt x="170" y="716"/>
                </a:lnTo>
                <a:lnTo>
                  <a:pt x="162" y="738"/>
                </a:lnTo>
                <a:lnTo>
                  <a:pt x="155" y="761"/>
                </a:lnTo>
                <a:lnTo>
                  <a:pt x="147" y="783"/>
                </a:lnTo>
                <a:lnTo>
                  <a:pt x="140" y="806"/>
                </a:lnTo>
                <a:lnTo>
                  <a:pt x="134" y="829"/>
                </a:lnTo>
                <a:lnTo>
                  <a:pt x="129" y="853"/>
                </a:lnTo>
                <a:lnTo>
                  <a:pt x="123" y="876"/>
                </a:lnTo>
                <a:lnTo>
                  <a:pt x="119" y="899"/>
                </a:lnTo>
                <a:lnTo>
                  <a:pt x="115" y="924"/>
                </a:lnTo>
                <a:lnTo>
                  <a:pt x="112" y="948"/>
                </a:lnTo>
                <a:lnTo>
                  <a:pt x="108" y="972"/>
                </a:lnTo>
                <a:lnTo>
                  <a:pt x="106" y="996"/>
                </a:lnTo>
                <a:lnTo>
                  <a:pt x="105" y="1021"/>
                </a:lnTo>
                <a:lnTo>
                  <a:pt x="104" y="1046"/>
                </a:lnTo>
                <a:lnTo>
                  <a:pt x="104" y="1070"/>
                </a:lnTo>
                <a:lnTo>
                  <a:pt x="104" y="1096"/>
                </a:lnTo>
                <a:lnTo>
                  <a:pt x="105" y="1121"/>
                </a:lnTo>
                <a:lnTo>
                  <a:pt x="106" y="1146"/>
                </a:lnTo>
                <a:lnTo>
                  <a:pt x="108" y="1169"/>
                </a:lnTo>
                <a:lnTo>
                  <a:pt x="112" y="1194"/>
                </a:lnTo>
                <a:lnTo>
                  <a:pt x="115" y="1218"/>
                </a:lnTo>
                <a:lnTo>
                  <a:pt x="119" y="1241"/>
                </a:lnTo>
                <a:lnTo>
                  <a:pt x="123" y="1266"/>
                </a:lnTo>
                <a:lnTo>
                  <a:pt x="129" y="1289"/>
                </a:lnTo>
                <a:lnTo>
                  <a:pt x="134" y="1312"/>
                </a:lnTo>
                <a:lnTo>
                  <a:pt x="140" y="1336"/>
                </a:lnTo>
                <a:lnTo>
                  <a:pt x="147" y="1358"/>
                </a:lnTo>
                <a:lnTo>
                  <a:pt x="155" y="1381"/>
                </a:lnTo>
                <a:lnTo>
                  <a:pt x="162" y="1404"/>
                </a:lnTo>
                <a:lnTo>
                  <a:pt x="170" y="1425"/>
                </a:lnTo>
                <a:lnTo>
                  <a:pt x="179" y="1447"/>
                </a:lnTo>
                <a:lnTo>
                  <a:pt x="189" y="1469"/>
                </a:lnTo>
                <a:lnTo>
                  <a:pt x="200" y="1490"/>
                </a:lnTo>
                <a:lnTo>
                  <a:pt x="210" y="1512"/>
                </a:lnTo>
                <a:lnTo>
                  <a:pt x="221" y="1532"/>
                </a:lnTo>
                <a:lnTo>
                  <a:pt x="232" y="1552"/>
                </a:lnTo>
                <a:lnTo>
                  <a:pt x="243" y="1572"/>
                </a:lnTo>
                <a:lnTo>
                  <a:pt x="256" y="1593"/>
                </a:lnTo>
                <a:lnTo>
                  <a:pt x="269" y="1612"/>
                </a:lnTo>
                <a:lnTo>
                  <a:pt x="283" y="1631"/>
                </a:lnTo>
                <a:lnTo>
                  <a:pt x="296" y="1650"/>
                </a:lnTo>
                <a:lnTo>
                  <a:pt x="310" y="1668"/>
                </a:lnTo>
                <a:lnTo>
                  <a:pt x="324" y="1686"/>
                </a:lnTo>
                <a:lnTo>
                  <a:pt x="340" y="1704"/>
                </a:lnTo>
                <a:lnTo>
                  <a:pt x="355" y="1721"/>
                </a:lnTo>
                <a:lnTo>
                  <a:pt x="371" y="1738"/>
                </a:lnTo>
                <a:lnTo>
                  <a:pt x="388" y="1755"/>
                </a:lnTo>
                <a:lnTo>
                  <a:pt x="404" y="1772"/>
                </a:lnTo>
                <a:lnTo>
                  <a:pt x="421" y="1787"/>
                </a:lnTo>
                <a:lnTo>
                  <a:pt x="438" y="1802"/>
                </a:lnTo>
                <a:lnTo>
                  <a:pt x="456" y="1818"/>
                </a:lnTo>
                <a:lnTo>
                  <a:pt x="474" y="1832"/>
                </a:lnTo>
                <a:lnTo>
                  <a:pt x="492" y="1846"/>
                </a:lnTo>
                <a:lnTo>
                  <a:pt x="511" y="1859"/>
                </a:lnTo>
                <a:lnTo>
                  <a:pt x="530" y="1873"/>
                </a:lnTo>
                <a:lnTo>
                  <a:pt x="550" y="1886"/>
                </a:lnTo>
                <a:lnTo>
                  <a:pt x="570" y="1899"/>
                </a:lnTo>
                <a:lnTo>
                  <a:pt x="590" y="1910"/>
                </a:lnTo>
                <a:lnTo>
                  <a:pt x="610" y="1921"/>
                </a:lnTo>
                <a:lnTo>
                  <a:pt x="631" y="1933"/>
                </a:lnTo>
                <a:lnTo>
                  <a:pt x="652" y="1943"/>
                </a:lnTo>
                <a:lnTo>
                  <a:pt x="673" y="1953"/>
                </a:lnTo>
                <a:lnTo>
                  <a:pt x="695" y="1963"/>
                </a:lnTo>
                <a:lnTo>
                  <a:pt x="717" y="1972"/>
                </a:lnTo>
                <a:lnTo>
                  <a:pt x="739" y="1980"/>
                </a:lnTo>
                <a:lnTo>
                  <a:pt x="761" y="1988"/>
                </a:lnTo>
                <a:lnTo>
                  <a:pt x="784" y="1996"/>
                </a:lnTo>
                <a:lnTo>
                  <a:pt x="806" y="2002"/>
                </a:lnTo>
                <a:lnTo>
                  <a:pt x="830" y="2008"/>
                </a:lnTo>
                <a:lnTo>
                  <a:pt x="853" y="2014"/>
                </a:lnTo>
                <a:lnTo>
                  <a:pt x="876" y="2019"/>
                </a:lnTo>
                <a:lnTo>
                  <a:pt x="901" y="2024"/>
                </a:lnTo>
                <a:lnTo>
                  <a:pt x="924" y="2027"/>
                </a:lnTo>
                <a:lnTo>
                  <a:pt x="948" y="2031"/>
                </a:lnTo>
                <a:lnTo>
                  <a:pt x="973" y="2034"/>
                </a:lnTo>
                <a:lnTo>
                  <a:pt x="997" y="2036"/>
                </a:lnTo>
                <a:lnTo>
                  <a:pt x="1021" y="2037"/>
                </a:lnTo>
                <a:lnTo>
                  <a:pt x="1046" y="2038"/>
                </a:lnTo>
                <a:lnTo>
                  <a:pt x="1072" y="2038"/>
                </a:lnTo>
                <a:lnTo>
                  <a:pt x="1096" y="2038"/>
                </a:lnTo>
                <a:lnTo>
                  <a:pt x="1121" y="2037"/>
                </a:lnTo>
                <a:lnTo>
                  <a:pt x="1146" y="2036"/>
                </a:lnTo>
                <a:lnTo>
                  <a:pt x="1170" y="2034"/>
                </a:lnTo>
                <a:lnTo>
                  <a:pt x="1194" y="2031"/>
                </a:lnTo>
                <a:lnTo>
                  <a:pt x="1218" y="2027"/>
                </a:lnTo>
                <a:lnTo>
                  <a:pt x="1243" y="2024"/>
                </a:lnTo>
                <a:lnTo>
                  <a:pt x="1266" y="2019"/>
                </a:lnTo>
                <a:lnTo>
                  <a:pt x="1290" y="2014"/>
                </a:lnTo>
                <a:lnTo>
                  <a:pt x="1313" y="2008"/>
                </a:lnTo>
                <a:lnTo>
                  <a:pt x="1336" y="2002"/>
                </a:lnTo>
                <a:lnTo>
                  <a:pt x="1359" y="1996"/>
                </a:lnTo>
                <a:lnTo>
                  <a:pt x="1381" y="1988"/>
                </a:lnTo>
                <a:lnTo>
                  <a:pt x="1404" y="1980"/>
                </a:lnTo>
                <a:lnTo>
                  <a:pt x="1426" y="1972"/>
                </a:lnTo>
                <a:lnTo>
                  <a:pt x="1448" y="1963"/>
                </a:lnTo>
                <a:lnTo>
                  <a:pt x="1469" y="1953"/>
                </a:lnTo>
                <a:lnTo>
                  <a:pt x="1490" y="1943"/>
                </a:lnTo>
                <a:lnTo>
                  <a:pt x="1512" y="1933"/>
                </a:lnTo>
                <a:lnTo>
                  <a:pt x="1532" y="1921"/>
                </a:lnTo>
                <a:lnTo>
                  <a:pt x="1552" y="1910"/>
                </a:lnTo>
                <a:lnTo>
                  <a:pt x="1572" y="1899"/>
                </a:lnTo>
                <a:lnTo>
                  <a:pt x="1593" y="1886"/>
                </a:lnTo>
                <a:lnTo>
                  <a:pt x="1612" y="1873"/>
                </a:lnTo>
                <a:lnTo>
                  <a:pt x="1631" y="1859"/>
                </a:lnTo>
                <a:lnTo>
                  <a:pt x="1650" y="1846"/>
                </a:lnTo>
                <a:lnTo>
                  <a:pt x="1668" y="1832"/>
                </a:lnTo>
                <a:lnTo>
                  <a:pt x="1686" y="1818"/>
                </a:lnTo>
                <a:lnTo>
                  <a:pt x="1704" y="1802"/>
                </a:lnTo>
                <a:lnTo>
                  <a:pt x="1721" y="1787"/>
                </a:lnTo>
                <a:lnTo>
                  <a:pt x="1739" y="1772"/>
                </a:lnTo>
                <a:lnTo>
                  <a:pt x="1755" y="1755"/>
                </a:lnTo>
                <a:lnTo>
                  <a:pt x="1772" y="1738"/>
                </a:lnTo>
                <a:lnTo>
                  <a:pt x="1787" y="1721"/>
                </a:lnTo>
                <a:lnTo>
                  <a:pt x="1803" y="1704"/>
                </a:lnTo>
                <a:lnTo>
                  <a:pt x="1818" y="1686"/>
                </a:lnTo>
                <a:lnTo>
                  <a:pt x="1832" y="1668"/>
                </a:lnTo>
                <a:lnTo>
                  <a:pt x="1846" y="1650"/>
                </a:lnTo>
                <a:lnTo>
                  <a:pt x="1861" y="1631"/>
                </a:lnTo>
                <a:lnTo>
                  <a:pt x="1873" y="1612"/>
                </a:lnTo>
                <a:lnTo>
                  <a:pt x="1886" y="1593"/>
                </a:lnTo>
                <a:lnTo>
                  <a:pt x="1899" y="1572"/>
                </a:lnTo>
                <a:lnTo>
                  <a:pt x="1910" y="1552"/>
                </a:lnTo>
                <a:lnTo>
                  <a:pt x="1922" y="1532"/>
                </a:lnTo>
                <a:lnTo>
                  <a:pt x="1933" y="1512"/>
                </a:lnTo>
                <a:lnTo>
                  <a:pt x="1944" y="1490"/>
                </a:lnTo>
                <a:lnTo>
                  <a:pt x="1953" y="1469"/>
                </a:lnTo>
                <a:lnTo>
                  <a:pt x="1963" y="1447"/>
                </a:lnTo>
                <a:lnTo>
                  <a:pt x="1972" y="1425"/>
                </a:lnTo>
                <a:lnTo>
                  <a:pt x="1980" y="1404"/>
                </a:lnTo>
                <a:lnTo>
                  <a:pt x="1988" y="1381"/>
                </a:lnTo>
                <a:lnTo>
                  <a:pt x="1996" y="1358"/>
                </a:lnTo>
                <a:lnTo>
                  <a:pt x="2002" y="1336"/>
                </a:lnTo>
                <a:lnTo>
                  <a:pt x="2008" y="1312"/>
                </a:lnTo>
                <a:lnTo>
                  <a:pt x="2014" y="1289"/>
                </a:lnTo>
                <a:lnTo>
                  <a:pt x="2019" y="1266"/>
                </a:lnTo>
                <a:lnTo>
                  <a:pt x="2024" y="1241"/>
                </a:lnTo>
                <a:lnTo>
                  <a:pt x="2028" y="1218"/>
                </a:lnTo>
                <a:lnTo>
                  <a:pt x="2032" y="1194"/>
                </a:lnTo>
                <a:lnTo>
                  <a:pt x="2034" y="1169"/>
                </a:lnTo>
                <a:lnTo>
                  <a:pt x="2036" y="1146"/>
                </a:lnTo>
                <a:lnTo>
                  <a:pt x="2037" y="1121"/>
                </a:lnTo>
                <a:lnTo>
                  <a:pt x="2038" y="1096"/>
                </a:lnTo>
                <a:lnTo>
                  <a:pt x="2038" y="1070"/>
                </a:lnTo>
                <a:lnTo>
                  <a:pt x="2038" y="1046"/>
                </a:lnTo>
                <a:lnTo>
                  <a:pt x="2037" y="1021"/>
                </a:lnTo>
                <a:lnTo>
                  <a:pt x="2036" y="996"/>
                </a:lnTo>
                <a:lnTo>
                  <a:pt x="2034" y="972"/>
                </a:lnTo>
                <a:lnTo>
                  <a:pt x="2032" y="948"/>
                </a:lnTo>
                <a:lnTo>
                  <a:pt x="2028" y="924"/>
                </a:lnTo>
                <a:lnTo>
                  <a:pt x="2024" y="899"/>
                </a:lnTo>
                <a:lnTo>
                  <a:pt x="2019" y="876"/>
                </a:lnTo>
                <a:lnTo>
                  <a:pt x="2014" y="853"/>
                </a:lnTo>
                <a:lnTo>
                  <a:pt x="2008" y="829"/>
                </a:lnTo>
                <a:lnTo>
                  <a:pt x="2002" y="806"/>
                </a:lnTo>
                <a:lnTo>
                  <a:pt x="1996" y="783"/>
                </a:lnTo>
                <a:lnTo>
                  <a:pt x="1988" y="761"/>
                </a:lnTo>
                <a:lnTo>
                  <a:pt x="1980" y="738"/>
                </a:lnTo>
                <a:lnTo>
                  <a:pt x="1972" y="716"/>
                </a:lnTo>
                <a:lnTo>
                  <a:pt x="1963" y="694"/>
                </a:lnTo>
                <a:lnTo>
                  <a:pt x="1953" y="673"/>
                </a:lnTo>
                <a:lnTo>
                  <a:pt x="1944" y="652"/>
                </a:lnTo>
                <a:lnTo>
                  <a:pt x="1933" y="630"/>
                </a:lnTo>
                <a:lnTo>
                  <a:pt x="1922" y="610"/>
                </a:lnTo>
                <a:lnTo>
                  <a:pt x="1910" y="590"/>
                </a:lnTo>
                <a:lnTo>
                  <a:pt x="1899" y="569"/>
                </a:lnTo>
                <a:lnTo>
                  <a:pt x="1886" y="549"/>
                </a:lnTo>
                <a:lnTo>
                  <a:pt x="1873" y="530"/>
                </a:lnTo>
                <a:lnTo>
                  <a:pt x="1861" y="511"/>
                </a:lnTo>
                <a:lnTo>
                  <a:pt x="1846" y="492"/>
                </a:lnTo>
                <a:lnTo>
                  <a:pt x="1832" y="474"/>
                </a:lnTo>
                <a:lnTo>
                  <a:pt x="1818" y="456"/>
                </a:lnTo>
                <a:lnTo>
                  <a:pt x="1803" y="438"/>
                </a:lnTo>
                <a:lnTo>
                  <a:pt x="1787" y="421"/>
                </a:lnTo>
                <a:lnTo>
                  <a:pt x="1772" y="403"/>
                </a:lnTo>
                <a:lnTo>
                  <a:pt x="1755" y="387"/>
                </a:lnTo>
                <a:lnTo>
                  <a:pt x="1739" y="370"/>
                </a:lnTo>
                <a:lnTo>
                  <a:pt x="1721" y="354"/>
                </a:lnTo>
                <a:lnTo>
                  <a:pt x="1704" y="340"/>
                </a:lnTo>
                <a:lnTo>
                  <a:pt x="1686" y="324"/>
                </a:lnTo>
                <a:lnTo>
                  <a:pt x="1668" y="309"/>
                </a:lnTo>
                <a:lnTo>
                  <a:pt x="1650" y="296"/>
                </a:lnTo>
                <a:lnTo>
                  <a:pt x="1631" y="281"/>
                </a:lnTo>
                <a:lnTo>
                  <a:pt x="1612" y="269"/>
                </a:lnTo>
                <a:lnTo>
                  <a:pt x="1593" y="255"/>
                </a:lnTo>
                <a:lnTo>
                  <a:pt x="1572" y="243"/>
                </a:lnTo>
                <a:lnTo>
                  <a:pt x="1552" y="232"/>
                </a:lnTo>
                <a:lnTo>
                  <a:pt x="1532" y="219"/>
                </a:lnTo>
                <a:lnTo>
                  <a:pt x="1512" y="209"/>
                </a:lnTo>
                <a:lnTo>
                  <a:pt x="1490" y="198"/>
                </a:lnTo>
                <a:lnTo>
                  <a:pt x="1469" y="189"/>
                </a:lnTo>
                <a:lnTo>
                  <a:pt x="1448" y="179"/>
                </a:lnTo>
                <a:lnTo>
                  <a:pt x="1426" y="170"/>
                </a:lnTo>
                <a:lnTo>
                  <a:pt x="1404" y="162"/>
                </a:lnTo>
                <a:lnTo>
                  <a:pt x="1381" y="154"/>
                </a:lnTo>
                <a:lnTo>
                  <a:pt x="1359" y="146"/>
                </a:lnTo>
                <a:lnTo>
                  <a:pt x="1336" y="139"/>
                </a:lnTo>
                <a:lnTo>
                  <a:pt x="1313" y="134"/>
                </a:lnTo>
                <a:lnTo>
                  <a:pt x="1290" y="128"/>
                </a:lnTo>
                <a:lnTo>
                  <a:pt x="1266" y="122"/>
                </a:lnTo>
                <a:lnTo>
                  <a:pt x="1243" y="118"/>
                </a:lnTo>
                <a:lnTo>
                  <a:pt x="1218" y="113"/>
                </a:lnTo>
                <a:lnTo>
                  <a:pt x="1194" y="110"/>
                </a:lnTo>
                <a:lnTo>
                  <a:pt x="1170" y="108"/>
                </a:lnTo>
                <a:lnTo>
                  <a:pt x="1146" y="106"/>
                </a:lnTo>
                <a:lnTo>
                  <a:pt x="1121" y="104"/>
                </a:lnTo>
                <a:lnTo>
                  <a:pt x="1096" y="103"/>
                </a:lnTo>
                <a:lnTo>
                  <a:pt x="1072" y="103"/>
                </a:lnTo>
                <a:close/>
              </a:path>
            </a:pathLst>
          </a:cu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18" name="Oval 17">
            <a:hlinkClick r:id="" action="ppaction://noaction"/>
            <a:extLst>
              <a:ext uri="{FF2B5EF4-FFF2-40B4-BE49-F238E27FC236}">
                <a16:creationId xmlns:a16="http://schemas.microsoft.com/office/drawing/2014/main" id="{14C2B485-7A59-4334-8D66-20511073CE45}"/>
              </a:ext>
            </a:extLst>
          </p:cNvPr>
          <p:cNvSpPr>
            <a:spLocks noChangeAspect="1"/>
          </p:cNvSpPr>
          <p:nvPr/>
        </p:nvSpPr>
        <p:spPr>
          <a:xfrm>
            <a:off x="40721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Oval 21">
            <a:hlinkClick r:id="" action="ppaction://noaction"/>
            <a:extLst>
              <a:ext uri="{FF2B5EF4-FFF2-40B4-BE49-F238E27FC236}">
                <a16:creationId xmlns:a16="http://schemas.microsoft.com/office/drawing/2014/main" id="{28E666A6-49C5-4E7B-B112-4B8F5EF1C64A}"/>
              </a:ext>
            </a:extLst>
          </p:cNvPr>
          <p:cNvSpPr>
            <a:spLocks noChangeAspect="1"/>
          </p:cNvSpPr>
          <p:nvPr/>
        </p:nvSpPr>
        <p:spPr>
          <a:xfrm>
            <a:off x="551230" y="89377"/>
            <a:ext cx="108000" cy="108000"/>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Oval 22">
            <a:hlinkClick r:id="" action="ppaction://noaction"/>
            <a:extLst>
              <a:ext uri="{FF2B5EF4-FFF2-40B4-BE49-F238E27FC236}">
                <a16:creationId xmlns:a16="http://schemas.microsoft.com/office/drawing/2014/main" id="{CB0FF611-6F42-4D91-810B-76D117556EF1}"/>
              </a:ext>
            </a:extLst>
          </p:cNvPr>
          <p:cNvSpPr>
            <a:spLocks noChangeAspect="1"/>
          </p:cNvSpPr>
          <p:nvPr/>
        </p:nvSpPr>
        <p:spPr>
          <a:xfrm>
            <a:off x="69525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Oval 23">
            <a:hlinkClick r:id="" action="ppaction://noaction"/>
            <a:extLst>
              <a:ext uri="{FF2B5EF4-FFF2-40B4-BE49-F238E27FC236}">
                <a16:creationId xmlns:a16="http://schemas.microsoft.com/office/drawing/2014/main" id="{A9134E3D-20ED-4B7E-A7DA-096D0A29B07D}"/>
              </a:ext>
            </a:extLst>
          </p:cNvPr>
          <p:cNvSpPr>
            <a:spLocks noChangeAspect="1"/>
          </p:cNvSpPr>
          <p:nvPr/>
        </p:nvSpPr>
        <p:spPr>
          <a:xfrm>
            <a:off x="83927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hlinkClick r:id="" action="ppaction://noaction"/>
            <a:extLst>
              <a:ext uri="{FF2B5EF4-FFF2-40B4-BE49-F238E27FC236}">
                <a16:creationId xmlns:a16="http://schemas.microsoft.com/office/drawing/2014/main" id="{624F5CE6-5758-4252-84E7-8792DDCD2842}"/>
              </a:ext>
            </a:extLst>
          </p:cNvPr>
          <p:cNvSpPr>
            <a:spLocks noChangeAspect="1"/>
          </p:cNvSpPr>
          <p:nvPr/>
        </p:nvSpPr>
        <p:spPr>
          <a:xfrm>
            <a:off x="98329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C08CEB36-8951-4CB8-9664-082A1C156834}"/>
              </a:ext>
            </a:extLst>
          </p:cNvPr>
          <p:cNvSpPr txBox="1"/>
          <p:nvPr/>
        </p:nvSpPr>
        <p:spPr>
          <a:xfrm>
            <a:off x="6581899" y="6324247"/>
            <a:ext cx="2040174" cy="261610"/>
          </a:xfrm>
          <a:prstGeom prst="rect">
            <a:avLst/>
          </a:prstGeom>
          <a:noFill/>
        </p:spPr>
        <p:txBody>
          <a:bodyPr wrap="square">
            <a:spAutoFit/>
          </a:bodyPr>
          <a:lstStyle/>
          <a:p>
            <a:r>
              <a:rPr lang="en-US" sz="1050" dirty="0">
                <a:solidFill>
                  <a:schemeClr val="bg2"/>
                </a:solidFill>
                <a:cs typeface="Arial"/>
              </a:rPr>
              <a:t>*during 3 years of </a:t>
            </a:r>
            <a:r>
              <a:rPr lang="en-US" sz="1000" dirty="0">
                <a:solidFill>
                  <a:schemeClr val="bg2"/>
                </a:solidFill>
                <a:cs typeface="Arial"/>
              </a:rPr>
              <a:t>service</a:t>
            </a:r>
            <a:endParaRPr lang="fi-FI" sz="1050" dirty="0">
              <a:solidFill>
                <a:schemeClr val="bg2"/>
              </a:solidFill>
            </a:endParaRPr>
          </a:p>
        </p:txBody>
      </p:sp>
    </p:spTree>
    <p:extLst>
      <p:ext uri="{BB962C8B-B14F-4D97-AF65-F5344CB8AC3E}">
        <p14:creationId xmlns:p14="http://schemas.microsoft.com/office/powerpoint/2010/main" val="315589341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E1E450B8-F6AD-7642-B9E2-B76AFFAF3FF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092042" y="0"/>
            <a:ext cx="6099958" cy="6858000"/>
          </a:xfrm>
          <a:prstGeom prst="rect">
            <a:avLst/>
          </a:prstGeom>
        </p:spPr>
      </p:pic>
      <p:sp>
        <p:nvSpPr>
          <p:cNvPr id="2" name="Date Placeholder 1">
            <a:extLst>
              <a:ext uri="{FF2B5EF4-FFF2-40B4-BE49-F238E27FC236}">
                <a16:creationId xmlns:a16="http://schemas.microsoft.com/office/drawing/2014/main" id="{1A9C5DE3-A82E-4A1C-91D4-888FA5D45290}"/>
              </a:ext>
            </a:extLst>
          </p:cNvPr>
          <p:cNvSpPr>
            <a:spLocks noGrp="1"/>
          </p:cNvSpPr>
          <p:nvPr>
            <p:ph type="dt" sz="half" idx="10"/>
          </p:nvPr>
        </p:nvSpPr>
        <p:spPr/>
        <p:txBody>
          <a:bodyPr/>
          <a:lstStyle/>
          <a:p>
            <a:fld id="{79E9087F-8D29-4365-A1D1-C2092CC6B701}" type="datetime3">
              <a:rPr lang="en-US" noProof="0" smtClean="0"/>
              <a:t>13 April 2022</a:t>
            </a:fld>
            <a:endParaRPr lang="en-US" noProof="0"/>
          </a:p>
        </p:txBody>
      </p:sp>
      <p:sp>
        <p:nvSpPr>
          <p:cNvPr id="3" name="Footer Placeholder 2">
            <a:extLst>
              <a:ext uri="{FF2B5EF4-FFF2-40B4-BE49-F238E27FC236}">
                <a16:creationId xmlns:a16="http://schemas.microsoft.com/office/drawing/2014/main" id="{ECF69EFF-57E5-49A4-AC02-C59A4C7E184A}"/>
              </a:ext>
            </a:extLst>
          </p:cNvPr>
          <p:cNvSpPr>
            <a:spLocks noGrp="1"/>
          </p:cNvSpPr>
          <p:nvPr>
            <p:ph type="ftr" sz="quarter" idx="11"/>
          </p:nvPr>
        </p:nvSpPr>
        <p:spPr/>
        <p:txBody>
          <a:bodyPr/>
          <a:lstStyle/>
          <a:p>
            <a:r>
              <a:rPr lang="en-US" noProof="0">
                <a:solidFill>
                  <a:schemeClr val="bg1"/>
                </a:solidFill>
              </a:rPr>
              <a:t>Confidential  |  © KONE Corporation</a:t>
            </a:r>
          </a:p>
        </p:txBody>
      </p:sp>
      <p:sp>
        <p:nvSpPr>
          <p:cNvPr id="4" name="Slide Number Placeholder 3">
            <a:extLst>
              <a:ext uri="{FF2B5EF4-FFF2-40B4-BE49-F238E27FC236}">
                <a16:creationId xmlns:a16="http://schemas.microsoft.com/office/drawing/2014/main" id="{B209A3C4-6D6A-4562-BE01-FC5A9F74A5A6}"/>
              </a:ext>
            </a:extLst>
          </p:cNvPr>
          <p:cNvSpPr>
            <a:spLocks noGrp="1"/>
          </p:cNvSpPr>
          <p:nvPr>
            <p:ph type="sldNum" sz="quarter" idx="12"/>
          </p:nvPr>
        </p:nvSpPr>
        <p:spPr/>
        <p:txBody>
          <a:bodyPr/>
          <a:lstStyle/>
          <a:p>
            <a:fld id="{604FC64F-66B6-486E-8EFE-9FD96A66D16B}" type="slidenum">
              <a:rPr lang="en-US" noProof="0" smtClean="0"/>
              <a:pPr/>
              <a:t>8</a:t>
            </a:fld>
            <a:endParaRPr lang="en-US" noProof="0"/>
          </a:p>
        </p:txBody>
      </p:sp>
      <p:sp>
        <p:nvSpPr>
          <p:cNvPr id="5" name="Content Placeholder 4">
            <a:extLst>
              <a:ext uri="{FF2B5EF4-FFF2-40B4-BE49-F238E27FC236}">
                <a16:creationId xmlns:a16="http://schemas.microsoft.com/office/drawing/2014/main" id="{0E0EA915-A505-4C2A-B6F1-BC2990945D02}"/>
              </a:ext>
            </a:extLst>
          </p:cNvPr>
          <p:cNvSpPr>
            <a:spLocks noGrp="1"/>
          </p:cNvSpPr>
          <p:nvPr>
            <p:ph sz="quarter" idx="13"/>
          </p:nvPr>
        </p:nvSpPr>
        <p:spPr>
          <a:xfrm>
            <a:off x="407988" y="1476509"/>
            <a:ext cx="5149664" cy="2784163"/>
          </a:xfrm>
        </p:spPr>
        <p:txBody>
          <a:bodyPr vert="horz" lIns="0" tIns="0" rIns="0" bIns="0" rtlCol="0" anchor="t">
            <a:noAutofit/>
          </a:bodyPr>
          <a:lstStyle/>
          <a:p>
            <a:pPr marL="0" indent="0">
              <a:lnSpc>
                <a:spcPct val="100000"/>
              </a:lnSpc>
              <a:spcBef>
                <a:spcPts val="1200"/>
              </a:spcBef>
              <a:buNone/>
            </a:pPr>
            <a:r>
              <a:rPr lang="en-US" sz="1500" dirty="0">
                <a:cs typeface="Arial"/>
              </a:rPr>
              <a:t>With round-the-clock support and help from our expert team, you’ll never be left in the dark. Talk to our people whenever you need to or check the status of your elevators with data-driven insights, through interactive online reports, mobile notifications and seamless digital updates.</a:t>
            </a:r>
          </a:p>
          <a:p>
            <a:pPr marL="177800" indent="-177800">
              <a:lnSpc>
                <a:spcPct val="100000"/>
              </a:lnSpc>
              <a:spcBef>
                <a:spcPts val="1200"/>
              </a:spcBef>
            </a:pPr>
            <a:r>
              <a:rPr lang="en-US" sz="1500" dirty="0">
                <a:cs typeface="Arial"/>
              </a:rPr>
              <a:t>Online health reports in real-time </a:t>
            </a:r>
          </a:p>
          <a:p>
            <a:pPr marL="177800" indent="-177800">
              <a:lnSpc>
                <a:spcPct val="100000"/>
              </a:lnSpc>
              <a:spcBef>
                <a:spcPts val="1200"/>
              </a:spcBef>
            </a:pPr>
            <a:r>
              <a:rPr lang="en-US" sz="1500" dirty="0">
                <a:cs typeface="Arial"/>
              </a:rPr>
              <a:t>Instant notifications delivered to your phone</a:t>
            </a:r>
          </a:p>
          <a:p>
            <a:pPr marL="177800" indent="-177800">
              <a:lnSpc>
                <a:spcPct val="100000"/>
              </a:lnSpc>
              <a:spcBef>
                <a:spcPts val="1200"/>
              </a:spcBef>
            </a:pPr>
            <a:r>
              <a:rPr lang="en-US" sz="1500" dirty="0">
                <a:cs typeface="Arial"/>
              </a:rPr>
              <a:t>Around the clock in-person support from our customer call center </a:t>
            </a:r>
          </a:p>
          <a:p>
            <a:pPr marL="177800" indent="-177800">
              <a:lnSpc>
                <a:spcPct val="100000"/>
              </a:lnSpc>
              <a:spcBef>
                <a:spcPts val="1200"/>
              </a:spcBef>
            </a:pPr>
            <a:r>
              <a:rPr lang="en-US" sz="1500" dirty="0">
                <a:cs typeface="Arial"/>
              </a:rPr>
              <a:t>Easy digital communication through KONE Online or KONE Mobile </a:t>
            </a:r>
          </a:p>
          <a:p>
            <a:pPr marL="177800" indent="-177800">
              <a:lnSpc>
                <a:spcPct val="100000"/>
              </a:lnSpc>
              <a:spcBef>
                <a:spcPts val="1200"/>
              </a:spcBef>
            </a:pPr>
            <a:r>
              <a:rPr lang="en-US" sz="1500" dirty="0">
                <a:cs typeface="Arial"/>
              </a:rPr>
              <a:t>Experienced technicians on-hand for in person call-outs </a:t>
            </a:r>
          </a:p>
        </p:txBody>
      </p:sp>
      <p:sp>
        <p:nvSpPr>
          <p:cNvPr id="6" name="Title 5">
            <a:extLst>
              <a:ext uri="{FF2B5EF4-FFF2-40B4-BE49-F238E27FC236}">
                <a16:creationId xmlns:a16="http://schemas.microsoft.com/office/drawing/2014/main" id="{5B651ECF-CA61-43C9-B8A5-F5EC7D586EBE}"/>
              </a:ext>
            </a:extLst>
          </p:cNvPr>
          <p:cNvSpPr>
            <a:spLocks noGrp="1"/>
          </p:cNvSpPr>
          <p:nvPr>
            <p:ph type="title"/>
          </p:nvPr>
        </p:nvSpPr>
        <p:spPr>
          <a:xfrm>
            <a:off x="407988" y="725445"/>
            <a:ext cx="5161539" cy="863601"/>
          </a:xfrm>
        </p:spPr>
        <p:txBody>
          <a:bodyPr/>
          <a:lstStyle/>
          <a:p>
            <a:r>
              <a:rPr lang="en-US" dirty="0">
                <a:cs typeface="Arial"/>
              </a:rPr>
              <a:t>Support at your fingertips</a:t>
            </a:r>
          </a:p>
        </p:txBody>
      </p:sp>
      <p:grpSp>
        <p:nvGrpSpPr>
          <p:cNvPr id="10" name="Group 9">
            <a:extLst>
              <a:ext uri="{FF2B5EF4-FFF2-40B4-BE49-F238E27FC236}">
                <a16:creationId xmlns:a16="http://schemas.microsoft.com/office/drawing/2014/main" id="{F61DB673-FAF5-8F4D-BE5C-DC51985E4695}"/>
              </a:ext>
            </a:extLst>
          </p:cNvPr>
          <p:cNvGrpSpPr>
            <a:grpSpLocks noChangeAspect="1"/>
          </p:cNvGrpSpPr>
          <p:nvPr/>
        </p:nvGrpSpPr>
        <p:grpSpPr>
          <a:xfrm>
            <a:off x="11064013" y="404664"/>
            <a:ext cx="720000" cy="364398"/>
            <a:chOff x="3498850" y="2112963"/>
            <a:chExt cx="5197475" cy="2630487"/>
          </a:xfrm>
        </p:grpSpPr>
        <p:sp>
          <p:nvSpPr>
            <p:cNvPr id="11" name="Freeform 6">
              <a:extLst>
                <a:ext uri="{FF2B5EF4-FFF2-40B4-BE49-F238E27FC236}">
                  <a16:creationId xmlns:a16="http://schemas.microsoft.com/office/drawing/2014/main" id="{17D0A6AF-0189-6443-9DAE-08757B33F218}"/>
                </a:ext>
              </a:extLst>
            </p:cNvPr>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2" name="Freeform 7">
              <a:extLst>
                <a:ext uri="{FF2B5EF4-FFF2-40B4-BE49-F238E27FC236}">
                  <a16:creationId xmlns:a16="http://schemas.microsoft.com/office/drawing/2014/main" id="{AAC806EE-5015-964B-8BF1-BB88CA7D2E10}"/>
                </a:ext>
              </a:extLst>
            </p:cNvPr>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3" name="Title 5">
            <a:extLst>
              <a:ext uri="{FF2B5EF4-FFF2-40B4-BE49-F238E27FC236}">
                <a16:creationId xmlns:a16="http://schemas.microsoft.com/office/drawing/2014/main" id="{1055F4B9-3810-0242-8FF6-2D65C0D680BC}"/>
              </a:ext>
            </a:extLst>
          </p:cNvPr>
          <p:cNvSpPr txBox="1">
            <a:spLocks/>
          </p:cNvSpPr>
          <p:nvPr/>
        </p:nvSpPr>
        <p:spPr>
          <a:xfrm>
            <a:off x="443614" y="404812"/>
            <a:ext cx="4175887" cy="86360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a:lstStyle>
          <a:p>
            <a:r>
              <a:rPr lang="en-GB" sz="1600">
                <a:cs typeface="Arial"/>
              </a:rPr>
              <a:t>WHAT ARE THE BENEFITS?</a:t>
            </a:r>
          </a:p>
        </p:txBody>
      </p:sp>
      <p:sp>
        <p:nvSpPr>
          <p:cNvPr id="14" name="Content Placeholder 4">
            <a:extLst>
              <a:ext uri="{FF2B5EF4-FFF2-40B4-BE49-F238E27FC236}">
                <a16:creationId xmlns:a16="http://schemas.microsoft.com/office/drawing/2014/main" id="{6968790C-CB57-B146-B8FA-EAB7E1415E39}"/>
              </a:ext>
            </a:extLst>
          </p:cNvPr>
          <p:cNvSpPr txBox="1">
            <a:spLocks/>
          </p:cNvSpPr>
          <p:nvPr/>
        </p:nvSpPr>
        <p:spPr>
          <a:xfrm>
            <a:off x="1015340" y="5247906"/>
            <a:ext cx="4102925" cy="630382"/>
          </a:xfrm>
          <a:prstGeom prst="rect">
            <a:avLst/>
          </a:prstGeom>
        </p:spPr>
        <p:txBody>
          <a:bodyPr vert="horz" lIns="0" tIns="0" rIns="0" bIns="0" rtlCol="0" anchor="ctr">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indent="0">
              <a:lnSpc>
                <a:spcPct val="100000"/>
              </a:lnSpc>
              <a:spcBef>
                <a:spcPts val="1200"/>
              </a:spcBef>
              <a:buNone/>
            </a:pPr>
            <a:r>
              <a:rPr lang="en-GB" sz="1600" b="1">
                <a:solidFill>
                  <a:schemeClr val="tx2"/>
                </a:solidFill>
                <a:cs typeface="Arial"/>
              </a:rPr>
              <a:t>Around the clock support delivered in person and digitally</a:t>
            </a:r>
          </a:p>
        </p:txBody>
      </p:sp>
      <p:cxnSp>
        <p:nvCxnSpPr>
          <p:cNvPr id="16" name="Straight Connector 15">
            <a:extLst>
              <a:ext uri="{FF2B5EF4-FFF2-40B4-BE49-F238E27FC236}">
                <a16:creationId xmlns:a16="http://schemas.microsoft.com/office/drawing/2014/main" id="{8BC922D7-3716-2A45-A8FC-21C29858ABA9}"/>
              </a:ext>
            </a:extLst>
          </p:cNvPr>
          <p:cNvCxnSpPr/>
          <p:nvPr/>
        </p:nvCxnSpPr>
        <p:spPr>
          <a:xfrm>
            <a:off x="415636" y="5189517"/>
            <a:ext cx="44057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E7F67FB-8BE2-9F48-84EC-BA921EDE6EC8}"/>
              </a:ext>
            </a:extLst>
          </p:cNvPr>
          <p:cNvCxnSpPr/>
          <p:nvPr/>
        </p:nvCxnSpPr>
        <p:spPr>
          <a:xfrm>
            <a:off x="418605" y="5955475"/>
            <a:ext cx="44057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C85AF1FA-880E-C447-A902-91F77C63B8B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9161" y="5344885"/>
            <a:ext cx="437738" cy="437738"/>
          </a:xfrm>
          <a:prstGeom prst="rect">
            <a:avLst/>
          </a:prstGeom>
        </p:spPr>
      </p:pic>
      <p:sp>
        <p:nvSpPr>
          <p:cNvPr id="20" name="Freeform 9">
            <a:hlinkClick r:id="rId4" action="ppaction://hlinksldjump"/>
            <a:extLst>
              <a:ext uri="{FF2B5EF4-FFF2-40B4-BE49-F238E27FC236}">
                <a16:creationId xmlns:a16="http://schemas.microsoft.com/office/drawing/2014/main" id="{BB93DD4A-B4DF-472D-B4E5-C91DAE280BEA}"/>
              </a:ext>
            </a:extLst>
          </p:cNvPr>
          <p:cNvSpPr>
            <a:spLocks noChangeAspect="1" noEditPoints="1"/>
          </p:cNvSpPr>
          <p:nvPr/>
        </p:nvSpPr>
        <p:spPr bwMode="auto">
          <a:xfrm rot="10800000" flipV="1">
            <a:off x="191181" y="90916"/>
            <a:ext cx="108000" cy="108000"/>
          </a:xfrm>
          <a:custGeom>
            <a:avLst/>
            <a:gdLst>
              <a:gd name="T0" fmla="*/ 1082 w 2142"/>
              <a:gd name="T1" fmla="*/ 1607 h 2142"/>
              <a:gd name="T2" fmla="*/ 990 w 2142"/>
              <a:gd name="T3" fmla="*/ 1578 h 2142"/>
              <a:gd name="T4" fmla="*/ 494 w 2142"/>
              <a:gd name="T5" fmla="*/ 1025 h 2142"/>
              <a:gd name="T6" fmla="*/ 999 w 2142"/>
              <a:gd name="T7" fmla="*/ 1002 h 2142"/>
              <a:gd name="T8" fmla="*/ 1060 w 2142"/>
              <a:gd name="T9" fmla="*/ 534 h 2142"/>
              <a:gd name="T10" fmla="*/ 1153 w 2142"/>
              <a:gd name="T11" fmla="*/ 564 h 2142"/>
              <a:gd name="T12" fmla="*/ 1666 w 2142"/>
              <a:gd name="T13" fmla="*/ 1064 h 2142"/>
              <a:gd name="T14" fmla="*/ 1641 w 2142"/>
              <a:gd name="T15" fmla="*/ 1124 h 2142"/>
              <a:gd name="T16" fmla="*/ 539 w 2142"/>
              <a:gd name="T17" fmla="*/ 1140 h 2142"/>
              <a:gd name="T18" fmla="*/ 488 w 2142"/>
              <a:gd name="T19" fmla="*/ 1109 h 2142"/>
              <a:gd name="T20" fmla="*/ 988 w 2142"/>
              <a:gd name="T21" fmla="*/ 2139 h 2142"/>
              <a:gd name="T22" fmla="*/ 728 w 2142"/>
              <a:gd name="T23" fmla="*/ 2086 h 2142"/>
              <a:gd name="T24" fmla="*/ 494 w 2142"/>
              <a:gd name="T25" fmla="*/ 1973 h 2142"/>
              <a:gd name="T26" fmla="*/ 296 w 2142"/>
              <a:gd name="T27" fmla="*/ 1810 h 2142"/>
              <a:gd name="T28" fmla="*/ 142 w 2142"/>
              <a:gd name="T29" fmla="*/ 1604 h 2142"/>
              <a:gd name="T30" fmla="*/ 41 w 2142"/>
              <a:gd name="T31" fmla="*/ 1364 h 2142"/>
              <a:gd name="T32" fmla="*/ 0 w 2142"/>
              <a:gd name="T33" fmla="*/ 1098 h 2142"/>
              <a:gd name="T34" fmla="*/ 27 w 2142"/>
              <a:gd name="T35" fmla="*/ 829 h 2142"/>
              <a:gd name="T36" fmla="*/ 117 w 2142"/>
              <a:gd name="T37" fmla="*/ 584 h 2142"/>
              <a:gd name="T38" fmla="*/ 261 w 2142"/>
              <a:gd name="T39" fmla="*/ 370 h 2142"/>
              <a:gd name="T40" fmla="*/ 452 w 2142"/>
              <a:gd name="T41" fmla="*/ 198 h 2142"/>
              <a:gd name="T42" fmla="*/ 679 w 2142"/>
              <a:gd name="T43" fmla="*/ 74 h 2142"/>
              <a:gd name="T44" fmla="*/ 936 w 2142"/>
              <a:gd name="T45" fmla="*/ 8 h 2142"/>
              <a:gd name="T46" fmla="*/ 1208 w 2142"/>
              <a:gd name="T47" fmla="*/ 8 h 2142"/>
              <a:gd name="T48" fmla="*/ 1463 w 2142"/>
              <a:gd name="T49" fmla="*/ 74 h 2142"/>
              <a:gd name="T50" fmla="*/ 1691 w 2142"/>
              <a:gd name="T51" fmla="*/ 198 h 2142"/>
              <a:gd name="T52" fmla="*/ 1881 w 2142"/>
              <a:gd name="T53" fmla="*/ 370 h 2142"/>
              <a:gd name="T54" fmla="*/ 2025 w 2142"/>
              <a:gd name="T55" fmla="*/ 584 h 2142"/>
              <a:gd name="T56" fmla="*/ 2115 w 2142"/>
              <a:gd name="T57" fmla="*/ 829 h 2142"/>
              <a:gd name="T58" fmla="*/ 2142 w 2142"/>
              <a:gd name="T59" fmla="*/ 1098 h 2142"/>
              <a:gd name="T60" fmla="*/ 2101 w 2142"/>
              <a:gd name="T61" fmla="*/ 1364 h 2142"/>
              <a:gd name="T62" fmla="*/ 2000 w 2142"/>
              <a:gd name="T63" fmla="*/ 1604 h 2142"/>
              <a:gd name="T64" fmla="*/ 1846 w 2142"/>
              <a:gd name="T65" fmla="*/ 1810 h 2142"/>
              <a:gd name="T66" fmla="*/ 1648 w 2142"/>
              <a:gd name="T67" fmla="*/ 1973 h 2142"/>
              <a:gd name="T68" fmla="*/ 1414 w 2142"/>
              <a:gd name="T69" fmla="*/ 2086 h 2142"/>
              <a:gd name="T70" fmla="*/ 1154 w 2142"/>
              <a:gd name="T71" fmla="*/ 2139 h 2142"/>
              <a:gd name="T72" fmla="*/ 924 w 2142"/>
              <a:gd name="T73" fmla="*/ 113 h 2142"/>
              <a:gd name="T74" fmla="*/ 695 w 2142"/>
              <a:gd name="T75" fmla="*/ 179 h 2142"/>
              <a:gd name="T76" fmla="*/ 492 w 2142"/>
              <a:gd name="T77" fmla="*/ 296 h 2142"/>
              <a:gd name="T78" fmla="*/ 324 w 2142"/>
              <a:gd name="T79" fmla="*/ 456 h 2142"/>
              <a:gd name="T80" fmla="*/ 200 w 2142"/>
              <a:gd name="T81" fmla="*/ 652 h 2142"/>
              <a:gd name="T82" fmla="*/ 123 w 2142"/>
              <a:gd name="T83" fmla="*/ 876 h 2142"/>
              <a:gd name="T84" fmla="*/ 105 w 2142"/>
              <a:gd name="T85" fmla="*/ 1121 h 2142"/>
              <a:gd name="T86" fmla="*/ 147 w 2142"/>
              <a:gd name="T87" fmla="*/ 1358 h 2142"/>
              <a:gd name="T88" fmla="*/ 243 w 2142"/>
              <a:gd name="T89" fmla="*/ 1572 h 2142"/>
              <a:gd name="T90" fmla="*/ 388 w 2142"/>
              <a:gd name="T91" fmla="*/ 1755 h 2142"/>
              <a:gd name="T92" fmla="*/ 570 w 2142"/>
              <a:gd name="T93" fmla="*/ 1899 h 2142"/>
              <a:gd name="T94" fmla="*/ 784 w 2142"/>
              <a:gd name="T95" fmla="*/ 1996 h 2142"/>
              <a:gd name="T96" fmla="*/ 1021 w 2142"/>
              <a:gd name="T97" fmla="*/ 2037 h 2142"/>
              <a:gd name="T98" fmla="*/ 1266 w 2142"/>
              <a:gd name="T99" fmla="*/ 2019 h 2142"/>
              <a:gd name="T100" fmla="*/ 1490 w 2142"/>
              <a:gd name="T101" fmla="*/ 1943 h 2142"/>
              <a:gd name="T102" fmla="*/ 1686 w 2142"/>
              <a:gd name="T103" fmla="*/ 1818 h 2142"/>
              <a:gd name="T104" fmla="*/ 1846 w 2142"/>
              <a:gd name="T105" fmla="*/ 1650 h 2142"/>
              <a:gd name="T106" fmla="*/ 1963 w 2142"/>
              <a:gd name="T107" fmla="*/ 1447 h 2142"/>
              <a:gd name="T108" fmla="*/ 2028 w 2142"/>
              <a:gd name="T109" fmla="*/ 1218 h 2142"/>
              <a:gd name="T110" fmla="*/ 2034 w 2142"/>
              <a:gd name="T111" fmla="*/ 972 h 2142"/>
              <a:gd name="T112" fmla="*/ 1980 w 2142"/>
              <a:gd name="T113" fmla="*/ 738 h 2142"/>
              <a:gd name="T114" fmla="*/ 1873 w 2142"/>
              <a:gd name="T115" fmla="*/ 530 h 2142"/>
              <a:gd name="T116" fmla="*/ 1721 w 2142"/>
              <a:gd name="T117" fmla="*/ 354 h 2142"/>
              <a:gd name="T118" fmla="*/ 1532 w 2142"/>
              <a:gd name="T119" fmla="*/ 219 h 2142"/>
              <a:gd name="T120" fmla="*/ 1313 w 2142"/>
              <a:gd name="T121" fmla="*/ 134 h 2142"/>
              <a:gd name="T122" fmla="*/ 1072 w 2142"/>
              <a:gd name="T123" fmla="*/ 103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2" h="2142">
                <a:moveTo>
                  <a:pt x="1372" y="1210"/>
                </a:moveTo>
                <a:lnTo>
                  <a:pt x="1565" y="1210"/>
                </a:lnTo>
                <a:lnTo>
                  <a:pt x="1153" y="1578"/>
                </a:lnTo>
                <a:lnTo>
                  <a:pt x="1144" y="1585"/>
                </a:lnTo>
                <a:lnTo>
                  <a:pt x="1135" y="1590"/>
                </a:lnTo>
                <a:lnTo>
                  <a:pt x="1125" y="1596"/>
                </a:lnTo>
                <a:lnTo>
                  <a:pt x="1114" y="1601"/>
                </a:lnTo>
                <a:lnTo>
                  <a:pt x="1104" y="1604"/>
                </a:lnTo>
                <a:lnTo>
                  <a:pt x="1093" y="1606"/>
                </a:lnTo>
                <a:lnTo>
                  <a:pt x="1082" y="1607"/>
                </a:lnTo>
                <a:lnTo>
                  <a:pt x="1072" y="1608"/>
                </a:lnTo>
                <a:lnTo>
                  <a:pt x="1060" y="1607"/>
                </a:lnTo>
                <a:lnTo>
                  <a:pt x="1049" y="1606"/>
                </a:lnTo>
                <a:lnTo>
                  <a:pt x="1039" y="1604"/>
                </a:lnTo>
                <a:lnTo>
                  <a:pt x="1033" y="1603"/>
                </a:lnTo>
                <a:lnTo>
                  <a:pt x="1028" y="1601"/>
                </a:lnTo>
                <a:lnTo>
                  <a:pt x="1018" y="1596"/>
                </a:lnTo>
                <a:lnTo>
                  <a:pt x="1009" y="1590"/>
                </a:lnTo>
                <a:lnTo>
                  <a:pt x="999" y="1585"/>
                </a:lnTo>
                <a:lnTo>
                  <a:pt x="990" y="1578"/>
                </a:lnTo>
                <a:lnTo>
                  <a:pt x="975" y="1564"/>
                </a:lnTo>
                <a:lnTo>
                  <a:pt x="1372" y="1210"/>
                </a:lnTo>
                <a:close/>
                <a:moveTo>
                  <a:pt x="476" y="1070"/>
                </a:moveTo>
                <a:lnTo>
                  <a:pt x="478" y="1064"/>
                </a:lnTo>
                <a:lnTo>
                  <a:pt x="479" y="1056"/>
                </a:lnTo>
                <a:lnTo>
                  <a:pt x="481" y="1049"/>
                </a:lnTo>
                <a:lnTo>
                  <a:pt x="484" y="1042"/>
                </a:lnTo>
                <a:lnTo>
                  <a:pt x="487" y="1035"/>
                </a:lnTo>
                <a:lnTo>
                  <a:pt x="491" y="1030"/>
                </a:lnTo>
                <a:lnTo>
                  <a:pt x="494" y="1025"/>
                </a:lnTo>
                <a:lnTo>
                  <a:pt x="499" y="1020"/>
                </a:lnTo>
                <a:lnTo>
                  <a:pt x="505" y="1016"/>
                </a:lnTo>
                <a:lnTo>
                  <a:pt x="509" y="1012"/>
                </a:lnTo>
                <a:lnTo>
                  <a:pt x="515" y="1008"/>
                </a:lnTo>
                <a:lnTo>
                  <a:pt x="520" y="1006"/>
                </a:lnTo>
                <a:lnTo>
                  <a:pt x="527" y="1004"/>
                </a:lnTo>
                <a:lnTo>
                  <a:pt x="533" y="1003"/>
                </a:lnTo>
                <a:lnTo>
                  <a:pt x="539" y="1002"/>
                </a:lnTo>
                <a:lnTo>
                  <a:pt x="546" y="1002"/>
                </a:lnTo>
                <a:lnTo>
                  <a:pt x="999" y="1002"/>
                </a:lnTo>
                <a:lnTo>
                  <a:pt x="1451" y="1002"/>
                </a:lnTo>
                <a:lnTo>
                  <a:pt x="975" y="577"/>
                </a:lnTo>
                <a:lnTo>
                  <a:pt x="990" y="564"/>
                </a:lnTo>
                <a:lnTo>
                  <a:pt x="999" y="557"/>
                </a:lnTo>
                <a:lnTo>
                  <a:pt x="1009" y="550"/>
                </a:lnTo>
                <a:lnTo>
                  <a:pt x="1018" y="546"/>
                </a:lnTo>
                <a:lnTo>
                  <a:pt x="1028" y="541"/>
                </a:lnTo>
                <a:lnTo>
                  <a:pt x="1039" y="538"/>
                </a:lnTo>
                <a:lnTo>
                  <a:pt x="1049" y="536"/>
                </a:lnTo>
                <a:lnTo>
                  <a:pt x="1060" y="534"/>
                </a:lnTo>
                <a:lnTo>
                  <a:pt x="1072" y="533"/>
                </a:lnTo>
                <a:lnTo>
                  <a:pt x="1082" y="534"/>
                </a:lnTo>
                <a:lnTo>
                  <a:pt x="1093" y="536"/>
                </a:lnTo>
                <a:lnTo>
                  <a:pt x="1104" y="538"/>
                </a:lnTo>
                <a:lnTo>
                  <a:pt x="1109" y="539"/>
                </a:lnTo>
                <a:lnTo>
                  <a:pt x="1114" y="541"/>
                </a:lnTo>
                <a:lnTo>
                  <a:pt x="1125" y="546"/>
                </a:lnTo>
                <a:lnTo>
                  <a:pt x="1135" y="550"/>
                </a:lnTo>
                <a:lnTo>
                  <a:pt x="1144" y="557"/>
                </a:lnTo>
                <a:lnTo>
                  <a:pt x="1153" y="564"/>
                </a:lnTo>
                <a:lnTo>
                  <a:pt x="1629" y="988"/>
                </a:lnTo>
                <a:lnTo>
                  <a:pt x="1637" y="996"/>
                </a:lnTo>
                <a:lnTo>
                  <a:pt x="1643" y="1004"/>
                </a:lnTo>
                <a:lnTo>
                  <a:pt x="1650" y="1013"/>
                </a:lnTo>
                <a:lnTo>
                  <a:pt x="1655" y="1023"/>
                </a:lnTo>
                <a:lnTo>
                  <a:pt x="1657" y="1028"/>
                </a:lnTo>
                <a:lnTo>
                  <a:pt x="1659" y="1032"/>
                </a:lnTo>
                <a:lnTo>
                  <a:pt x="1662" y="1042"/>
                </a:lnTo>
                <a:lnTo>
                  <a:pt x="1665" y="1053"/>
                </a:lnTo>
                <a:lnTo>
                  <a:pt x="1666" y="1064"/>
                </a:lnTo>
                <a:lnTo>
                  <a:pt x="1666" y="1071"/>
                </a:lnTo>
                <a:lnTo>
                  <a:pt x="1665" y="1080"/>
                </a:lnTo>
                <a:lnTo>
                  <a:pt x="1664" y="1087"/>
                </a:lnTo>
                <a:lnTo>
                  <a:pt x="1661" y="1095"/>
                </a:lnTo>
                <a:lnTo>
                  <a:pt x="1658" y="1102"/>
                </a:lnTo>
                <a:lnTo>
                  <a:pt x="1655" y="1109"/>
                </a:lnTo>
                <a:lnTo>
                  <a:pt x="1650" y="1114"/>
                </a:lnTo>
                <a:lnTo>
                  <a:pt x="1646" y="1120"/>
                </a:lnTo>
                <a:lnTo>
                  <a:pt x="1643" y="1122"/>
                </a:lnTo>
                <a:lnTo>
                  <a:pt x="1641" y="1124"/>
                </a:lnTo>
                <a:lnTo>
                  <a:pt x="1635" y="1129"/>
                </a:lnTo>
                <a:lnTo>
                  <a:pt x="1630" y="1132"/>
                </a:lnTo>
                <a:lnTo>
                  <a:pt x="1624" y="1136"/>
                </a:lnTo>
                <a:lnTo>
                  <a:pt x="1617" y="1138"/>
                </a:lnTo>
                <a:lnTo>
                  <a:pt x="1611" y="1139"/>
                </a:lnTo>
                <a:lnTo>
                  <a:pt x="1604" y="1140"/>
                </a:lnTo>
                <a:lnTo>
                  <a:pt x="1596" y="1141"/>
                </a:lnTo>
                <a:lnTo>
                  <a:pt x="1071" y="1141"/>
                </a:lnTo>
                <a:lnTo>
                  <a:pt x="546" y="1141"/>
                </a:lnTo>
                <a:lnTo>
                  <a:pt x="539" y="1140"/>
                </a:lnTo>
                <a:lnTo>
                  <a:pt x="533" y="1139"/>
                </a:lnTo>
                <a:lnTo>
                  <a:pt x="527" y="1138"/>
                </a:lnTo>
                <a:lnTo>
                  <a:pt x="520" y="1136"/>
                </a:lnTo>
                <a:lnTo>
                  <a:pt x="515" y="1133"/>
                </a:lnTo>
                <a:lnTo>
                  <a:pt x="509" y="1130"/>
                </a:lnTo>
                <a:lnTo>
                  <a:pt x="505" y="1127"/>
                </a:lnTo>
                <a:lnTo>
                  <a:pt x="499" y="1122"/>
                </a:lnTo>
                <a:lnTo>
                  <a:pt x="494" y="1118"/>
                </a:lnTo>
                <a:lnTo>
                  <a:pt x="491" y="1113"/>
                </a:lnTo>
                <a:lnTo>
                  <a:pt x="488" y="1109"/>
                </a:lnTo>
                <a:lnTo>
                  <a:pt x="484" y="1103"/>
                </a:lnTo>
                <a:lnTo>
                  <a:pt x="481" y="1097"/>
                </a:lnTo>
                <a:lnTo>
                  <a:pt x="480" y="1091"/>
                </a:lnTo>
                <a:lnTo>
                  <a:pt x="478" y="1085"/>
                </a:lnTo>
                <a:lnTo>
                  <a:pt x="476" y="1078"/>
                </a:lnTo>
                <a:lnTo>
                  <a:pt x="476" y="1070"/>
                </a:lnTo>
                <a:close/>
                <a:moveTo>
                  <a:pt x="1072" y="2142"/>
                </a:moveTo>
                <a:lnTo>
                  <a:pt x="1044" y="2142"/>
                </a:lnTo>
                <a:lnTo>
                  <a:pt x="1017" y="2141"/>
                </a:lnTo>
                <a:lnTo>
                  <a:pt x="988" y="2139"/>
                </a:lnTo>
                <a:lnTo>
                  <a:pt x="961" y="2136"/>
                </a:lnTo>
                <a:lnTo>
                  <a:pt x="936" y="2133"/>
                </a:lnTo>
                <a:lnTo>
                  <a:pt x="909" y="2130"/>
                </a:lnTo>
                <a:lnTo>
                  <a:pt x="882" y="2125"/>
                </a:lnTo>
                <a:lnTo>
                  <a:pt x="856" y="2121"/>
                </a:lnTo>
                <a:lnTo>
                  <a:pt x="830" y="2115"/>
                </a:lnTo>
                <a:lnTo>
                  <a:pt x="804" y="2108"/>
                </a:lnTo>
                <a:lnTo>
                  <a:pt x="778" y="2101"/>
                </a:lnTo>
                <a:lnTo>
                  <a:pt x="753" y="2094"/>
                </a:lnTo>
                <a:lnTo>
                  <a:pt x="728" y="2086"/>
                </a:lnTo>
                <a:lnTo>
                  <a:pt x="704" y="2077"/>
                </a:lnTo>
                <a:lnTo>
                  <a:pt x="679" y="2068"/>
                </a:lnTo>
                <a:lnTo>
                  <a:pt x="654" y="2058"/>
                </a:lnTo>
                <a:lnTo>
                  <a:pt x="631" y="2047"/>
                </a:lnTo>
                <a:lnTo>
                  <a:pt x="607" y="2036"/>
                </a:lnTo>
                <a:lnTo>
                  <a:pt x="584" y="2025"/>
                </a:lnTo>
                <a:lnTo>
                  <a:pt x="561" y="2013"/>
                </a:lnTo>
                <a:lnTo>
                  <a:pt x="538" y="2000"/>
                </a:lnTo>
                <a:lnTo>
                  <a:pt x="516" y="1987"/>
                </a:lnTo>
                <a:lnTo>
                  <a:pt x="494" y="1973"/>
                </a:lnTo>
                <a:lnTo>
                  <a:pt x="473" y="1959"/>
                </a:lnTo>
                <a:lnTo>
                  <a:pt x="452" y="1944"/>
                </a:lnTo>
                <a:lnTo>
                  <a:pt x="431" y="1929"/>
                </a:lnTo>
                <a:lnTo>
                  <a:pt x="410" y="1913"/>
                </a:lnTo>
                <a:lnTo>
                  <a:pt x="391" y="1898"/>
                </a:lnTo>
                <a:lnTo>
                  <a:pt x="371" y="1881"/>
                </a:lnTo>
                <a:lnTo>
                  <a:pt x="351" y="1864"/>
                </a:lnTo>
                <a:lnTo>
                  <a:pt x="332" y="1846"/>
                </a:lnTo>
                <a:lnTo>
                  <a:pt x="314" y="1828"/>
                </a:lnTo>
                <a:lnTo>
                  <a:pt x="296" y="1810"/>
                </a:lnTo>
                <a:lnTo>
                  <a:pt x="278" y="1791"/>
                </a:lnTo>
                <a:lnTo>
                  <a:pt x="261" y="1772"/>
                </a:lnTo>
                <a:lnTo>
                  <a:pt x="245" y="1751"/>
                </a:lnTo>
                <a:lnTo>
                  <a:pt x="229" y="1732"/>
                </a:lnTo>
                <a:lnTo>
                  <a:pt x="213" y="1712"/>
                </a:lnTo>
                <a:lnTo>
                  <a:pt x="198" y="1691"/>
                </a:lnTo>
                <a:lnTo>
                  <a:pt x="184" y="1669"/>
                </a:lnTo>
                <a:lnTo>
                  <a:pt x="169" y="1648"/>
                </a:lnTo>
                <a:lnTo>
                  <a:pt x="156" y="1626"/>
                </a:lnTo>
                <a:lnTo>
                  <a:pt x="142" y="1604"/>
                </a:lnTo>
                <a:lnTo>
                  <a:pt x="130" y="1581"/>
                </a:lnTo>
                <a:lnTo>
                  <a:pt x="117" y="1558"/>
                </a:lnTo>
                <a:lnTo>
                  <a:pt x="106" y="1535"/>
                </a:lnTo>
                <a:lnTo>
                  <a:pt x="95" y="1512"/>
                </a:lnTo>
                <a:lnTo>
                  <a:pt x="85" y="1488"/>
                </a:lnTo>
                <a:lnTo>
                  <a:pt x="75" y="1463"/>
                </a:lnTo>
                <a:lnTo>
                  <a:pt x="66" y="1438"/>
                </a:lnTo>
                <a:lnTo>
                  <a:pt x="57" y="1414"/>
                </a:lnTo>
                <a:lnTo>
                  <a:pt x="49" y="1389"/>
                </a:lnTo>
                <a:lnTo>
                  <a:pt x="41" y="1364"/>
                </a:lnTo>
                <a:lnTo>
                  <a:pt x="34" y="1338"/>
                </a:lnTo>
                <a:lnTo>
                  <a:pt x="27" y="1312"/>
                </a:lnTo>
                <a:lnTo>
                  <a:pt x="22" y="1286"/>
                </a:lnTo>
                <a:lnTo>
                  <a:pt x="17" y="1261"/>
                </a:lnTo>
                <a:lnTo>
                  <a:pt x="13" y="1234"/>
                </a:lnTo>
                <a:lnTo>
                  <a:pt x="9" y="1208"/>
                </a:lnTo>
                <a:lnTo>
                  <a:pt x="6" y="1181"/>
                </a:lnTo>
                <a:lnTo>
                  <a:pt x="4" y="1154"/>
                </a:lnTo>
                <a:lnTo>
                  <a:pt x="2" y="1125"/>
                </a:lnTo>
                <a:lnTo>
                  <a:pt x="0" y="1098"/>
                </a:lnTo>
                <a:lnTo>
                  <a:pt x="0" y="1070"/>
                </a:lnTo>
                <a:lnTo>
                  <a:pt x="0" y="1043"/>
                </a:lnTo>
                <a:lnTo>
                  <a:pt x="2" y="1016"/>
                </a:lnTo>
                <a:lnTo>
                  <a:pt x="4" y="988"/>
                </a:lnTo>
                <a:lnTo>
                  <a:pt x="6" y="961"/>
                </a:lnTo>
                <a:lnTo>
                  <a:pt x="9" y="934"/>
                </a:lnTo>
                <a:lnTo>
                  <a:pt x="13" y="908"/>
                </a:lnTo>
                <a:lnTo>
                  <a:pt x="17" y="881"/>
                </a:lnTo>
                <a:lnTo>
                  <a:pt x="22" y="855"/>
                </a:lnTo>
                <a:lnTo>
                  <a:pt x="27" y="829"/>
                </a:lnTo>
                <a:lnTo>
                  <a:pt x="34" y="803"/>
                </a:lnTo>
                <a:lnTo>
                  <a:pt x="41" y="778"/>
                </a:lnTo>
                <a:lnTo>
                  <a:pt x="49" y="753"/>
                </a:lnTo>
                <a:lnTo>
                  <a:pt x="57" y="728"/>
                </a:lnTo>
                <a:lnTo>
                  <a:pt x="66" y="703"/>
                </a:lnTo>
                <a:lnTo>
                  <a:pt x="75" y="679"/>
                </a:lnTo>
                <a:lnTo>
                  <a:pt x="85" y="654"/>
                </a:lnTo>
                <a:lnTo>
                  <a:pt x="95" y="630"/>
                </a:lnTo>
                <a:lnTo>
                  <a:pt x="106" y="606"/>
                </a:lnTo>
                <a:lnTo>
                  <a:pt x="117" y="584"/>
                </a:lnTo>
                <a:lnTo>
                  <a:pt x="130" y="560"/>
                </a:lnTo>
                <a:lnTo>
                  <a:pt x="142" y="538"/>
                </a:lnTo>
                <a:lnTo>
                  <a:pt x="156" y="515"/>
                </a:lnTo>
                <a:lnTo>
                  <a:pt x="169" y="494"/>
                </a:lnTo>
                <a:lnTo>
                  <a:pt x="184" y="473"/>
                </a:lnTo>
                <a:lnTo>
                  <a:pt x="198" y="451"/>
                </a:lnTo>
                <a:lnTo>
                  <a:pt x="213" y="430"/>
                </a:lnTo>
                <a:lnTo>
                  <a:pt x="229" y="409"/>
                </a:lnTo>
                <a:lnTo>
                  <a:pt x="245" y="389"/>
                </a:lnTo>
                <a:lnTo>
                  <a:pt x="261" y="370"/>
                </a:lnTo>
                <a:lnTo>
                  <a:pt x="278" y="351"/>
                </a:lnTo>
                <a:lnTo>
                  <a:pt x="296" y="332"/>
                </a:lnTo>
                <a:lnTo>
                  <a:pt x="314" y="314"/>
                </a:lnTo>
                <a:lnTo>
                  <a:pt x="332" y="296"/>
                </a:lnTo>
                <a:lnTo>
                  <a:pt x="351" y="278"/>
                </a:lnTo>
                <a:lnTo>
                  <a:pt x="371" y="261"/>
                </a:lnTo>
                <a:lnTo>
                  <a:pt x="391" y="244"/>
                </a:lnTo>
                <a:lnTo>
                  <a:pt x="410" y="228"/>
                </a:lnTo>
                <a:lnTo>
                  <a:pt x="431" y="212"/>
                </a:lnTo>
                <a:lnTo>
                  <a:pt x="452" y="198"/>
                </a:lnTo>
                <a:lnTo>
                  <a:pt x="473" y="183"/>
                </a:lnTo>
                <a:lnTo>
                  <a:pt x="494" y="169"/>
                </a:lnTo>
                <a:lnTo>
                  <a:pt x="516" y="155"/>
                </a:lnTo>
                <a:lnTo>
                  <a:pt x="538" y="142"/>
                </a:lnTo>
                <a:lnTo>
                  <a:pt x="561" y="129"/>
                </a:lnTo>
                <a:lnTo>
                  <a:pt x="584" y="117"/>
                </a:lnTo>
                <a:lnTo>
                  <a:pt x="607" y="106"/>
                </a:lnTo>
                <a:lnTo>
                  <a:pt x="631" y="94"/>
                </a:lnTo>
                <a:lnTo>
                  <a:pt x="654" y="84"/>
                </a:lnTo>
                <a:lnTo>
                  <a:pt x="679" y="74"/>
                </a:lnTo>
                <a:lnTo>
                  <a:pt x="704" y="65"/>
                </a:lnTo>
                <a:lnTo>
                  <a:pt x="728" y="56"/>
                </a:lnTo>
                <a:lnTo>
                  <a:pt x="753" y="48"/>
                </a:lnTo>
                <a:lnTo>
                  <a:pt x="778" y="40"/>
                </a:lnTo>
                <a:lnTo>
                  <a:pt x="804" y="33"/>
                </a:lnTo>
                <a:lnTo>
                  <a:pt x="830" y="27"/>
                </a:lnTo>
                <a:lnTo>
                  <a:pt x="856" y="21"/>
                </a:lnTo>
                <a:lnTo>
                  <a:pt x="882" y="17"/>
                </a:lnTo>
                <a:lnTo>
                  <a:pt x="909" y="12"/>
                </a:lnTo>
                <a:lnTo>
                  <a:pt x="936" y="8"/>
                </a:lnTo>
                <a:lnTo>
                  <a:pt x="961" y="5"/>
                </a:lnTo>
                <a:lnTo>
                  <a:pt x="988" y="3"/>
                </a:lnTo>
                <a:lnTo>
                  <a:pt x="1017" y="1"/>
                </a:lnTo>
                <a:lnTo>
                  <a:pt x="1044" y="0"/>
                </a:lnTo>
                <a:lnTo>
                  <a:pt x="1072" y="0"/>
                </a:lnTo>
                <a:lnTo>
                  <a:pt x="1099" y="0"/>
                </a:lnTo>
                <a:lnTo>
                  <a:pt x="1126" y="1"/>
                </a:lnTo>
                <a:lnTo>
                  <a:pt x="1154" y="3"/>
                </a:lnTo>
                <a:lnTo>
                  <a:pt x="1181" y="5"/>
                </a:lnTo>
                <a:lnTo>
                  <a:pt x="1208" y="8"/>
                </a:lnTo>
                <a:lnTo>
                  <a:pt x="1234" y="12"/>
                </a:lnTo>
                <a:lnTo>
                  <a:pt x="1261" y="17"/>
                </a:lnTo>
                <a:lnTo>
                  <a:pt x="1287" y="21"/>
                </a:lnTo>
                <a:lnTo>
                  <a:pt x="1313" y="27"/>
                </a:lnTo>
                <a:lnTo>
                  <a:pt x="1338" y="33"/>
                </a:lnTo>
                <a:lnTo>
                  <a:pt x="1364" y="40"/>
                </a:lnTo>
                <a:lnTo>
                  <a:pt x="1389" y="48"/>
                </a:lnTo>
                <a:lnTo>
                  <a:pt x="1414" y="56"/>
                </a:lnTo>
                <a:lnTo>
                  <a:pt x="1439" y="65"/>
                </a:lnTo>
                <a:lnTo>
                  <a:pt x="1463" y="74"/>
                </a:lnTo>
                <a:lnTo>
                  <a:pt x="1488" y="84"/>
                </a:lnTo>
                <a:lnTo>
                  <a:pt x="1512" y="94"/>
                </a:lnTo>
                <a:lnTo>
                  <a:pt x="1535" y="106"/>
                </a:lnTo>
                <a:lnTo>
                  <a:pt x="1558" y="117"/>
                </a:lnTo>
                <a:lnTo>
                  <a:pt x="1581" y="129"/>
                </a:lnTo>
                <a:lnTo>
                  <a:pt x="1604" y="142"/>
                </a:lnTo>
                <a:lnTo>
                  <a:pt x="1626" y="155"/>
                </a:lnTo>
                <a:lnTo>
                  <a:pt x="1648" y="169"/>
                </a:lnTo>
                <a:lnTo>
                  <a:pt x="1669" y="183"/>
                </a:lnTo>
                <a:lnTo>
                  <a:pt x="1691" y="198"/>
                </a:lnTo>
                <a:lnTo>
                  <a:pt x="1712" y="212"/>
                </a:lnTo>
                <a:lnTo>
                  <a:pt x="1732" y="228"/>
                </a:lnTo>
                <a:lnTo>
                  <a:pt x="1753" y="244"/>
                </a:lnTo>
                <a:lnTo>
                  <a:pt x="1772" y="261"/>
                </a:lnTo>
                <a:lnTo>
                  <a:pt x="1791" y="278"/>
                </a:lnTo>
                <a:lnTo>
                  <a:pt x="1810" y="296"/>
                </a:lnTo>
                <a:lnTo>
                  <a:pt x="1828" y="314"/>
                </a:lnTo>
                <a:lnTo>
                  <a:pt x="1846" y="332"/>
                </a:lnTo>
                <a:lnTo>
                  <a:pt x="1864" y="351"/>
                </a:lnTo>
                <a:lnTo>
                  <a:pt x="1881" y="370"/>
                </a:lnTo>
                <a:lnTo>
                  <a:pt x="1898" y="389"/>
                </a:lnTo>
                <a:lnTo>
                  <a:pt x="1913" y="409"/>
                </a:lnTo>
                <a:lnTo>
                  <a:pt x="1929" y="430"/>
                </a:lnTo>
                <a:lnTo>
                  <a:pt x="1944" y="451"/>
                </a:lnTo>
                <a:lnTo>
                  <a:pt x="1958" y="473"/>
                </a:lnTo>
                <a:lnTo>
                  <a:pt x="1973" y="494"/>
                </a:lnTo>
                <a:lnTo>
                  <a:pt x="1987" y="515"/>
                </a:lnTo>
                <a:lnTo>
                  <a:pt x="2000" y="538"/>
                </a:lnTo>
                <a:lnTo>
                  <a:pt x="2012" y="560"/>
                </a:lnTo>
                <a:lnTo>
                  <a:pt x="2025" y="584"/>
                </a:lnTo>
                <a:lnTo>
                  <a:pt x="2036" y="606"/>
                </a:lnTo>
                <a:lnTo>
                  <a:pt x="2047" y="630"/>
                </a:lnTo>
                <a:lnTo>
                  <a:pt x="2057" y="654"/>
                </a:lnTo>
                <a:lnTo>
                  <a:pt x="2068" y="679"/>
                </a:lnTo>
                <a:lnTo>
                  <a:pt x="2077" y="703"/>
                </a:lnTo>
                <a:lnTo>
                  <a:pt x="2086" y="728"/>
                </a:lnTo>
                <a:lnTo>
                  <a:pt x="2093" y="753"/>
                </a:lnTo>
                <a:lnTo>
                  <a:pt x="2101" y="778"/>
                </a:lnTo>
                <a:lnTo>
                  <a:pt x="2108" y="803"/>
                </a:lnTo>
                <a:lnTo>
                  <a:pt x="2115" y="829"/>
                </a:lnTo>
                <a:lnTo>
                  <a:pt x="2121" y="855"/>
                </a:lnTo>
                <a:lnTo>
                  <a:pt x="2125" y="881"/>
                </a:lnTo>
                <a:lnTo>
                  <a:pt x="2130" y="908"/>
                </a:lnTo>
                <a:lnTo>
                  <a:pt x="2134" y="934"/>
                </a:lnTo>
                <a:lnTo>
                  <a:pt x="2136" y="961"/>
                </a:lnTo>
                <a:lnTo>
                  <a:pt x="2139" y="988"/>
                </a:lnTo>
                <a:lnTo>
                  <a:pt x="2141" y="1016"/>
                </a:lnTo>
                <a:lnTo>
                  <a:pt x="2142" y="1043"/>
                </a:lnTo>
                <a:lnTo>
                  <a:pt x="2142" y="1070"/>
                </a:lnTo>
                <a:lnTo>
                  <a:pt x="2142" y="1098"/>
                </a:lnTo>
                <a:lnTo>
                  <a:pt x="2141" y="1125"/>
                </a:lnTo>
                <a:lnTo>
                  <a:pt x="2139" y="1154"/>
                </a:lnTo>
                <a:lnTo>
                  <a:pt x="2136" y="1181"/>
                </a:lnTo>
                <a:lnTo>
                  <a:pt x="2134" y="1208"/>
                </a:lnTo>
                <a:lnTo>
                  <a:pt x="2130" y="1234"/>
                </a:lnTo>
                <a:lnTo>
                  <a:pt x="2125" y="1261"/>
                </a:lnTo>
                <a:lnTo>
                  <a:pt x="2121" y="1286"/>
                </a:lnTo>
                <a:lnTo>
                  <a:pt x="2115" y="1312"/>
                </a:lnTo>
                <a:lnTo>
                  <a:pt x="2108" y="1338"/>
                </a:lnTo>
                <a:lnTo>
                  <a:pt x="2101" y="1364"/>
                </a:lnTo>
                <a:lnTo>
                  <a:pt x="2093" y="1389"/>
                </a:lnTo>
                <a:lnTo>
                  <a:pt x="2086" y="1414"/>
                </a:lnTo>
                <a:lnTo>
                  <a:pt x="2077" y="1438"/>
                </a:lnTo>
                <a:lnTo>
                  <a:pt x="2068" y="1463"/>
                </a:lnTo>
                <a:lnTo>
                  <a:pt x="2057" y="1488"/>
                </a:lnTo>
                <a:lnTo>
                  <a:pt x="2047" y="1512"/>
                </a:lnTo>
                <a:lnTo>
                  <a:pt x="2036" y="1535"/>
                </a:lnTo>
                <a:lnTo>
                  <a:pt x="2025" y="1558"/>
                </a:lnTo>
                <a:lnTo>
                  <a:pt x="2012" y="1581"/>
                </a:lnTo>
                <a:lnTo>
                  <a:pt x="2000" y="1604"/>
                </a:lnTo>
                <a:lnTo>
                  <a:pt x="1987" y="1626"/>
                </a:lnTo>
                <a:lnTo>
                  <a:pt x="1973" y="1648"/>
                </a:lnTo>
                <a:lnTo>
                  <a:pt x="1958" y="1669"/>
                </a:lnTo>
                <a:lnTo>
                  <a:pt x="1944" y="1691"/>
                </a:lnTo>
                <a:lnTo>
                  <a:pt x="1929" y="1712"/>
                </a:lnTo>
                <a:lnTo>
                  <a:pt x="1913" y="1732"/>
                </a:lnTo>
                <a:lnTo>
                  <a:pt x="1898" y="1751"/>
                </a:lnTo>
                <a:lnTo>
                  <a:pt x="1881" y="1772"/>
                </a:lnTo>
                <a:lnTo>
                  <a:pt x="1864" y="1791"/>
                </a:lnTo>
                <a:lnTo>
                  <a:pt x="1846" y="1810"/>
                </a:lnTo>
                <a:lnTo>
                  <a:pt x="1828" y="1828"/>
                </a:lnTo>
                <a:lnTo>
                  <a:pt x="1810" y="1846"/>
                </a:lnTo>
                <a:lnTo>
                  <a:pt x="1791" y="1864"/>
                </a:lnTo>
                <a:lnTo>
                  <a:pt x="1772" y="1881"/>
                </a:lnTo>
                <a:lnTo>
                  <a:pt x="1753" y="1898"/>
                </a:lnTo>
                <a:lnTo>
                  <a:pt x="1732" y="1913"/>
                </a:lnTo>
                <a:lnTo>
                  <a:pt x="1712" y="1929"/>
                </a:lnTo>
                <a:lnTo>
                  <a:pt x="1691" y="1944"/>
                </a:lnTo>
                <a:lnTo>
                  <a:pt x="1669" y="1959"/>
                </a:lnTo>
                <a:lnTo>
                  <a:pt x="1648" y="1973"/>
                </a:lnTo>
                <a:lnTo>
                  <a:pt x="1626" y="1987"/>
                </a:lnTo>
                <a:lnTo>
                  <a:pt x="1604" y="2000"/>
                </a:lnTo>
                <a:lnTo>
                  <a:pt x="1581" y="2013"/>
                </a:lnTo>
                <a:lnTo>
                  <a:pt x="1558" y="2025"/>
                </a:lnTo>
                <a:lnTo>
                  <a:pt x="1535" y="2036"/>
                </a:lnTo>
                <a:lnTo>
                  <a:pt x="1512" y="2047"/>
                </a:lnTo>
                <a:lnTo>
                  <a:pt x="1488" y="2058"/>
                </a:lnTo>
                <a:lnTo>
                  <a:pt x="1463" y="2068"/>
                </a:lnTo>
                <a:lnTo>
                  <a:pt x="1439" y="2077"/>
                </a:lnTo>
                <a:lnTo>
                  <a:pt x="1414" y="2086"/>
                </a:lnTo>
                <a:lnTo>
                  <a:pt x="1389" y="2094"/>
                </a:lnTo>
                <a:lnTo>
                  <a:pt x="1364" y="2101"/>
                </a:lnTo>
                <a:lnTo>
                  <a:pt x="1338" y="2108"/>
                </a:lnTo>
                <a:lnTo>
                  <a:pt x="1313" y="2115"/>
                </a:lnTo>
                <a:lnTo>
                  <a:pt x="1287" y="2121"/>
                </a:lnTo>
                <a:lnTo>
                  <a:pt x="1261" y="2125"/>
                </a:lnTo>
                <a:lnTo>
                  <a:pt x="1234" y="2130"/>
                </a:lnTo>
                <a:lnTo>
                  <a:pt x="1208" y="2133"/>
                </a:lnTo>
                <a:lnTo>
                  <a:pt x="1181" y="2136"/>
                </a:lnTo>
                <a:lnTo>
                  <a:pt x="1154" y="2139"/>
                </a:lnTo>
                <a:lnTo>
                  <a:pt x="1126" y="2141"/>
                </a:lnTo>
                <a:lnTo>
                  <a:pt x="1099" y="2142"/>
                </a:lnTo>
                <a:lnTo>
                  <a:pt x="1072" y="2142"/>
                </a:lnTo>
                <a:close/>
                <a:moveTo>
                  <a:pt x="1072" y="103"/>
                </a:moveTo>
                <a:lnTo>
                  <a:pt x="1046" y="103"/>
                </a:lnTo>
                <a:lnTo>
                  <a:pt x="1021" y="104"/>
                </a:lnTo>
                <a:lnTo>
                  <a:pt x="997" y="106"/>
                </a:lnTo>
                <a:lnTo>
                  <a:pt x="973" y="108"/>
                </a:lnTo>
                <a:lnTo>
                  <a:pt x="948" y="110"/>
                </a:lnTo>
                <a:lnTo>
                  <a:pt x="924" y="113"/>
                </a:lnTo>
                <a:lnTo>
                  <a:pt x="901" y="118"/>
                </a:lnTo>
                <a:lnTo>
                  <a:pt x="876" y="122"/>
                </a:lnTo>
                <a:lnTo>
                  <a:pt x="853" y="128"/>
                </a:lnTo>
                <a:lnTo>
                  <a:pt x="830" y="134"/>
                </a:lnTo>
                <a:lnTo>
                  <a:pt x="806" y="139"/>
                </a:lnTo>
                <a:lnTo>
                  <a:pt x="784" y="146"/>
                </a:lnTo>
                <a:lnTo>
                  <a:pt x="761" y="154"/>
                </a:lnTo>
                <a:lnTo>
                  <a:pt x="739" y="162"/>
                </a:lnTo>
                <a:lnTo>
                  <a:pt x="717" y="170"/>
                </a:lnTo>
                <a:lnTo>
                  <a:pt x="695" y="179"/>
                </a:lnTo>
                <a:lnTo>
                  <a:pt x="673" y="189"/>
                </a:lnTo>
                <a:lnTo>
                  <a:pt x="652" y="198"/>
                </a:lnTo>
                <a:lnTo>
                  <a:pt x="631" y="209"/>
                </a:lnTo>
                <a:lnTo>
                  <a:pt x="610" y="219"/>
                </a:lnTo>
                <a:lnTo>
                  <a:pt x="590" y="232"/>
                </a:lnTo>
                <a:lnTo>
                  <a:pt x="570" y="243"/>
                </a:lnTo>
                <a:lnTo>
                  <a:pt x="550" y="255"/>
                </a:lnTo>
                <a:lnTo>
                  <a:pt x="530" y="269"/>
                </a:lnTo>
                <a:lnTo>
                  <a:pt x="511" y="281"/>
                </a:lnTo>
                <a:lnTo>
                  <a:pt x="492" y="296"/>
                </a:lnTo>
                <a:lnTo>
                  <a:pt x="474" y="309"/>
                </a:lnTo>
                <a:lnTo>
                  <a:pt x="456" y="324"/>
                </a:lnTo>
                <a:lnTo>
                  <a:pt x="438" y="340"/>
                </a:lnTo>
                <a:lnTo>
                  <a:pt x="421" y="354"/>
                </a:lnTo>
                <a:lnTo>
                  <a:pt x="404" y="370"/>
                </a:lnTo>
                <a:lnTo>
                  <a:pt x="388" y="387"/>
                </a:lnTo>
                <a:lnTo>
                  <a:pt x="371" y="403"/>
                </a:lnTo>
                <a:lnTo>
                  <a:pt x="355" y="421"/>
                </a:lnTo>
                <a:lnTo>
                  <a:pt x="340" y="438"/>
                </a:lnTo>
                <a:lnTo>
                  <a:pt x="324" y="456"/>
                </a:lnTo>
                <a:lnTo>
                  <a:pt x="310" y="474"/>
                </a:lnTo>
                <a:lnTo>
                  <a:pt x="296" y="492"/>
                </a:lnTo>
                <a:lnTo>
                  <a:pt x="283" y="511"/>
                </a:lnTo>
                <a:lnTo>
                  <a:pt x="269" y="530"/>
                </a:lnTo>
                <a:lnTo>
                  <a:pt x="256" y="549"/>
                </a:lnTo>
                <a:lnTo>
                  <a:pt x="243" y="569"/>
                </a:lnTo>
                <a:lnTo>
                  <a:pt x="232" y="590"/>
                </a:lnTo>
                <a:lnTo>
                  <a:pt x="221" y="610"/>
                </a:lnTo>
                <a:lnTo>
                  <a:pt x="210" y="630"/>
                </a:lnTo>
                <a:lnTo>
                  <a:pt x="200" y="652"/>
                </a:lnTo>
                <a:lnTo>
                  <a:pt x="189" y="673"/>
                </a:lnTo>
                <a:lnTo>
                  <a:pt x="179" y="694"/>
                </a:lnTo>
                <a:lnTo>
                  <a:pt x="170" y="716"/>
                </a:lnTo>
                <a:lnTo>
                  <a:pt x="162" y="738"/>
                </a:lnTo>
                <a:lnTo>
                  <a:pt x="155" y="761"/>
                </a:lnTo>
                <a:lnTo>
                  <a:pt x="147" y="783"/>
                </a:lnTo>
                <a:lnTo>
                  <a:pt x="140" y="806"/>
                </a:lnTo>
                <a:lnTo>
                  <a:pt x="134" y="829"/>
                </a:lnTo>
                <a:lnTo>
                  <a:pt x="129" y="853"/>
                </a:lnTo>
                <a:lnTo>
                  <a:pt x="123" y="876"/>
                </a:lnTo>
                <a:lnTo>
                  <a:pt x="119" y="899"/>
                </a:lnTo>
                <a:lnTo>
                  <a:pt x="115" y="924"/>
                </a:lnTo>
                <a:lnTo>
                  <a:pt x="112" y="948"/>
                </a:lnTo>
                <a:lnTo>
                  <a:pt x="108" y="972"/>
                </a:lnTo>
                <a:lnTo>
                  <a:pt x="106" y="996"/>
                </a:lnTo>
                <a:lnTo>
                  <a:pt x="105" y="1021"/>
                </a:lnTo>
                <a:lnTo>
                  <a:pt x="104" y="1046"/>
                </a:lnTo>
                <a:lnTo>
                  <a:pt x="104" y="1070"/>
                </a:lnTo>
                <a:lnTo>
                  <a:pt x="104" y="1096"/>
                </a:lnTo>
                <a:lnTo>
                  <a:pt x="105" y="1121"/>
                </a:lnTo>
                <a:lnTo>
                  <a:pt x="106" y="1146"/>
                </a:lnTo>
                <a:lnTo>
                  <a:pt x="108" y="1169"/>
                </a:lnTo>
                <a:lnTo>
                  <a:pt x="112" y="1194"/>
                </a:lnTo>
                <a:lnTo>
                  <a:pt x="115" y="1218"/>
                </a:lnTo>
                <a:lnTo>
                  <a:pt x="119" y="1241"/>
                </a:lnTo>
                <a:lnTo>
                  <a:pt x="123" y="1266"/>
                </a:lnTo>
                <a:lnTo>
                  <a:pt x="129" y="1289"/>
                </a:lnTo>
                <a:lnTo>
                  <a:pt x="134" y="1312"/>
                </a:lnTo>
                <a:lnTo>
                  <a:pt x="140" y="1336"/>
                </a:lnTo>
                <a:lnTo>
                  <a:pt x="147" y="1358"/>
                </a:lnTo>
                <a:lnTo>
                  <a:pt x="155" y="1381"/>
                </a:lnTo>
                <a:lnTo>
                  <a:pt x="162" y="1404"/>
                </a:lnTo>
                <a:lnTo>
                  <a:pt x="170" y="1425"/>
                </a:lnTo>
                <a:lnTo>
                  <a:pt x="179" y="1447"/>
                </a:lnTo>
                <a:lnTo>
                  <a:pt x="189" y="1469"/>
                </a:lnTo>
                <a:lnTo>
                  <a:pt x="200" y="1490"/>
                </a:lnTo>
                <a:lnTo>
                  <a:pt x="210" y="1512"/>
                </a:lnTo>
                <a:lnTo>
                  <a:pt x="221" y="1532"/>
                </a:lnTo>
                <a:lnTo>
                  <a:pt x="232" y="1552"/>
                </a:lnTo>
                <a:lnTo>
                  <a:pt x="243" y="1572"/>
                </a:lnTo>
                <a:lnTo>
                  <a:pt x="256" y="1593"/>
                </a:lnTo>
                <a:lnTo>
                  <a:pt x="269" y="1612"/>
                </a:lnTo>
                <a:lnTo>
                  <a:pt x="283" y="1631"/>
                </a:lnTo>
                <a:lnTo>
                  <a:pt x="296" y="1650"/>
                </a:lnTo>
                <a:lnTo>
                  <a:pt x="310" y="1668"/>
                </a:lnTo>
                <a:lnTo>
                  <a:pt x="324" y="1686"/>
                </a:lnTo>
                <a:lnTo>
                  <a:pt x="340" y="1704"/>
                </a:lnTo>
                <a:lnTo>
                  <a:pt x="355" y="1721"/>
                </a:lnTo>
                <a:lnTo>
                  <a:pt x="371" y="1738"/>
                </a:lnTo>
                <a:lnTo>
                  <a:pt x="388" y="1755"/>
                </a:lnTo>
                <a:lnTo>
                  <a:pt x="404" y="1772"/>
                </a:lnTo>
                <a:lnTo>
                  <a:pt x="421" y="1787"/>
                </a:lnTo>
                <a:lnTo>
                  <a:pt x="438" y="1802"/>
                </a:lnTo>
                <a:lnTo>
                  <a:pt x="456" y="1818"/>
                </a:lnTo>
                <a:lnTo>
                  <a:pt x="474" y="1832"/>
                </a:lnTo>
                <a:lnTo>
                  <a:pt x="492" y="1846"/>
                </a:lnTo>
                <a:lnTo>
                  <a:pt x="511" y="1859"/>
                </a:lnTo>
                <a:lnTo>
                  <a:pt x="530" y="1873"/>
                </a:lnTo>
                <a:lnTo>
                  <a:pt x="550" y="1886"/>
                </a:lnTo>
                <a:lnTo>
                  <a:pt x="570" y="1899"/>
                </a:lnTo>
                <a:lnTo>
                  <a:pt x="590" y="1910"/>
                </a:lnTo>
                <a:lnTo>
                  <a:pt x="610" y="1921"/>
                </a:lnTo>
                <a:lnTo>
                  <a:pt x="631" y="1933"/>
                </a:lnTo>
                <a:lnTo>
                  <a:pt x="652" y="1943"/>
                </a:lnTo>
                <a:lnTo>
                  <a:pt x="673" y="1953"/>
                </a:lnTo>
                <a:lnTo>
                  <a:pt x="695" y="1963"/>
                </a:lnTo>
                <a:lnTo>
                  <a:pt x="717" y="1972"/>
                </a:lnTo>
                <a:lnTo>
                  <a:pt x="739" y="1980"/>
                </a:lnTo>
                <a:lnTo>
                  <a:pt x="761" y="1988"/>
                </a:lnTo>
                <a:lnTo>
                  <a:pt x="784" y="1996"/>
                </a:lnTo>
                <a:lnTo>
                  <a:pt x="806" y="2002"/>
                </a:lnTo>
                <a:lnTo>
                  <a:pt x="830" y="2008"/>
                </a:lnTo>
                <a:lnTo>
                  <a:pt x="853" y="2014"/>
                </a:lnTo>
                <a:lnTo>
                  <a:pt x="876" y="2019"/>
                </a:lnTo>
                <a:lnTo>
                  <a:pt x="901" y="2024"/>
                </a:lnTo>
                <a:lnTo>
                  <a:pt x="924" y="2027"/>
                </a:lnTo>
                <a:lnTo>
                  <a:pt x="948" y="2031"/>
                </a:lnTo>
                <a:lnTo>
                  <a:pt x="973" y="2034"/>
                </a:lnTo>
                <a:lnTo>
                  <a:pt x="997" y="2036"/>
                </a:lnTo>
                <a:lnTo>
                  <a:pt x="1021" y="2037"/>
                </a:lnTo>
                <a:lnTo>
                  <a:pt x="1046" y="2038"/>
                </a:lnTo>
                <a:lnTo>
                  <a:pt x="1072" y="2038"/>
                </a:lnTo>
                <a:lnTo>
                  <a:pt x="1096" y="2038"/>
                </a:lnTo>
                <a:lnTo>
                  <a:pt x="1121" y="2037"/>
                </a:lnTo>
                <a:lnTo>
                  <a:pt x="1146" y="2036"/>
                </a:lnTo>
                <a:lnTo>
                  <a:pt x="1170" y="2034"/>
                </a:lnTo>
                <a:lnTo>
                  <a:pt x="1194" y="2031"/>
                </a:lnTo>
                <a:lnTo>
                  <a:pt x="1218" y="2027"/>
                </a:lnTo>
                <a:lnTo>
                  <a:pt x="1243" y="2024"/>
                </a:lnTo>
                <a:lnTo>
                  <a:pt x="1266" y="2019"/>
                </a:lnTo>
                <a:lnTo>
                  <a:pt x="1290" y="2014"/>
                </a:lnTo>
                <a:lnTo>
                  <a:pt x="1313" y="2008"/>
                </a:lnTo>
                <a:lnTo>
                  <a:pt x="1336" y="2002"/>
                </a:lnTo>
                <a:lnTo>
                  <a:pt x="1359" y="1996"/>
                </a:lnTo>
                <a:lnTo>
                  <a:pt x="1381" y="1988"/>
                </a:lnTo>
                <a:lnTo>
                  <a:pt x="1404" y="1980"/>
                </a:lnTo>
                <a:lnTo>
                  <a:pt x="1426" y="1972"/>
                </a:lnTo>
                <a:lnTo>
                  <a:pt x="1448" y="1963"/>
                </a:lnTo>
                <a:lnTo>
                  <a:pt x="1469" y="1953"/>
                </a:lnTo>
                <a:lnTo>
                  <a:pt x="1490" y="1943"/>
                </a:lnTo>
                <a:lnTo>
                  <a:pt x="1512" y="1933"/>
                </a:lnTo>
                <a:lnTo>
                  <a:pt x="1532" y="1921"/>
                </a:lnTo>
                <a:lnTo>
                  <a:pt x="1552" y="1910"/>
                </a:lnTo>
                <a:lnTo>
                  <a:pt x="1572" y="1899"/>
                </a:lnTo>
                <a:lnTo>
                  <a:pt x="1593" y="1886"/>
                </a:lnTo>
                <a:lnTo>
                  <a:pt x="1612" y="1873"/>
                </a:lnTo>
                <a:lnTo>
                  <a:pt x="1631" y="1859"/>
                </a:lnTo>
                <a:lnTo>
                  <a:pt x="1650" y="1846"/>
                </a:lnTo>
                <a:lnTo>
                  <a:pt x="1668" y="1832"/>
                </a:lnTo>
                <a:lnTo>
                  <a:pt x="1686" y="1818"/>
                </a:lnTo>
                <a:lnTo>
                  <a:pt x="1704" y="1802"/>
                </a:lnTo>
                <a:lnTo>
                  <a:pt x="1721" y="1787"/>
                </a:lnTo>
                <a:lnTo>
                  <a:pt x="1739" y="1772"/>
                </a:lnTo>
                <a:lnTo>
                  <a:pt x="1755" y="1755"/>
                </a:lnTo>
                <a:lnTo>
                  <a:pt x="1772" y="1738"/>
                </a:lnTo>
                <a:lnTo>
                  <a:pt x="1787" y="1721"/>
                </a:lnTo>
                <a:lnTo>
                  <a:pt x="1803" y="1704"/>
                </a:lnTo>
                <a:lnTo>
                  <a:pt x="1818" y="1686"/>
                </a:lnTo>
                <a:lnTo>
                  <a:pt x="1832" y="1668"/>
                </a:lnTo>
                <a:lnTo>
                  <a:pt x="1846" y="1650"/>
                </a:lnTo>
                <a:lnTo>
                  <a:pt x="1861" y="1631"/>
                </a:lnTo>
                <a:lnTo>
                  <a:pt x="1873" y="1612"/>
                </a:lnTo>
                <a:lnTo>
                  <a:pt x="1886" y="1593"/>
                </a:lnTo>
                <a:lnTo>
                  <a:pt x="1899" y="1572"/>
                </a:lnTo>
                <a:lnTo>
                  <a:pt x="1910" y="1552"/>
                </a:lnTo>
                <a:lnTo>
                  <a:pt x="1922" y="1532"/>
                </a:lnTo>
                <a:lnTo>
                  <a:pt x="1933" y="1512"/>
                </a:lnTo>
                <a:lnTo>
                  <a:pt x="1944" y="1490"/>
                </a:lnTo>
                <a:lnTo>
                  <a:pt x="1953" y="1469"/>
                </a:lnTo>
                <a:lnTo>
                  <a:pt x="1963" y="1447"/>
                </a:lnTo>
                <a:lnTo>
                  <a:pt x="1972" y="1425"/>
                </a:lnTo>
                <a:lnTo>
                  <a:pt x="1980" y="1404"/>
                </a:lnTo>
                <a:lnTo>
                  <a:pt x="1988" y="1381"/>
                </a:lnTo>
                <a:lnTo>
                  <a:pt x="1996" y="1358"/>
                </a:lnTo>
                <a:lnTo>
                  <a:pt x="2002" y="1336"/>
                </a:lnTo>
                <a:lnTo>
                  <a:pt x="2008" y="1312"/>
                </a:lnTo>
                <a:lnTo>
                  <a:pt x="2014" y="1289"/>
                </a:lnTo>
                <a:lnTo>
                  <a:pt x="2019" y="1266"/>
                </a:lnTo>
                <a:lnTo>
                  <a:pt x="2024" y="1241"/>
                </a:lnTo>
                <a:lnTo>
                  <a:pt x="2028" y="1218"/>
                </a:lnTo>
                <a:lnTo>
                  <a:pt x="2032" y="1194"/>
                </a:lnTo>
                <a:lnTo>
                  <a:pt x="2034" y="1169"/>
                </a:lnTo>
                <a:lnTo>
                  <a:pt x="2036" y="1146"/>
                </a:lnTo>
                <a:lnTo>
                  <a:pt x="2037" y="1121"/>
                </a:lnTo>
                <a:lnTo>
                  <a:pt x="2038" y="1096"/>
                </a:lnTo>
                <a:lnTo>
                  <a:pt x="2038" y="1070"/>
                </a:lnTo>
                <a:lnTo>
                  <a:pt x="2038" y="1046"/>
                </a:lnTo>
                <a:lnTo>
                  <a:pt x="2037" y="1021"/>
                </a:lnTo>
                <a:lnTo>
                  <a:pt x="2036" y="996"/>
                </a:lnTo>
                <a:lnTo>
                  <a:pt x="2034" y="972"/>
                </a:lnTo>
                <a:lnTo>
                  <a:pt x="2032" y="948"/>
                </a:lnTo>
                <a:lnTo>
                  <a:pt x="2028" y="924"/>
                </a:lnTo>
                <a:lnTo>
                  <a:pt x="2024" y="899"/>
                </a:lnTo>
                <a:lnTo>
                  <a:pt x="2019" y="876"/>
                </a:lnTo>
                <a:lnTo>
                  <a:pt x="2014" y="853"/>
                </a:lnTo>
                <a:lnTo>
                  <a:pt x="2008" y="829"/>
                </a:lnTo>
                <a:lnTo>
                  <a:pt x="2002" y="806"/>
                </a:lnTo>
                <a:lnTo>
                  <a:pt x="1996" y="783"/>
                </a:lnTo>
                <a:lnTo>
                  <a:pt x="1988" y="761"/>
                </a:lnTo>
                <a:lnTo>
                  <a:pt x="1980" y="738"/>
                </a:lnTo>
                <a:lnTo>
                  <a:pt x="1972" y="716"/>
                </a:lnTo>
                <a:lnTo>
                  <a:pt x="1963" y="694"/>
                </a:lnTo>
                <a:lnTo>
                  <a:pt x="1953" y="673"/>
                </a:lnTo>
                <a:lnTo>
                  <a:pt x="1944" y="652"/>
                </a:lnTo>
                <a:lnTo>
                  <a:pt x="1933" y="630"/>
                </a:lnTo>
                <a:lnTo>
                  <a:pt x="1922" y="610"/>
                </a:lnTo>
                <a:lnTo>
                  <a:pt x="1910" y="590"/>
                </a:lnTo>
                <a:lnTo>
                  <a:pt x="1899" y="569"/>
                </a:lnTo>
                <a:lnTo>
                  <a:pt x="1886" y="549"/>
                </a:lnTo>
                <a:lnTo>
                  <a:pt x="1873" y="530"/>
                </a:lnTo>
                <a:lnTo>
                  <a:pt x="1861" y="511"/>
                </a:lnTo>
                <a:lnTo>
                  <a:pt x="1846" y="492"/>
                </a:lnTo>
                <a:lnTo>
                  <a:pt x="1832" y="474"/>
                </a:lnTo>
                <a:lnTo>
                  <a:pt x="1818" y="456"/>
                </a:lnTo>
                <a:lnTo>
                  <a:pt x="1803" y="438"/>
                </a:lnTo>
                <a:lnTo>
                  <a:pt x="1787" y="421"/>
                </a:lnTo>
                <a:lnTo>
                  <a:pt x="1772" y="403"/>
                </a:lnTo>
                <a:lnTo>
                  <a:pt x="1755" y="387"/>
                </a:lnTo>
                <a:lnTo>
                  <a:pt x="1739" y="370"/>
                </a:lnTo>
                <a:lnTo>
                  <a:pt x="1721" y="354"/>
                </a:lnTo>
                <a:lnTo>
                  <a:pt x="1704" y="340"/>
                </a:lnTo>
                <a:lnTo>
                  <a:pt x="1686" y="324"/>
                </a:lnTo>
                <a:lnTo>
                  <a:pt x="1668" y="309"/>
                </a:lnTo>
                <a:lnTo>
                  <a:pt x="1650" y="296"/>
                </a:lnTo>
                <a:lnTo>
                  <a:pt x="1631" y="281"/>
                </a:lnTo>
                <a:lnTo>
                  <a:pt x="1612" y="269"/>
                </a:lnTo>
                <a:lnTo>
                  <a:pt x="1593" y="255"/>
                </a:lnTo>
                <a:lnTo>
                  <a:pt x="1572" y="243"/>
                </a:lnTo>
                <a:lnTo>
                  <a:pt x="1552" y="232"/>
                </a:lnTo>
                <a:lnTo>
                  <a:pt x="1532" y="219"/>
                </a:lnTo>
                <a:lnTo>
                  <a:pt x="1512" y="209"/>
                </a:lnTo>
                <a:lnTo>
                  <a:pt x="1490" y="198"/>
                </a:lnTo>
                <a:lnTo>
                  <a:pt x="1469" y="189"/>
                </a:lnTo>
                <a:lnTo>
                  <a:pt x="1448" y="179"/>
                </a:lnTo>
                <a:lnTo>
                  <a:pt x="1426" y="170"/>
                </a:lnTo>
                <a:lnTo>
                  <a:pt x="1404" y="162"/>
                </a:lnTo>
                <a:lnTo>
                  <a:pt x="1381" y="154"/>
                </a:lnTo>
                <a:lnTo>
                  <a:pt x="1359" y="146"/>
                </a:lnTo>
                <a:lnTo>
                  <a:pt x="1336" y="139"/>
                </a:lnTo>
                <a:lnTo>
                  <a:pt x="1313" y="134"/>
                </a:lnTo>
                <a:lnTo>
                  <a:pt x="1290" y="128"/>
                </a:lnTo>
                <a:lnTo>
                  <a:pt x="1266" y="122"/>
                </a:lnTo>
                <a:lnTo>
                  <a:pt x="1243" y="118"/>
                </a:lnTo>
                <a:lnTo>
                  <a:pt x="1218" y="113"/>
                </a:lnTo>
                <a:lnTo>
                  <a:pt x="1194" y="110"/>
                </a:lnTo>
                <a:lnTo>
                  <a:pt x="1170" y="108"/>
                </a:lnTo>
                <a:lnTo>
                  <a:pt x="1146" y="106"/>
                </a:lnTo>
                <a:lnTo>
                  <a:pt x="1121" y="104"/>
                </a:lnTo>
                <a:lnTo>
                  <a:pt x="1096" y="103"/>
                </a:lnTo>
                <a:lnTo>
                  <a:pt x="1072" y="103"/>
                </a:lnTo>
                <a:close/>
              </a:path>
            </a:pathLst>
          </a:custGeom>
          <a:solidFill>
            <a:schemeClr val="bg1"/>
          </a:solidFill>
          <a:ln>
            <a:solidFill>
              <a:schemeClr val="bg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21" name="Oval 20">
            <a:hlinkClick r:id="" action="ppaction://noaction"/>
            <a:extLst>
              <a:ext uri="{FF2B5EF4-FFF2-40B4-BE49-F238E27FC236}">
                <a16:creationId xmlns:a16="http://schemas.microsoft.com/office/drawing/2014/main" id="{018873A0-AE12-475B-899A-60D483B51C9F}"/>
              </a:ext>
            </a:extLst>
          </p:cNvPr>
          <p:cNvSpPr>
            <a:spLocks noChangeAspect="1"/>
          </p:cNvSpPr>
          <p:nvPr/>
        </p:nvSpPr>
        <p:spPr>
          <a:xfrm>
            <a:off x="40721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Oval 21">
            <a:hlinkClick r:id="" action="ppaction://noaction"/>
            <a:extLst>
              <a:ext uri="{FF2B5EF4-FFF2-40B4-BE49-F238E27FC236}">
                <a16:creationId xmlns:a16="http://schemas.microsoft.com/office/drawing/2014/main" id="{0271B59F-458C-4915-A4A9-15AF16710CCB}"/>
              </a:ext>
            </a:extLst>
          </p:cNvPr>
          <p:cNvSpPr>
            <a:spLocks noChangeAspect="1"/>
          </p:cNvSpPr>
          <p:nvPr/>
        </p:nvSpPr>
        <p:spPr>
          <a:xfrm>
            <a:off x="55123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Oval 22">
            <a:hlinkClick r:id="" action="ppaction://noaction"/>
            <a:extLst>
              <a:ext uri="{FF2B5EF4-FFF2-40B4-BE49-F238E27FC236}">
                <a16:creationId xmlns:a16="http://schemas.microsoft.com/office/drawing/2014/main" id="{48F551FF-D8B7-4D33-BC17-85B6069EAE14}"/>
              </a:ext>
            </a:extLst>
          </p:cNvPr>
          <p:cNvSpPr>
            <a:spLocks noChangeAspect="1"/>
          </p:cNvSpPr>
          <p:nvPr/>
        </p:nvSpPr>
        <p:spPr>
          <a:xfrm>
            <a:off x="695250" y="89377"/>
            <a:ext cx="108000" cy="108000"/>
          </a:xfrm>
          <a:prstGeom prst="ellipse">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Oval 23">
            <a:hlinkClick r:id="" action="ppaction://noaction"/>
            <a:extLst>
              <a:ext uri="{FF2B5EF4-FFF2-40B4-BE49-F238E27FC236}">
                <a16:creationId xmlns:a16="http://schemas.microsoft.com/office/drawing/2014/main" id="{7A6FFBE5-1244-4EA8-9FB6-BE1711CDE7F8}"/>
              </a:ext>
            </a:extLst>
          </p:cNvPr>
          <p:cNvSpPr>
            <a:spLocks noChangeAspect="1"/>
          </p:cNvSpPr>
          <p:nvPr/>
        </p:nvSpPr>
        <p:spPr>
          <a:xfrm>
            <a:off x="83927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Oval 24">
            <a:hlinkClick r:id="" action="ppaction://noaction"/>
            <a:extLst>
              <a:ext uri="{FF2B5EF4-FFF2-40B4-BE49-F238E27FC236}">
                <a16:creationId xmlns:a16="http://schemas.microsoft.com/office/drawing/2014/main" id="{D4C967FC-D4B0-49A1-BF64-8D2A0E0D08AB}"/>
              </a:ext>
            </a:extLst>
          </p:cNvPr>
          <p:cNvSpPr>
            <a:spLocks noChangeAspect="1"/>
          </p:cNvSpPr>
          <p:nvPr/>
        </p:nvSpPr>
        <p:spPr>
          <a:xfrm>
            <a:off x="983290" y="89377"/>
            <a:ext cx="108000" cy="108000"/>
          </a:xfrm>
          <a:prstGeom prst="ellipse">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72106964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C88D0E8-AD5D-AF42-A47D-60E21BB32CA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6092042" cy="6858000"/>
          </a:xfrm>
          <a:prstGeom prst="rect">
            <a:avLst/>
          </a:prstGeom>
        </p:spPr>
      </p:pic>
      <p:sp>
        <p:nvSpPr>
          <p:cNvPr id="2" name="Date Placeholder 1">
            <a:extLst>
              <a:ext uri="{FF2B5EF4-FFF2-40B4-BE49-F238E27FC236}">
                <a16:creationId xmlns:a16="http://schemas.microsoft.com/office/drawing/2014/main" id="{1A9C5DE3-A82E-4A1C-91D4-888FA5D45290}"/>
              </a:ext>
            </a:extLst>
          </p:cNvPr>
          <p:cNvSpPr>
            <a:spLocks noGrp="1"/>
          </p:cNvSpPr>
          <p:nvPr>
            <p:ph type="dt" sz="half" idx="10"/>
          </p:nvPr>
        </p:nvSpPr>
        <p:spPr/>
        <p:txBody>
          <a:bodyPr/>
          <a:lstStyle/>
          <a:p>
            <a:fld id="{79E9087F-8D29-4365-A1D1-C2092CC6B701}" type="datetime3">
              <a:rPr lang="en-US" noProof="0" smtClean="0">
                <a:solidFill>
                  <a:schemeClr val="bg1"/>
                </a:solidFill>
              </a:rPr>
              <a:t>13 April 2022</a:t>
            </a:fld>
            <a:endParaRPr lang="en-US" noProof="0">
              <a:solidFill>
                <a:schemeClr val="bg1"/>
              </a:solidFill>
            </a:endParaRPr>
          </a:p>
        </p:txBody>
      </p:sp>
      <p:sp>
        <p:nvSpPr>
          <p:cNvPr id="3" name="Footer Placeholder 2">
            <a:extLst>
              <a:ext uri="{FF2B5EF4-FFF2-40B4-BE49-F238E27FC236}">
                <a16:creationId xmlns:a16="http://schemas.microsoft.com/office/drawing/2014/main" id="{ECF69EFF-57E5-49A4-AC02-C59A4C7E184A}"/>
              </a:ext>
            </a:extLst>
          </p:cNvPr>
          <p:cNvSpPr>
            <a:spLocks noGrp="1"/>
          </p:cNvSpPr>
          <p:nvPr>
            <p:ph type="ftr" sz="quarter" idx="11"/>
          </p:nvPr>
        </p:nvSpPr>
        <p:spPr/>
        <p:txBody>
          <a:bodyPr/>
          <a:lstStyle/>
          <a:p>
            <a:r>
              <a:rPr lang="en-US" noProof="0"/>
              <a:t>Confidential  |  © KONE Corporation</a:t>
            </a:r>
          </a:p>
        </p:txBody>
      </p:sp>
      <p:sp>
        <p:nvSpPr>
          <p:cNvPr id="4" name="Slide Number Placeholder 3">
            <a:extLst>
              <a:ext uri="{FF2B5EF4-FFF2-40B4-BE49-F238E27FC236}">
                <a16:creationId xmlns:a16="http://schemas.microsoft.com/office/drawing/2014/main" id="{B209A3C4-6D6A-4562-BE01-FC5A9F74A5A6}"/>
              </a:ext>
            </a:extLst>
          </p:cNvPr>
          <p:cNvSpPr>
            <a:spLocks noGrp="1"/>
          </p:cNvSpPr>
          <p:nvPr>
            <p:ph type="sldNum" sz="quarter" idx="12"/>
          </p:nvPr>
        </p:nvSpPr>
        <p:spPr/>
        <p:txBody>
          <a:bodyPr/>
          <a:lstStyle/>
          <a:p>
            <a:fld id="{604FC64F-66B6-486E-8EFE-9FD96A66D16B}" type="slidenum">
              <a:rPr lang="en-US" noProof="0" smtClean="0">
                <a:solidFill>
                  <a:schemeClr val="bg1"/>
                </a:solidFill>
              </a:rPr>
              <a:pPr/>
              <a:t>9</a:t>
            </a:fld>
            <a:endParaRPr lang="en-US" noProof="0">
              <a:solidFill>
                <a:schemeClr val="bg1"/>
              </a:solidFill>
            </a:endParaRPr>
          </a:p>
        </p:txBody>
      </p:sp>
      <p:sp>
        <p:nvSpPr>
          <p:cNvPr id="5" name="Content Placeholder 4">
            <a:extLst>
              <a:ext uri="{FF2B5EF4-FFF2-40B4-BE49-F238E27FC236}">
                <a16:creationId xmlns:a16="http://schemas.microsoft.com/office/drawing/2014/main" id="{0E0EA915-A505-4C2A-B6F1-BC2990945D02}"/>
              </a:ext>
            </a:extLst>
          </p:cNvPr>
          <p:cNvSpPr>
            <a:spLocks noGrp="1"/>
          </p:cNvSpPr>
          <p:nvPr>
            <p:ph sz="quarter" idx="13"/>
          </p:nvPr>
        </p:nvSpPr>
        <p:spPr>
          <a:xfrm>
            <a:off x="6583157" y="2260279"/>
            <a:ext cx="4402007" cy="2784163"/>
          </a:xfrm>
        </p:spPr>
        <p:txBody>
          <a:bodyPr vert="horz" lIns="0" tIns="0" rIns="0" bIns="0" rtlCol="0" anchor="t">
            <a:noAutofit/>
          </a:bodyPr>
          <a:lstStyle/>
          <a:p>
            <a:pPr marL="0" indent="0">
              <a:lnSpc>
                <a:spcPct val="100000"/>
              </a:lnSpc>
              <a:spcBef>
                <a:spcPts val="1200"/>
              </a:spcBef>
              <a:buNone/>
            </a:pPr>
            <a:r>
              <a:rPr lang="en-US" sz="1600" dirty="0">
                <a:cs typeface="Arial"/>
              </a:rPr>
              <a:t>Reduce unplanned maintenance activities and utilize our predictive services that are making it easier to plan proactively for upcoming repairs. Plus, KONE Care™ DX maintenance visits will be carbon compensated through our offsetting program - that’s better for the planet.</a:t>
            </a:r>
          </a:p>
          <a:p>
            <a:pPr marL="225425" indent="-225425">
              <a:lnSpc>
                <a:spcPct val="100000"/>
              </a:lnSpc>
              <a:spcBef>
                <a:spcPts val="1200"/>
              </a:spcBef>
            </a:pPr>
            <a:r>
              <a:rPr lang="en-US" sz="1600" dirty="0">
                <a:cs typeface="Arial"/>
              </a:rPr>
              <a:t>Proactive and preventative care </a:t>
            </a:r>
          </a:p>
          <a:p>
            <a:pPr marL="225425" indent="-225425">
              <a:lnSpc>
                <a:spcPct val="100000"/>
              </a:lnSpc>
              <a:spcBef>
                <a:spcPts val="1200"/>
              </a:spcBef>
            </a:pPr>
            <a:r>
              <a:rPr lang="en-US" sz="1600" dirty="0">
                <a:cs typeface="Arial"/>
              </a:rPr>
              <a:t>Carbon compensated maintenance</a:t>
            </a:r>
          </a:p>
        </p:txBody>
      </p:sp>
      <p:sp>
        <p:nvSpPr>
          <p:cNvPr id="6" name="Title 5">
            <a:extLst>
              <a:ext uri="{FF2B5EF4-FFF2-40B4-BE49-F238E27FC236}">
                <a16:creationId xmlns:a16="http://schemas.microsoft.com/office/drawing/2014/main" id="{5B651ECF-CA61-43C9-B8A5-F5EC7D586EBE}"/>
              </a:ext>
            </a:extLst>
          </p:cNvPr>
          <p:cNvSpPr>
            <a:spLocks noGrp="1"/>
          </p:cNvSpPr>
          <p:nvPr>
            <p:ph type="title"/>
          </p:nvPr>
        </p:nvSpPr>
        <p:spPr>
          <a:xfrm>
            <a:off x="6583157" y="404812"/>
            <a:ext cx="4175887" cy="863601"/>
          </a:xfrm>
        </p:spPr>
        <p:txBody>
          <a:bodyPr/>
          <a:lstStyle/>
          <a:p>
            <a:r>
              <a:rPr lang="en-US" sz="1600">
                <a:cs typeface="Arial"/>
              </a:rPr>
              <a:t>WHAT ARE THE BENEFITS?</a:t>
            </a:r>
          </a:p>
        </p:txBody>
      </p:sp>
      <p:grpSp>
        <p:nvGrpSpPr>
          <p:cNvPr id="10" name="Group 9">
            <a:extLst>
              <a:ext uri="{FF2B5EF4-FFF2-40B4-BE49-F238E27FC236}">
                <a16:creationId xmlns:a16="http://schemas.microsoft.com/office/drawing/2014/main" id="{F61DB673-FAF5-8F4D-BE5C-DC51985E4695}"/>
              </a:ext>
            </a:extLst>
          </p:cNvPr>
          <p:cNvGrpSpPr>
            <a:grpSpLocks noChangeAspect="1"/>
          </p:cNvGrpSpPr>
          <p:nvPr/>
        </p:nvGrpSpPr>
        <p:grpSpPr>
          <a:xfrm>
            <a:off x="11064013" y="404664"/>
            <a:ext cx="720000" cy="364398"/>
            <a:chOff x="3498850" y="2112963"/>
            <a:chExt cx="5197475" cy="2630487"/>
          </a:xfrm>
        </p:grpSpPr>
        <p:sp>
          <p:nvSpPr>
            <p:cNvPr id="11" name="Freeform 6">
              <a:extLst>
                <a:ext uri="{FF2B5EF4-FFF2-40B4-BE49-F238E27FC236}">
                  <a16:creationId xmlns:a16="http://schemas.microsoft.com/office/drawing/2014/main" id="{17D0A6AF-0189-6443-9DAE-08757B33F218}"/>
                </a:ext>
              </a:extLst>
            </p:cNvPr>
            <p:cNvSpPr>
              <a:spLocks noEditPoints="1"/>
            </p:cNvSpPr>
            <p:nvPr userDrawn="1"/>
          </p:nvSpPr>
          <p:spPr bwMode="auto">
            <a:xfrm>
              <a:off x="3498850" y="2112963"/>
              <a:ext cx="5197475" cy="2630487"/>
            </a:xfrm>
            <a:custGeom>
              <a:avLst/>
              <a:gdLst>
                <a:gd name="T0" fmla="*/ 0 w 3274"/>
                <a:gd name="T1" fmla="*/ 0 h 1657"/>
                <a:gd name="T2" fmla="*/ 761 w 3274"/>
                <a:gd name="T3" fmla="*/ 0 h 1657"/>
                <a:gd name="T4" fmla="*/ 761 w 3274"/>
                <a:gd name="T5" fmla="*/ 414 h 1657"/>
                <a:gd name="T6" fmla="*/ 761 w 3274"/>
                <a:gd name="T7" fmla="*/ 829 h 1657"/>
                <a:gd name="T8" fmla="*/ 761 w 3274"/>
                <a:gd name="T9" fmla="*/ 1243 h 1657"/>
                <a:gd name="T10" fmla="*/ 761 w 3274"/>
                <a:gd name="T11" fmla="*/ 1657 h 1657"/>
                <a:gd name="T12" fmla="*/ 0 w 3274"/>
                <a:gd name="T13" fmla="*/ 1657 h 1657"/>
                <a:gd name="T14" fmla="*/ 0 w 3274"/>
                <a:gd name="T15" fmla="*/ 1243 h 1657"/>
                <a:gd name="T16" fmla="*/ 0 w 3274"/>
                <a:gd name="T17" fmla="*/ 829 h 1657"/>
                <a:gd name="T18" fmla="*/ 0 w 3274"/>
                <a:gd name="T19" fmla="*/ 414 h 1657"/>
                <a:gd name="T20" fmla="*/ 0 w 3274"/>
                <a:gd name="T21" fmla="*/ 0 h 1657"/>
                <a:gd name="T22" fmla="*/ 1675 w 3274"/>
                <a:gd name="T23" fmla="*/ 0 h 1657"/>
                <a:gd name="T24" fmla="*/ 2436 w 3274"/>
                <a:gd name="T25" fmla="*/ 0 h 1657"/>
                <a:gd name="T26" fmla="*/ 2436 w 3274"/>
                <a:gd name="T27" fmla="*/ 414 h 1657"/>
                <a:gd name="T28" fmla="*/ 2436 w 3274"/>
                <a:gd name="T29" fmla="*/ 829 h 1657"/>
                <a:gd name="T30" fmla="*/ 2436 w 3274"/>
                <a:gd name="T31" fmla="*/ 1243 h 1657"/>
                <a:gd name="T32" fmla="*/ 2436 w 3274"/>
                <a:gd name="T33" fmla="*/ 1657 h 1657"/>
                <a:gd name="T34" fmla="*/ 1675 w 3274"/>
                <a:gd name="T35" fmla="*/ 1657 h 1657"/>
                <a:gd name="T36" fmla="*/ 1675 w 3274"/>
                <a:gd name="T37" fmla="*/ 1243 h 1657"/>
                <a:gd name="T38" fmla="*/ 1675 w 3274"/>
                <a:gd name="T39" fmla="*/ 829 h 1657"/>
                <a:gd name="T40" fmla="*/ 1675 w 3274"/>
                <a:gd name="T41" fmla="*/ 414 h 1657"/>
                <a:gd name="T42" fmla="*/ 1675 w 3274"/>
                <a:gd name="T43" fmla="*/ 0 h 1657"/>
                <a:gd name="T44" fmla="*/ 838 w 3274"/>
                <a:gd name="T45" fmla="*/ 0 h 1657"/>
                <a:gd name="T46" fmla="*/ 1599 w 3274"/>
                <a:gd name="T47" fmla="*/ 0 h 1657"/>
                <a:gd name="T48" fmla="*/ 1599 w 3274"/>
                <a:gd name="T49" fmla="*/ 414 h 1657"/>
                <a:gd name="T50" fmla="*/ 1599 w 3274"/>
                <a:gd name="T51" fmla="*/ 829 h 1657"/>
                <a:gd name="T52" fmla="*/ 1599 w 3274"/>
                <a:gd name="T53" fmla="*/ 1243 h 1657"/>
                <a:gd name="T54" fmla="*/ 1599 w 3274"/>
                <a:gd name="T55" fmla="*/ 1657 h 1657"/>
                <a:gd name="T56" fmla="*/ 838 w 3274"/>
                <a:gd name="T57" fmla="*/ 1657 h 1657"/>
                <a:gd name="T58" fmla="*/ 838 w 3274"/>
                <a:gd name="T59" fmla="*/ 1243 h 1657"/>
                <a:gd name="T60" fmla="*/ 838 w 3274"/>
                <a:gd name="T61" fmla="*/ 829 h 1657"/>
                <a:gd name="T62" fmla="*/ 838 w 3274"/>
                <a:gd name="T63" fmla="*/ 414 h 1657"/>
                <a:gd name="T64" fmla="*/ 838 w 3274"/>
                <a:gd name="T65" fmla="*/ 0 h 1657"/>
                <a:gd name="T66" fmla="*/ 2513 w 3274"/>
                <a:gd name="T67" fmla="*/ 0 h 1657"/>
                <a:gd name="T68" fmla="*/ 3274 w 3274"/>
                <a:gd name="T69" fmla="*/ 0 h 1657"/>
                <a:gd name="T70" fmla="*/ 3274 w 3274"/>
                <a:gd name="T71" fmla="*/ 414 h 1657"/>
                <a:gd name="T72" fmla="*/ 3274 w 3274"/>
                <a:gd name="T73" fmla="*/ 829 h 1657"/>
                <a:gd name="T74" fmla="*/ 3274 w 3274"/>
                <a:gd name="T75" fmla="*/ 1243 h 1657"/>
                <a:gd name="T76" fmla="*/ 3274 w 3274"/>
                <a:gd name="T77" fmla="*/ 1657 h 1657"/>
                <a:gd name="T78" fmla="*/ 2513 w 3274"/>
                <a:gd name="T79" fmla="*/ 1657 h 1657"/>
                <a:gd name="T80" fmla="*/ 2513 w 3274"/>
                <a:gd name="T81" fmla="*/ 1243 h 1657"/>
                <a:gd name="T82" fmla="*/ 2513 w 3274"/>
                <a:gd name="T83" fmla="*/ 829 h 1657"/>
                <a:gd name="T84" fmla="*/ 2513 w 3274"/>
                <a:gd name="T85" fmla="*/ 414 h 1657"/>
                <a:gd name="T86" fmla="*/ 2513 w 3274"/>
                <a:gd name="T87" fmla="*/ 0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74" h="1657">
                  <a:moveTo>
                    <a:pt x="0" y="0"/>
                  </a:moveTo>
                  <a:lnTo>
                    <a:pt x="761" y="0"/>
                  </a:lnTo>
                  <a:lnTo>
                    <a:pt x="761" y="414"/>
                  </a:lnTo>
                  <a:lnTo>
                    <a:pt x="761" y="829"/>
                  </a:lnTo>
                  <a:lnTo>
                    <a:pt x="761" y="1243"/>
                  </a:lnTo>
                  <a:lnTo>
                    <a:pt x="761" y="1657"/>
                  </a:lnTo>
                  <a:lnTo>
                    <a:pt x="0" y="1657"/>
                  </a:lnTo>
                  <a:lnTo>
                    <a:pt x="0" y="1243"/>
                  </a:lnTo>
                  <a:lnTo>
                    <a:pt x="0" y="829"/>
                  </a:lnTo>
                  <a:lnTo>
                    <a:pt x="0" y="414"/>
                  </a:lnTo>
                  <a:lnTo>
                    <a:pt x="0" y="0"/>
                  </a:lnTo>
                  <a:close/>
                  <a:moveTo>
                    <a:pt x="1675" y="0"/>
                  </a:moveTo>
                  <a:lnTo>
                    <a:pt x="2436" y="0"/>
                  </a:lnTo>
                  <a:lnTo>
                    <a:pt x="2436" y="414"/>
                  </a:lnTo>
                  <a:lnTo>
                    <a:pt x="2436" y="829"/>
                  </a:lnTo>
                  <a:lnTo>
                    <a:pt x="2436" y="1243"/>
                  </a:lnTo>
                  <a:lnTo>
                    <a:pt x="2436" y="1657"/>
                  </a:lnTo>
                  <a:lnTo>
                    <a:pt x="1675" y="1657"/>
                  </a:lnTo>
                  <a:lnTo>
                    <a:pt x="1675" y="1243"/>
                  </a:lnTo>
                  <a:lnTo>
                    <a:pt x="1675" y="829"/>
                  </a:lnTo>
                  <a:lnTo>
                    <a:pt x="1675" y="414"/>
                  </a:lnTo>
                  <a:lnTo>
                    <a:pt x="1675" y="0"/>
                  </a:lnTo>
                  <a:close/>
                  <a:moveTo>
                    <a:pt x="838" y="0"/>
                  </a:moveTo>
                  <a:lnTo>
                    <a:pt x="1599" y="0"/>
                  </a:lnTo>
                  <a:lnTo>
                    <a:pt x="1599" y="414"/>
                  </a:lnTo>
                  <a:lnTo>
                    <a:pt x="1599" y="829"/>
                  </a:lnTo>
                  <a:lnTo>
                    <a:pt x="1599" y="1243"/>
                  </a:lnTo>
                  <a:lnTo>
                    <a:pt x="1599" y="1657"/>
                  </a:lnTo>
                  <a:lnTo>
                    <a:pt x="838" y="1657"/>
                  </a:lnTo>
                  <a:lnTo>
                    <a:pt x="838" y="1243"/>
                  </a:lnTo>
                  <a:lnTo>
                    <a:pt x="838" y="829"/>
                  </a:lnTo>
                  <a:lnTo>
                    <a:pt x="838" y="414"/>
                  </a:lnTo>
                  <a:lnTo>
                    <a:pt x="838" y="0"/>
                  </a:lnTo>
                  <a:close/>
                  <a:moveTo>
                    <a:pt x="2513" y="0"/>
                  </a:moveTo>
                  <a:lnTo>
                    <a:pt x="3274" y="0"/>
                  </a:lnTo>
                  <a:lnTo>
                    <a:pt x="3274" y="414"/>
                  </a:lnTo>
                  <a:lnTo>
                    <a:pt x="3274" y="829"/>
                  </a:lnTo>
                  <a:lnTo>
                    <a:pt x="3274" y="1243"/>
                  </a:lnTo>
                  <a:lnTo>
                    <a:pt x="3274" y="1657"/>
                  </a:lnTo>
                  <a:lnTo>
                    <a:pt x="2513" y="1657"/>
                  </a:lnTo>
                  <a:lnTo>
                    <a:pt x="2513" y="1243"/>
                  </a:lnTo>
                  <a:lnTo>
                    <a:pt x="2513" y="829"/>
                  </a:lnTo>
                  <a:lnTo>
                    <a:pt x="2513" y="414"/>
                  </a:lnTo>
                  <a:lnTo>
                    <a:pt x="2513" y="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2" name="Freeform 7">
              <a:extLst>
                <a:ext uri="{FF2B5EF4-FFF2-40B4-BE49-F238E27FC236}">
                  <a16:creationId xmlns:a16="http://schemas.microsoft.com/office/drawing/2014/main" id="{AAC806EE-5015-964B-8BF1-BB88CA7D2E10}"/>
                </a:ext>
              </a:extLst>
            </p:cNvPr>
            <p:cNvSpPr>
              <a:spLocks noEditPoints="1"/>
            </p:cNvSpPr>
            <p:nvPr userDrawn="1"/>
          </p:nvSpPr>
          <p:spPr bwMode="auto">
            <a:xfrm>
              <a:off x="3673475" y="2916238"/>
              <a:ext cx="4800600" cy="1025525"/>
            </a:xfrm>
            <a:custGeom>
              <a:avLst/>
              <a:gdLst>
                <a:gd name="T0" fmla="*/ 1666 w 3024"/>
                <a:gd name="T1" fmla="*/ 636 h 646"/>
                <a:gd name="T2" fmla="*/ 2226 w 3024"/>
                <a:gd name="T3" fmla="*/ 17 h 646"/>
                <a:gd name="T4" fmla="*/ 1059 w 3024"/>
                <a:gd name="T5" fmla="*/ 3 h 646"/>
                <a:gd name="T6" fmla="*/ 982 w 3024"/>
                <a:gd name="T7" fmla="*/ 23 h 646"/>
                <a:gd name="T8" fmla="*/ 926 w 3024"/>
                <a:gd name="T9" fmla="*/ 51 h 646"/>
                <a:gd name="T10" fmla="*/ 867 w 3024"/>
                <a:gd name="T11" fmla="*/ 100 h 646"/>
                <a:gd name="T12" fmla="*/ 830 w 3024"/>
                <a:gd name="T13" fmla="*/ 149 h 646"/>
                <a:gd name="T14" fmla="*/ 797 w 3024"/>
                <a:gd name="T15" fmla="*/ 221 h 646"/>
                <a:gd name="T16" fmla="*/ 783 w 3024"/>
                <a:gd name="T17" fmla="*/ 304 h 646"/>
                <a:gd name="T18" fmla="*/ 789 w 3024"/>
                <a:gd name="T19" fmla="*/ 392 h 646"/>
                <a:gd name="T20" fmla="*/ 808 w 3024"/>
                <a:gd name="T21" fmla="*/ 454 h 646"/>
                <a:gd name="T22" fmla="*/ 847 w 3024"/>
                <a:gd name="T23" fmla="*/ 522 h 646"/>
                <a:gd name="T24" fmla="*/ 901 w 3024"/>
                <a:gd name="T25" fmla="*/ 576 h 646"/>
                <a:gd name="T26" fmla="*/ 967 w 3024"/>
                <a:gd name="T27" fmla="*/ 616 h 646"/>
                <a:gd name="T28" fmla="*/ 1027 w 3024"/>
                <a:gd name="T29" fmla="*/ 636 h 646"/>
                <a:gd name="T30" fmla="*/ 1109 w 3024"/>
                <a:gd name="T31" fmla="*/ 646 h 646"/>
                <a:gd name="T32" fmla="*/ 1191 w 3024"/>
                <a:gd name="T33" fmla="*/ 636 h 646"/>
                <a:gd name="T34" fmla="*/ 1258 w 3024"/>
                <a:gd name="T35" fmla="*/ 613 h 646"/>
                <a:gd name="T36" fmla="*/ 1317 w 3024"/>
                <a:gd name="T37" fmla="*/ 576 h 646"/>
                <a:gd name="T38" fmla="*/ 1371 w 3024"/>
                <a:gd name="T39" fmla="*/ 522 h 646"/>
                <a:gd name="T40" fmla="*/ 1403 w 3024"/>
                <a:gd name="T41" fmla="*/ 469 h 646"/>
                <a:gd name="T42" fmla="*/ 1429 w 3024"/>
                <a:gd name="T43" fmla="*/ 392 h 646"/>
                <a:gd name="T44" fmla="*/ 1435 w 3024"/>
                <a:gd name="T45" fmla="*/ 304 h 646"/>
                <a:gd name="T46" fmla="*/ 1425 w 3024"/>
                <a:gd name="T47" fmla="*/ 237 h 646"/>
                <a:gd name="T48" fmla="*/ 1396 w 3024"/>
                <a:gd name="T49" fmla="*/ 163 h 646"/>
                <a:gd name="T50" fmla="*/ 1351 w 3024"/>
                <a:gd name="T51" fmla="*/ 100 h 646"/>
                <a:gd name="T52" fmla="*/ 1292 w 3024"/>
                <a:gd name="T53" fmla="*/ 51 h 646"/>
                <a:gd name="T54" fmla="*/ 1236 w 3024"/>
                <a:gd name="T55" fmla="*/ 23 h 646"/>
                <a:gd name="T56" fmla="*/ 1159 w 3024"/>
                <a:gd name="T57" fmla="*/ 3 h 646"/>
                <a:gd name="T58" fmla="*/ 1267 w 3024"/>
                <a:gd name="T59" fmla="*/ 333 h 646"/>
                <a:gd name="T60" fmla="*/ 1261 w 3024"/>
                <a:gd name="T61" fmla="*/ 378 h 646"/>
                <a:gd name="T62" fmla="*/ 1241 w 3024"/>
                <a:gd name="T63" fmla="*/ 425 h 646"/>
                <a:gd name="T64" fmla="*/ 1216 w 3024"/>
                <a:gd name="T65" fmla="*/ 457 h 646"/>
                <a:gd name="T66" fmla="*/ 1178 w 3024"/>
                <a:gd name="T67" fmla="*/ 484 h 646"/>
                <a:gd name="T68" fmla="*/ 1141 w 3024"/>
                <a:gd name="T69" fmla="*/ 497 h 646"/>
                <a:gd name="T70" fmla="*/ 1084 w 3024"/>
                <a:gd name="T71" fmla="*/ 498 h 646"/>
                <a:gd name="T72" fmla="*/ 1046 w 3024"/>
                <a:gd name="T73" fmla="*/ 487 h 646"/>
                <a:gd name="T74" fmla="*/ 1013 w 3024"/>
                <a:gd name="T75" fmla="*/ 467 h 646"/>
                <a:gd name="T76" fmla="*/ 981 w 3024"/>
                <a:gd name="T77" fmla="*/ 432 h 646"/>
                <a:gd name="T78" fmla="*/ 963 w 3024"/>
                <a:gd name="T79" fmla="*/ 395 h 646"/>
                <a:gd name="T80" fmla="*/ 952 w 3024"/>
                <a:gd name="T81" fmla="*/ 352 h 646"/>
                <a:gd name="T82" fmla="*/ 951 w 3024"/>
                <a:gd name="T83" fmla="*/ 303 h 646"/>
                <a:gd name="T84" fmla="*/ 960 w 3024"/>
                <a:gd name="T85" fmla="*/ 258 h 646"/>
                <a:gd name="T86" fmla="*/ 981 w 3024"/>
                <a:gd name="T87" fmla="*/ 213 h 646"/>
                <a:gd name="T88" fmla="*/ 1007 w 3024"/>
                <a:gd name="T89" fmla="*/ 183 h 646"/>
                <a:gd name="T90" fmla="*/ 1046 w 3024"/>
                <a:gd name="T91" fmla="*/ 158 h 646"/>
                <a:gd name="T92" fmla="*/ 1084 w 3024"/>
                <a:gd name="T93" fmla="*/ 147 h 646"/>
                <a:gd name="T94" fmla="*/ 1141 w 3024"/>
                <a:gd name="T95" fmla="*/ 149 h 646"/>
                <a:gd name="T96" fmla="*/ 1178 w 3024"/>
                <a:gd name="T97" fmla="*/ 161 h 646"/>
                <a:gd name="T98" fmla="*/ 1211 w 3024"/>
                <a:gd name="T99" fmla="*/ 183 h 646"/>
                <a:gd name="T100" fmla="*/ 1241 w 3024"/>
                <a:gd name="T101" fmla="*/ 220 h 646"/>
                <a:gd name="T102" fmla="*/ 1258 w 3024"/>
                <a:gd name="T103" fmla="*/ 258 h 646"/>
                <a:gd name="T104" fmla="*/ 1267 w 3024"/>
                <a:gd name="T105" fmla="*/ 303 h 646"/>
                <a:gd name="T106" fmla="*/ 2986 w 3024"/>
                <a:gd name="T107" fmla="*/ 391 h 646"/>
                <a:gd name="T108" fmla="*/ 3024 w 3024"/>
                <a:gd name="T109" fmla="*/ 17 h 646"/>
                <a:gd name="T110" fmla="*/ 2714 w 3024"/>
                <a:gd name="T111" fmla="*/ 496 h 646"/>
                <a:gd name="T112" fmla="*/ 168 w 3024"/>
                <a:gd name="T113" fmla="*/ 287 h 646"/>
                <a:gd name="T114" fmla="*/ 168 w 3024"/>
                <a:gd name="T115" fmla="*/ 34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4" h="646">
                  <a:moveTo>
                    <a:pt x="2070" y="17"/>
                  </a:moveTo>
                  <a:lnTo>
                    <a:pt x="2070" y="319"/>
                  </a:lnTo>
                  <a:lnTo>
                    <a:pt x="1762" y="17"/>
                  </a:lnTo>
                  <a:lnTo>
                    <a:pt x="1666" y="17"/>
                  </a:lnTo>
                  <a:lnTo>
                    <a:pt x="1666" y="636"/>
                  </a:lnTo>
                  <a:lnTo>
                    <a:pt x="1821" y="636"/>
                  </a:lnTo>
                  <a:lnTo>
                    <a:pt x="1821" y="323"/>
                  </a:lnTo>
                  <a:lnTo>
                    <a:pt x="2141" y="636"/>
                  </a:lnTo>
                  <a:lnTo>
                    <a:pt x="2226" y="636"/>
                  </a:lnTo>
                  <a:lnTo>
                    <a:pt x="2226" y="17"/>
                  </a:lnTo>
                  <a:lnTo>
                    <a:pt x="2070" y="17"/>
                  </a:lnTo>
                  <a:close/>
                  <a:moveTo>
                    <a:pt x="1109" y="0"/>
                  </a:moveTo>
                  <a:lnTo>
                    <a:pt x="1092" y="0"/>
                  </a:lnTo>
                  <a:lnTo>
                    <a:pt x="1075" y="1"/>
                  </a:lnTo>
                  <a:lnTo>
                    <a:pt x="1059" y="3"/>
                  </a:lnTo>
                  <a:lnTo>
                    <a:pt x="1043" y="6"/>
                  </a:lnTo>
                  <a:lnTo>
                    <a:pt x="1027" y="9"/>
                  </a:lnTo>
                  <a:lnTo>
                    <a:pt x="1012" y="13"/>
                  </a:lnTo>
                  <a:lnTo>
                    <a:pt x="996" y="18"/>
                  </a:lnTo>
                  <a:lnTo>
                    <a:pt x="982" y="23"/>
                  </a:lnTo>
                  <a:lnTo>
                    <a:pt x="967" y="29"/>
                  </a:lnTo>
                  <a:lnTo>
                    <a:pt x="960" y="32"/>
                  </a:lnTo>
                  <a:lnTo>
                    <a:pt x="953" y="36"/>
                  </a:lnTo>
                  <a:lnTo>
                    <a:pt x="939" y="43"/>
                  </a:lnTo>
                  <a:lnTo>
                    <a:pt x="926" y="51"/>
                  </a:lnTo>
                  <a:lnTo>
                    <a:pt x="913" y="60"/>
                  </a:lnTo>
                  <a:lnTo>
                    <a:pt x="901" y="69"/>
                  </a:lnTo>
                  <a:lnTo>
                    <a:pt x="889" y="79"/>
                  </a:lnTo>
                  <a:lnTo>
                    <a:pt x="878" y="89"/>
                  </a:lnTo>
                  <a:lnTo>
                    <a:pt x="867" y="100"/>
                  </a:lnTo>
                  <a:lnTo>
                    <a:pt x="857" y="111"/>
                  </a:lnTo>
                  <a:lnTo>
                    <a:pt x="847" y="123"/>
                  </a:lnTo>
                  <a:lnTo>
                    <a:pt x="842" y="130"/>
                  </a:lnTo>
                  <a:lnTo>
                    <a:pt x="838" y="136"/>
                  </a:lnTo>
                  <a:lnTo>
                    <a:pt x="830" y="149"/>
                  </a:lnTo>
                  <a:lnTo>
                    <a:pt x="822" y="163"/>
                  </a:lnTo>
                  <a:lnTo>
                    <a:pt x="814" y="177"/>
                  </a:lnTo>
                  <a:lnTo>
                    <a:pt x="808" y="191"/>
                  </a:lnTo>
                  <a:lnTo>
                    <a:pt x="802" y="206"/>
                  </a:lnTo>
                  <a:lnTo>
                    <a:pt x="797" y="221"/>
                  </a:lnTo>
                  <a:lnTo>
                    <a:pt x="793" y="237"/>
                  </a:lnTo>
                  <a:lnTo>
                    <a:pt x="789" y="253"/>
                  </a:lnTo>
                  <a:lnTo>
                    <a:pt x="786" y="270"/>
                  </a:lnTo>
                  <a:lnTo>
                    <a:pt x="784" y="287"/>
                  </a:lnTo>
                  <a:lnTo>
                    <a:pt x="783" y="304"/>
                  </a:lnTo>
                  <a:lnTo>
                    <a:pt x="782" y="323"/>
                  </a:lnTo>
                  <a:lnTo>
                    <a:pt x="783" y="341"/>
                  </a:lnTo>
                  <a:lnTo>
                    <a:pt x="784" y="358"/>
                  </a:lnTo>
                  <a:lnTo>
                    <a:pt x="786" y="375"/>
                  </a:lnTo>
                  <a:lnTo>
                    <a:pt x="789" y="392"/>
                  </a:lnTo>
                  <a:lnTo>
                    <a:pt x="791" y="400"/>
                  </a:lnTo>
                  <a:lnTo>
                    <a:pt x="793" y="408"/>
                  </a:lnTo>
                  <a:lnTo>
                    <a:pt x="797" y="424"/>
                  </a:lnTo>
                  <a:lnTo>
                    <a:pt x="802" y="439"/>
                  </a:lnTo>
                  <a:lnTo>
                    <a:pt x="808" y="454"/>
                  </a:lnTo>
                  <a:lnTo>
                    <a:pt x="814" y="469"/>
                  </a:lnTo>
                  <a:lnTo>
                    <a:pt x="822" y="483"/>
                  </a:lnTo>
                  <a:lnTo>
                    <a:pt x="830" y="496"/>
                  </a:lnTo>
                  <a:lnTo>
                    <a:pt x="838" y="509"/>
                  </a:lnTo>
                  <a:lnTo>
                    <a:pt x="847" y="522"/>
                  </a:lnTo>
                  <a:lnTo>
                    <a:pt x="857" y="534"/>
                  </a:lnTo>
                  <a:lnTo>
                    <a:pt x="867" y="545"/>
                  </a:lnTo>
                  <a:lnTo>
                    <a:pt x="878" y="556"/>
                  </a:lnTo>
                  <a:lnTo>
                    <a:pt x="889" y="566"/>
                  </a:lnTo>
                  <a:lnTo>
                    <a:pt x="901" y="576"/>
                  </a:lnTo>
                  <a:lnTo>
                    <a:pt x="913" y="585"/>
                  </a:lnTo>
                  <a:lnTo>
                    <a:pt x="926" y="594"/>
                  </a:lnTo>
                  <a:lnTo>
                    <a:pt x="939" y="602"/>
                  </a:lnTo>
                  <a:lnTo>
                    <a:pt x="953" y="609"/>
                  </a:lnTo>
                  <a:lnTo>
                    <a:pt x="967" y="616"/>
                  </a:lnTo>
                  <a:lnTo>
                    <a:pt x="974" y="619"/>
                  </a:lnTo>
                  <a:lnTo>
                    <a:pt x="982" y="622"/>
                  </a:lnTo>
                  <a:lnTo>
                    <a:pt x="996" y="628"/>
                  </a:lnTo>
                  <a:lnTo>
                    <a:pt x="1012" y="632"/>
                  </a:lnTo>
                  <a:lnTo>
                    <a:pt x="1027" y="636"/>
                  </a:lnTo>
                  <a:lnTo>
                    <a:pt x="1043" y="640"/>
                  </a:lnTo>
                  <a:lnTo>
                    <a:pt x="1059" y="642"/>
                  </a:lnTo>
                  <a:lnTo>
                    <a:pt x="1075" y="644"/>
                  </a:lnTo>
                  <a:lnTo>
                    <a:pt x="1092" y="645"/>
                  </a:lnTo>
                  <a:lnTo>
                    <a:pt x="1109" y="646"/>
                  </a:lnTo>
                  <a:lnTo>
                    <a:pt x="1126" y="645"/>
                  </a:lnTo>
                  <a:lnTo>
                    <a:pt x="1142" y="644"/>
                  </a:lnTo>
                  <a:lnTo>
                    <a:pt x="1159" y="642"/>
                  </a:lnTo>
                  <a:lnTo>
                    <a:pt x="1175" y="640"/>
                  </a:lnTo>
                  <a:lnTo>
                    <a:pt x="1191" y="636"/>
                  </a:lnTo>
                  <a:lnTo>
                    <a:pt x="1206" y="632"/>
                  </a:lnTo>
                  <a:lnTo>
                    <a:pt x="1221" y="628"/>
                  </a:lnTo>
                  <a:lnTo>
                    <a:pt x="1236" y="622"/>
                  </a:lnTo>
                  <a:lnTo>
                    <a:pt x="1251" y="616"/>
                  </a:lnTo>
                  <a:lnTo>
                    <a:pt x="1258" y="613"/>
                  </a:lnTo>
                  <a:lnTo>
                    <a:pt x="1265" y="609"/>
                  </a:lnTo>
                  <a:lnTo>
                    <a:pt x="1279" y="602"/>
                  </a:lnTo>
                  <a:lnTo>
                    <a:pt x="1292" y="594"/>
                  </a:lnTo>
                  <a:lnTo>
                    <a:pt x="1305" y="585"/>
                  </a:lnTo>
                  <a:lnTo>
                    <a:pt x="1317" y="576"/>
                  </a:lnTo>
                  <a:lnTo>
                    <a:pt x="1329" y="566"/>
                  </a:lnTo>
                  <a:lnTo>
                    <a:pt x="1340" y="556"/>
                  </a:lnTo>
                  <a:lnTo>
                    <a:pt x="1351" y="545"/>
                  </a:lnTo>
                  <a:lnTo>
                    <a:pt x="1361" y="534"/>
                  </a:lnTo>
                  <a:lnTo>
                    <a:pt x="1371" y="522"/>
                  </a:lnTo>
                  <a:lnTo>
                    <a:pt x="1375" y="516"/>
                  </a:lnTo>
                  <a:lnTo>
                    <a:pt x="1380" y="509"/>
                  </a:lnTo>
                  <a:lnTo>
                    <a:pt x="1388" y="496"/>
                  </a:lnTo>
                  <a:lnTo>
                    <a:pt x="1396" y="483"/>
                  </a:lnTo>
                  <a:lnTo>
                    <a:pt x="1403" y="469"/>
                  </a:lnTo>
                  <a:lnTo>
                    <a:pt x="1410" y="454"/>
                  </a:lnTo>
                  <a:lnTo>
                    <a:pt x="1416" y="439"/>
                  </a:lnTo>
                  <a:lnTo>
                    <a:pt x="1421" y="424"/>
                  </a:lnTo>
                  <a:lnTo>
                    <a:pt x="1425" y="408"/>
                  </a:lnTo>
                  <a:lnTo>
                    <a:pt x="1429" y="392"/>
                  </a:lnTo>
                  <a:lnTo>
                    <a:pt x="1432" y="375"/>
                  </a:lnTo>
                  <a:lnTo>
                    <a:pt x="1434" y="358"/>
                  </a:lnTo>
                  <a:lnTo>
                    <a:pt x="1435" y="341"/>
                  </a:lnTo>
                  <a:lnTo>
                    <a:pt x="1435" y="323"/>
                  </a:lnTo>
                  <a:lnTo>
                    <a:pt x="1435" y="304"/>
                  </a:lnTo>
                  <a:lnTo>
                    <a:pt x="1434" y="287"/>
                  </a:lnTo>
                  <a:lnTo>
                    <a:pt x="1432" y="270"/>
                  </a:lnTo>
                  <a:lnTo>
                    <a:pt x="1429" y="253"/>
                  </a:lnTo>
                  <a:lnTo>
                    <a:pt x="1427" y="245"/>
                  </a:lnTo>
                  <a:lnTo>
                    <a:pt x="1425" y="237"/>
                  </a:lnTo>
                  <a:lnTo>
                    <a:pt x="1421" y="221"/>
                  </a:lnTo>
                  <a:lnTo>
                    <a:pt x="1416" y="206"/>
                  </a:lnTo>
                  <a:lnTo>
                    <a:pt x="1410" y="191"/>
                  </a:lnTo>
                  <a:lnTo>
                    <a:pt x="1403" y="177"/>
                  </a:lnTo>
                  <a:lnTo>
                    <a:pt x="1396" y="163"/>
                  </a:lnTo>
                  <a:lnTo>
                    <a:pt x="1388" y="149"/>
                  </a:lnTo>
                  <a:lnTo>
                    <a:pt x="1380" y="136"/>
                  </a:lnTo>
                  <a:lnTo>
                    <a:pt x="1371" y="123"/>
                  </a:lnTo>
                  <a:lnTo>
                    <a:pt x="1361" y="111"/>
                  </a:lnTo>
                  <a:lnTo>
                    <a:pt x="1351" y="100"/>
                  </a:lnTo>
                  <a:lnTo>
                    <a:pt x="1340" y="89"/>
                  </a:lnTo>
                  <a:lnTo>
                    <a:pt x="1329" y="79"/>
                  </a:lnTo>
                  <a:lnTo>
                    <a:pt x="1317" y="69"/>
                  </a:lnTo>
                  <a:lnTo>
                    <a:pt x="1305" y="60"/>
                  </a:lnTo>
                  <a:lnTo>
                    <a:pt x="1292" y="51"/>
                  </a:lnTo>
                  <a:lnTo>
                    <a:pt x="1279" y="43"/>
                  </a:lnTo>
                  <a:lnTo>
                    <a:pt x="1265" y="36"/>
                  </a:lnTo>
                  <a:lnTo>
                    <a:pt x="1251" y="29"/>
                  </a:lnTo>
                  <a:lnTo>
                    <a:pt x="1244" y="26"/>
                  </a:lnTo>
                  <a:lnTo>
                    <a:pt x="1236" y="23"/>
                  </a:lnTo>
                  <a:lnTo>
                    <a:pt x="1221" y="18"/>
                  </a:lnTo>
                  <a:lnTo>
                    <a:pt x="1206" y="13"/>
                  </a:lnTo>
                  <a:lnTo>
                    <a:pt x="1191" y="9"/>
                  </a:lnTo>
                  <a:lnTo>
                    <a:pt x="1175" y="6"/>
                  </a:lnTo>
                  <a:lnTo>
                    <a:pt x="1159" y="3"/>
                  </a:lnTo>
                  <a:lnTo>
                    <a:pt x="1142" y="1"/>
                  </a:lnTo>
                  <a:lnTo>
                    <a:pt x="1126" y="0"/>
                  </a:lnTo>
                  <a:lnTo>
                    <a:pt x="1109" y="0"/>
                  </a:lnTo>
                  <a:close/>
                  <a:moveTo>
                    <a:pt x="1268" y="323"/>
                  </a:moveTo>
                  <a:lnTo>
                    <a:pt x="1267" y="333"/>
                  </a:lnTo>
                  <a:lnTo>
                    <a:pt x="1267" y="342"/>
                  </a:lnTo>
                  <a:lnTo>
                    <a:pt x="1266" y="352"/>
                  </a:lnTo>
                  <a:lnTo>
                    <a:pt x="1264" y="361"/>
                  </a:lnTo>
                  <a:lnTo>
                    <a:pt x="1263" y="370"/>
                  </a:lnTo>
                  <a:lnTo>
                    <a:pt x="1261" y="378"/>
                  </a:lnTo>
                  <a:lnTo>
                    <a:pt x="1258" y="387"/>
                  </a:lnTo>
                  <a:lnTo>
                    <a:pt x="1255" y="395"/>
                  </a:lnTo>
                  <a:lnTo>
                    <a:pt x="1249" y="411"/>
                  </a:lnTo>
                  <a:lnTo>
                    <a:pt x="1245" y="418"/>
                  </a:lnTo>
                  <a:lnTo>
                    <a:pt x="1241" y="425"/>
                  </a:lnTo>
                  <a:lnTo>
                    <a:pt x="1237" y="432"/>
                  </a:lnTo>
                  <a:lnTo>
                    <a:pt x="1232" y="439"/>
                  </a:lnTo>
                  <a:lnTo>
                    <a:pt x="1227" y="445"/>
                  </a:lnTo>
                  <a:lnTo>
                    <a:pt x="1222" y="451"/>
                  </a:lnTo>
                  <a:lnTo>
                    <a:pt x="1216" y="457"/>
                  </a:lnTo>
                  <a:lnTo>
                    <a:pt x="1211" y="462"/>
                  </a:lnTo>
                  <a:lnTo>
                    <a:pt x="1205" y="467"/>
                  </a:lnTo>
                  <a:lnTo>
                    <a:pt x="1198" y="472"/>
                  </a:lnTo>
                  <a:lnTo>
                    <a:pt x="1185" y="480"/>
                  </a:lnTo>
                  <a:lnTo>
                    <a:pt x="1178" y="484"/>
                  </a:lnTo>
                  <a:lnTo>
                    <a:pt x="1171" y="487"/>
                  </a:lnTo>
                  <a:lnTo>
                    <a:pt x="1164" y="490"/>
                  </a:lnTo>
                  <a:lnTo>
                    <a:pt x="1157" y="493"/>
                  </a:lnTo>
                  <a:lnTo>
                    <a:pt x="1149" y="495"/>
                  </a:lnTo>
                  <a:lnTo>
                    <a:pt x="1141" y="497"/>
                  </a:lnTo>
                  <a:lnTo>
                    <a:pt x="1133" y="498"/>
                  </a:lnTo>
                  <a:lnTo>
                    <a:pt x="1125" y="499"/>
                  </a:lnTo>
                  <a:lnTo>
                    <a:pt x="1109" y="500"/>
                  </a:lnTo>
                  <a:lnTo>
                    <a:pt x="1092" y="499"/>
                  </a:lnTo>
                  <a:lnTo>
                    <a:pt x="1084" y="498"/>
                  </a:lnTo>
                  <a:lnTo>
                    <a:pt x="1076" y="497"/>
                  </a:lnTo>
                  <a:lnTo>
                    <a:pt x="1069" y="495"/>
                  </a:lnTo>
                  <a:lnTo>
                    <a:pt x="1061" y="493"/>
                  </a:lnTo>
                  <a:lnTo>
                    <a:pt x="1054" y="490"/>
                  </a:lnTo>
                  <a:lnTo>
                    <a:pt x="1046" y="487"/>
                  </a:lnTo>
                  <a:lnTo>
                    <a:pt x="1039" y="484"/>
                  </a:lnTo>
                  <a:lnTo>
                    <a:pt x="1033" y="480"/>
                  </a:lnTo>
                  <a:lnTo>
                    <a:pt x="1026" y="476"/>
                  </a:lnTo>
                  <a:lnTo>
                    <a:pt x="1019" y="472"/>
                  </a:lnTo>
                  <a:lnTo>
                    <a:pt x="1013" y="467"/>
                  </a:lnTo>
                  <a:lnTo>
                    <a:pt x="1007" y="462"/>
                  </a:lnTo>
                  <a:lnTo>
                    <a:pt x="1002" y="457"/>
                  </a:lnTo>
                  <a:lnTo>
                    <a:pt x="996" y="451"/>
                  </a:lnTo>
                  <a:lnTo>
                    <a:pt x="986" y="439"/>
                  </a:lnTo>
                  <a:lnTo>
                    <a:pt x="981" y="432"/>
                  </a:lnTo>
                  <a:lnTo>
                    <a:pt x="977" y="425"/>
                  </a:lnTo>
                  <a:lnTo>
                    <a:pt x="973" y="418"/>
                  </a:lnTo>
                  <a:lnTo>
                    <a:pt x="969" y="411"/>
                  </a:lnTo>
                  <a:lnTo>
                    <a:pt x="966" y="403"/>
                  </a:lnTo>
                  <a:lnTo>
                    <a:pt x="963" y="395"/>
                  </a:lnTo>
                  <a:lnTo>
                    <a:pt x="960" y="387"/>
                  </a:lnTo>
                  <a:lnTo>
                    <a:pt x="957" y="378"/>
                  </a:lnTo>
                  <a:lnTo>
                    <a:pt x="955" y="370"/>
                  </a:lnTo>
                  <a:lnTo>
                    <a:pt x="953" y="361"/>
                  </a:lnTo>
                  <a:lnTo>
                    <a:pt x="952" y="352"/>
                  </a:lnTo>
                  <a:lnTo>
                    <a:pt x="951" y="342"/>
                  </a:lnTo>
                  <a:lnTo>
                    <a:pt x="951" y="333"/>
                  </a:lnTo>
                  <a:lnTo>
                    <a:pt x="950" y="323"/>
                  </a:lnTo>
                  <a:lnTo>
                    <a:pt x="951" y="312"/>
                  </a:lnTo>
                  <a:lnTo>
                    <a:pt x="951" y="303"/>
                  </a:lnTo>
                  <a:lnTo>
                    <a:pt x="952" y="294"/>
                  </a:lnTo>
                  <a:lnTo>
                    <a:pt x="953" y="284"/>
                  </a:lnTo>
                  <a:lnTo>
                    <a:pt x="955" y="276"/>
                  </a:lnTo>
                  <a:lnTo>
                    <a:pt x="957" y="267"/>
                  </a:lnTo>
                  <a:lnTo>
                    <a:pt x="960" y="258"/>
                  </a:lnTo>
                  <a:lnTo>
                    <a:pt x="963" y="250"/>
                  </a:lnTo>
                  <a:lnTo>
                    <a:pt x="969" y="235"/>
                  </a:lnTo>
                  <a:lnTo>
                    <a:pt x="973" y="227"/>
                  </a:lnTo>
                  <a:lnTo>
                    <a:pt x="977" y="220"/>
                  </a:lnTo>
                  <a:lnTo>
                    <a:pt x="981" y="213"/>
                  </a:lnTo>
                  <a:lnTo>
                    <a:pt x="986" y="207"/>
                  </a:lnTo>
                  <a:lnTo>
                    <a:pt x="991" y="200"/>
                  </a:lnTo>
                  <a:lnTo>
                    <a:pt x="996" y="194"/>
                  </a:lnTo>
                  <a:lnTo>
                    <a:pt x="1002" y="189"/>
                  </a:lnTo>
                  <a:lnTo>
                    <a:pt x="1007" y="183"/>
                  </a:lnTo>
                  <a:lnTo>
                    <a:pt x="1013" y="178"/>
                  </a:lnTo>
                  <a:lnTo>
                    <a:pt x="1019" y="174"/>
                  </a:lnTo>
                  <a:lnTo>
                    <a:pt x="1033" y="165"/>
                  </a:lnTo>
                  <a:lnTo>
                    <a:pt x="1039" y="161"/>
                  </a:lnTo>
                  <a:lnTo>
                    <a:pt x="1046" y="158"/>
                  </a:lnTo>
                  <a:lnTo>
                    <a:pt x="1054" y="155"/>
                  </a:lnTo>
                  <a:lnTo>
                    <a:pt x="1061" y="153"/>
                  </a:lnTo>
                  <a:lnTo>
                    <a:pt x="1069" y="150"/>
                  </a:lnTo>
                  <a:lnTo>
                    <a:pt x="1076" y="149"/>
                  </a:lnTo>
                  <a:lnTo>
                    <a:pt x="1084" y="147"/>
                  </a:lnTo>
                  <a:lnTo>
                    <a:pt x="1092" y="146"/>
                  </a:lnTo>
                  <a:lnTo>
                    <a:pt x="1109" y="145"/>
                  </a:lnTo>
                  <a:lnTo>
                    <a:pt x="1125" y="146"/>
                  </a:lnTo>
                  <a:lnTo>
                    <a:pt x="1133" y="147"/>
                  </a:lnTo>
                  <a:lnTo>
                    <a:pt x="1141" y="149"/>
                  </a:lnTo>
                  <a:lnTo>
                    <a:pt x="1149" y="150"/>
                  </a:lnTo>
                  <a:lnTo>
                    <a:pt x="1157" y="153"/>
                  </a:lnTo>
                  <a:lnTo>
                    <a:pt x="1164" y="155"/>
                  </a:lnTo>
                  <a:lnTo>
                    <a:pt x="1171" y="158"/>
                  </a:lnTo>
                  <a:lnTo>
                    <a:pt x="1178" y="161"/>
                  </a:lnTo>
                  <a:lnTo>
                    <a:pt x="1185" y="165"/>
                  </a:lnTo>
                  <a:lnTo>
                    <a:pt x="1192" y="169"/>
                  </a:lnTo>
                  <a:lnTo>
                    <a:pt x="1198" y="174"/>
                  </a:lnTo>
                  <a:lnTo>
                    <a:pt x="1205" y="178"/>
                  </a:lnTo>
                  <a:lnTo>
                    <a:pt x="1211" y="183"/>
                  </a:lnTo>
                  <a:lnTo>
                    <a:pt x="1216" y="189"/>
                  </a:lnTo>
                  <a:lnTo>
                    <a:pt x="1222" y="194"/>
                  </a:lnTo>
                  <a:lnTo>
                    <a:pt x="1232" y="207"/>
                  </a:lnTo>
                  <a:lnTo>
                    <a:pt x="1237" y="213"/>
                  </a:lnTo>
                  <a:lnTo>
                    <a:pt x="1241" y="220"/>
                  </a:lnTo>
                  <a:lnTo>
                    <a:pt x="1245" y="227"/>
                  </a:lnTo>
                  <a:lnTo>
                    <a:pt x="1249" y="235"/>
                  </a:lnTo>
                  <a:lnTo>
                    <a:pt x="1252" y="242"/>
                  </a:lnTo>
                  <a:lnTo>
                    <a:pt x="1255" y="250"/>
                  </a:lnTo>
                  <a:lnTo>
                    <a:pt x="1258" y="258"/>
                  </a:lnTo>
                  <a:lnTo>
                    <a:pt x="1261" y="267"/>
                  </a:lnTo>
                  <a:lnTo>
                    <a:pt x="1263" y="276"/>
                  </a:lnTo>
                  <a:lnTo>
                    <a:pt x="1264" y="284"/>
                  </a:lnTo>
                  <a:lnTo>
                    <a:pt x="1266" y="294"/>
                  </a:lnTo>
                  <a:lnTo>
                    <a:pt x="1267" y="303"/>
                  </a:lnTo>
                  <a:lnTo>
                    <a:pt x="1267" y="312"/>
                  </a:lnTo>
                  <a:lnTo>
                    <a:pt x="1268" y="323"/>
                  </a:lnTo>
                  <a:close/>
                  <a:moveTo>
                    <a:pt x="2714" y="496"/>
                  </a:moveTo>
                  <a:lnTo>
                    <a:pt x="2714" y="391"/>
                  </a:lnTo>
                  <a:lnTo>
                    <a:pt x="2986" y="391"/>
                  </a:lnTo>
                  <a:lnTo>
                    <a:pt x="2986" y="258"/>
                  </a:lnTo>
                  <a:lnTo>
                    <a:pt x="2714" y="258"/>
                  </a:lnTo>
                  <a:lnTo>
                    <a:pt x="2714" y="154"/>
                  </a:lnTo>
                  <a:lnTo>
                    <a:pt x="3024" y="154"/>
                  </a:lnTo>
                  <a:lnTo>
                    <a:pt x="3024" y="17"/>
                  </a:lnTo>
                  <a:lnTo>
                    <a:pt x="2548" y="17"/>
                  </a:lnTo>
                  <a:lnTo>
                    <a:pt x="2548" y="636"/>
                  </a:lnTo>
                  <a:lnTo>
                    <a:pt x="3024" y="636"/>
                  </a:lnTo>
                  <a:lnTo>
                    <a:pt x="3024" y="496"/>
                  </a:lnTo>
                  <a:lnTo>
                    <a:pt x="2714" y="496"/>
                  </a:lnTo>
                  <a:close/>
                  <a:moveTo>
                    <a:pt x="589" y="636"/>
                  </a:moveTo>
                  <a:lnTo>
                    <a:pt x="344" y="308"/>
                  </a:lnTo>
                  <a:lnTo>
                    <a:pt x="573" y="17"/>
                  </a:lnTo>
                  <a:lnTo>
                    <a:pt x="375" y="17"/>
                  </a:lnTo>
                  <a:lnTo>
                    <a:pt x="168" y="287"/>
                  </a:lnTo>
                  <a:lnTo>
                    <a:pt x="168" y="17"/>
                  </a:lnTo>
                  <a:lnTo>
                    <a:pt x="0" y="17"/>
                  </a:lnTo>
                  <a:lnTo>
                    <a:pt x="0" y="636"/>
                  </a:lnTo>
                  <a:lnTo>
                    <a:pt x="168" y="636"/>
                  </a:lnTo>
                  <a:lnTo>
                    <a:pt x="168" y="344"/>
                  </a:lnTo>
                  <a:lnTo>
                    <a:pt x="383" y="636"/>
                  </a:lnTo>
                  <a:lnTo>
                    <a:pt x="589" y="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
        <p:nvSpPr>
          <p:cNvPr id="13" name="Title 5">
            <a:extLst>
              <a:ext uri="{FF2B5EF4-FFF2-40B4-BE49-F238E27FC236}">
                <a16:creationId xmlns:a16="http://schemas.microsoft.com/office/drawing/2014/main" id="{0270F12D-1A2E-E945-8C90-7777EE877759}"/>
              </a:ext>
            </a:extLst>
          </p:cNvPr>
          <p:cNvSpPr txBox="1">
            <a:spLocks/>
          </p:cNvSpPr>
          <p:nvPr/>
        </p:nvSpPr>
        <p:spPr>
          <a:xfrm>
            <a:off x="6581900" y="694706"/>
            <a:ext cx="4260272" cy="86360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lang="en-US" sz="3200" kern="1200" cap="none" spc="0" baseline="0" noProof="0" dirty="0">
                <a:solidFill>
                  <a:schemeClr val="tx2"/>
                </a:solidFill>
                <a:latin typeface="+mj-lt"/>
                <a:ea typeface="+mj-ea"/>
                <a:cs typeface="+mj-cs"/>
              </a:defRPr>
            </a:lvl1pPr>
          </a:lstStyle>
          <a:p>
            <a:r>
              <a:rPr lang="en-GB">
                <a:cs typeface="Arial"/>
              </a:rPr>
              <a:t>Benefit from sustainable maintenance</a:t>
            </a:r>
          </a:p>
        </p:txBody>
      </p:sp>
      <p:sp>
        <p:nvSpPr>
          <p:cNvPr id="15" name="Content Placeholder 4">
            <a:extLst>
              <a:ext uri="{FF2B5EF4-FFF2-40B4-BE49-F238E27FC236}">
                <a16:creationId xmlns:a16="http://schemas.microsoft.com/office/drawing/2014/main" id="{D25B489C-9939-E748-B556-065E06B43ABC}"/>
              </a:ext>
            </a:extLst>
          </p:cNvPr>
          <p:cNvSpPr txBox="1">
            <a:spLocks/>
          </p:cNvSpPr>
          <p:nvPr/>
        </p:nvSpPr>
        <p:spPr>
          <a:xfrm>
            <a:off x="7190509" y="5247906"/>
            <a:ext cx="4102925" cy="630382"/>
          </a:xfrm>
          <a:prstGeom prst="rect">
            <a:avLst/>
          </a:prstGeom>
        </p:spPr>
        <p:txBody>
          <a:bodyPr vert="horz" lIns="0" tIns="0" rIns="0" bIns="0" rtlCol="0" anchor="ctr">
            <a:noAutofit/>
          </a:bodyPr>
          <a:lstStyle>
            <a:lvl1pPr marL="266700" indent="-266700" algn="l" defTabSz="914400" rtl="0" eaLnBrk="1" latinLnBrk="0" hangingPunct="1">
              <a:lnSpc>
                <a:spcPct val="120000"/>
              </a:lnSpc>
              <a:spcBef>
                <a:spcPts val="400"/>
              </a:spcBef>
              <a:buClr>
                <a:schemeClr val="tx2"/>
              </a:buClr>
              <a:buFont typeface="Wingdings" panose="05000000000000000000" pitchFamily="2" charset="2"/>
              <a:buChar char="§"/>
              <a:defRPr lang="en-US" sz="2000" kern="1200" noProof="0" dirty="0">
                <a:solidFill>
                  <a:schemeClr val="tx1"/>
                </a:solidFill>
                <a:latin typeface="+mn-lt"/>
                <a:ea typeface="+mn-ea"/>
                <a:cs typeface="+mn-cs"/>
              </a:defRPr>
            </a:lvl1pPr>
            <a:lvl2pPr marL="539750" indent="-273050" algn="l" defTabSz="914400" rtl="0" eaLnBrk="1" latinLnBrk="0" hangingPunct="1">
              <a:lnSpc>
                <a:spcPct val="120000"/>
              </a:lnSpc>
              <a:spcBef>
                <a:spcPts val="400"/>
              </a:spcBef>
              <a:buClr>
                <a:schemeClr val="tx2"/>
              </a:buClr>
              <a:buFont typeface="Arial" panose="020B0604020202020204" pitchFamily="34" charset="0"/>
              <a:buChar char="–"/>
              <a:defRPr lang="en-US" sz="1800" kern="1200" noProof="0" dirty="0">
                <a:solidFill>
                  <a:schemeClr val="tx1"/>
                </a:solidFill>
                <a:latin typeface="+mn-lt"/>
                <a:ea typeface="+mn-ea"/>
                <a:cs typeface="+mn-cs"/>
              </a:defRPr>
            </a:lvl2pPr>
            <a:lvl3pPr marL="806450" indent="-266700" algn="l" defTabSz="914400" rtl="0" eaLnBrk="1" latinLnBrk="0" hangingPunct="1">
              <a:lnSpc>
                <a:spcPct val="120000"/>
              </a:lnSpc>
              <a:spcBef>
                <a:spcPts val="400"/>
              </a:spcBef>
              <a:buClr>
                <a:schemeClr val="tx2"/>
              </a:buClr>
              <a:buFont typeface="Wingdings" panose="05000000000000000000" pitchFamily="2" charset="2"/>
              <a:buChar char="§"/>
              <a:defRPr lang="en-US" sz="1600" kern="1200" noProof="0" dirty="0">
                <a:solidFill>
                  <a:schemeClr val="tx1"/>
                </a:solidFill>
                <a:latin typeface="+mn-lt"/>
                <a:ea typeface="+mn-ea"/>
                <a:cs typeface="+mn-cs"/>
              </a:defRPr>
            </a:lvl3pPr>
            <a:lvl4pPr marL="1071563" indent="-265113" algn="l" defTabSz="914400" rtl="0" eaLnBrk="1" latinLnBrk="0" hangingPunct="1">
              <a:lnSpc>
                <a:spcPct val="120000"/>
              </a:lnSpc>
              <a:spcBef>
                <a:spcPts val="400"/>
              </a:spcBef>
              <a:buClr>
                <a:schemeClr val="tx2"/>
              </a:buClr>
              <a:buFont typeface="Arial" panose="020B0604020202020204" pitchFamily="34" charset="0"/>
              <a:buChar char="–"/>
              <a:defRPr lang="en-US" sz="1400" kern="1200" noProof="0" dirty="0">
                <a:solidFill>
                  <a:schemeClr val="tx1"/>
                </a:solidFill>
                <a:latin typeface="+mn-lt"/>
                <a:ea typeface="+mn-ea"/>
                <a:cs typeface="+mn-cs"/>
              </a:defRPr>
            </a:lvl4pPr>
            <a:lvl5pPr marL="1346200" indent="-274638" algn="l" defTabSz="914400" rtl="0" eaLnBrk="1" latinLnBrk="0" hangingPunct="1">
              <a:lnSpc>
                <a:spcPct val="120000"/>
              </a:lnSpc>
              <a:spcBef>
                <a:spcPts val="400"/>
              </a:spcBef>
              <a:buClr>
                <a:schemeClr val="tx2"/>
              </a:buClr>
              <a:buFont typeface="Wingdings" panose="05000000000000000000" pitchFamily="2" charset="2"/>
              <a:buChar char="§"/>
              <a:defRPr lang="en-US" sz="1400" kern="1200" noProof="0" dirty="0">
                <a:solidFill>
                  <a:schemeClr val="tx1"/>
                </a:solidFill>
                <a:latin typeface="+mn-lt"/>
                <a:ea typeface="+mn-ea"/>
                <a:cs typeface="+mn-cs"/>
              </a:defRPr>
            </a:lvl5pPr>
            <a:lvl6pPr marL="161290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6pPr>
            <a:lvl7pPr marL="1878013" indent="-265113"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7pPr>
            <a:lvl8pPr marL="2152650" indent="-274638" algn="l" defTabSz="914400" rtl="0" eaLnBrk="1" latinLnBrk="0" hangingPunct="1">
              <a:lnSpc>
                <a:spcPct val="120000"/>
              </a:lnSpc>
              <a:spcBef>
                <a:spcPts val="400"/>
              </a:spcBef>
              <a:buClr>
                <a:schemeClr val="tx2"/>
              </a:buClr>
              <a:buFont typeface="Arial" panose="020B0604020202020204" pitchFamily="34" charset="0"/>
              <a:buChar char="–"/>
              <a:defRPr lang="en-US" sz="1200" kern="1200" baseline="0" noProof="0" dirty="0">
                <a:solidFill>
                  <a:schemeClr val="tx1"/>
                </a:solidFill>
                <a:latin typeface="+mn-lt"/>
                <a:ea typeface="+mn-ea"/>
                <a:cs typeface="+mn-cs"/>
              </a:defRPr>
            </a:lvl8pPr>
            <a:lvl9pPr marL="2419350" indent="-266700" algn="l" defTabSz="914400" rtl="0" eaLnBrk="1" latinLnBrk="0" hangingPunct="1">
              <a:lnSpc>
                <a:spcPct val="120000"/>
              </a:lnSpc>
              <a:spcBef>
                <a:spcPts val="400"/>
              </a:spcBef>
              <a:buClr>
                <a:schemeClr val="tx2"/>
              </a:buClr>
              <a:buFont typeface="Arial" panose="020B0604020202020204" pitchFamily="34" charset="0"/>
              <a:buChar char="•"/>
              <a:defRPr lang="en-US" sz="1200" kern="1200" noProof="0" dirty="0">
                <a:solidFill>
                  <a:schemeClr val="tx1"/>
                </a:solidFill>
                <a:latin typeface="+mn-lt"/>
                <a:ea typeface="+mn-ea"/>
                <a:cs typeface="+mn-cs"/>
              </a:defRPr>
            </a:lvl9pPr>
          </a:lstStyle>
          <a:p>
            <a:pPr marL="0" indent="0">
              <a:lnSpc>
                <a:spcPct val="100000"/>
              </a:lnSpc>
              <a:spcBef>
                <a:spcPts val="1200"/>
              </a:spcBef>
              <a:buNone/>
            </a:pPr>
            <a:r>
              <a:rPr lang="en-GB" sz="1600" b="1">
                <a:solidFill>
                  <a:schemeClr val="tx2"/>
                </a:solidFill>
                <a:cs typeface="Arial"/>
              </a:rPr>
              <a:t>1st carbon neutral elevator </a:t>
            </a:r>
            <a:br>
              <a:rPr lang="en-GB" sz="1600" b="1">
                <a:solidFill>
                  <a:schemeClr val="tx2"/>
                </a:solidFill>
                <a:cs typeface="Arial"/>
              </a:rPr>
            </a:br>
            <a:r>
              <a:rPr lang="en-GB" sz="1600" b="1">
                <a:solidFill>
                  <a:schemeClr val="tx2"/>
                </a:solidFill>
                <a:cs typeface="Arial"/>
              </a:rPr>
              <a:t>maintenance service in the industry</a:t>
            </a:r>
          </a:p>
        </p:txBody>
      </p:sp>
      <p:cxnSp>
        <p:nvCxnSpPr>
          <p:cNvPr id="19" name="Straight Connector 18">
            <a:extLst>
              <a:ext uri="{FF2B5EF4-FFF2-40B4-BE49-F238E27FC236}">
                <a16:creationId xmlns:a16="http://schemas.microsoft.com/office/drawing/2014/main" id="{3CCCFC7D-8896-6043-8E25-274A2B93D870}"/>
              </a:ext>
            </a:extLst>
          </p:cNvPr>
          <p:cNvCxnSpPr/>
          <p:nvPr/>
        </p:nvCxnSpPr>
        <p:spPr>
          <a:xfrm>
            <a:off x="6590805" y="5189517"/>
            <a:ext cx="44057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C0751CA-E2F9-8A47-9712-B81776F24299}"/>
              </a:ext>
            </a:extLst>
          </p:cNvPr>
          <p:cNvCxnSpPr/>
          <p:nvPr/>
        </p:nvCxnSpPr>
        <p:spPr>
          <a:xfrm>
            <a:off x="6593774" y="5955475"/>
            <a:ext cx="440574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712575C5-753D-7D4C-B355-73BAF204D86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31626" y="5306219"/>
            <a:ext cx="410441" cy="541306"/>
          </a:xfrm>
          <a:prstGeom prst="rect">
            <a:avLst/>
          </a:prstGeom>
        </p:spPr>
      </p:pic>
      <p:sp>
        <p:nvSpPr>
          <p:cNvPr id="24" name="Freeform 9">
            <a:hlinkClick r:id="rId5" action="ppaction://hlinksldjump"/>
            <a:extLst>
              <a:ext uri="{FF2B5EF4-FFF2-40B4-BE49-F238E27FC236}">
                <a16:creationId xmlns:a16="http://schemas.microsoft.com/office/drawing/2014/main" id="{1FB74205-24C0-42B9-912F-01B6A08A9CAD}"/>
              </a:ext>
            </a:extLst>
          </p:cNvPr>
          <p:cNvSpPr>
            <a:spLocks noChangeAspect="1" noEditPoints="1"/>
          </p:cNvSpPr>
          <p:nvPr/>
        </p:nvSpPr>
        <p:spPr bwMode="auto">
          <a:xfrm rot="10800000" flipV="1">
            <a:off x="191181" y="90916"/>
            <a:ext cx="108000" cy="108000"/>
          </a:xfrm>
          <a:custGeom>
            <a:avLst/>
            <a:gdLst>
              <a:gd name="T0" fmla="*/ 1082 w 2142"/>
              <a:gd name="T1" fmla="*/ 1607 h 2142"/>
              <a:gd name="T2" fmla="*/ 990 w 2142"/>
              <a:gd name="T3" fmla="*/ 1578 h 2142"/>
              <a:gd name="T4" fmla="*/ 494 w 2142"/>
              <a:gd name="T5" fmla="*/ 1025 h 2142"/>
              <a:gd name="T6" fmla="*/ 999 w 2142"/>
              <a:gd name="T7" fmla="*/ 1002 h 2142"/>
              <a:gd name="T8" fmla="*/ 1060 w 2142"/>
              <a:gd name="T9" fmla="*/ 534 h 2142"/>
              <a:gd name="T10" fmla="*/ 1153 w 2142"/>
              <a:gd name="T11" fmla="*/ 564 h 2142"/>
              <a:gd name="T12" fmla="*/ 1666 w 2142"/>
              <a:gd name="T13" fmla="*/ 1064 h 2142"/>
              <a:gd name="T14" fmla="*/ 1641 w 2142"/>
              <a:gd name="T15" fmla="*/ 1124 h 2142"/>
              <a:gd name="T16" fmla="*/ 539 w 2142"/>
              <a:gd name="T17" fmla="*/ 1140 h 2142"/>
              <a:gd name="T18" fmla="*/ 488 w 2142"/>
              <a:gd name="T19" fmla="*/ 1109 h 2142"/>
              <a:gd name="T20" fmla="*/ 988 w 2142"/>
              <a:gd name="T21" fmla="*/ 2139 h 2142"/>
              <a:gd name="T22" fmla="*/ 728 w 2142"/>
              <a:gd name="T23" fmla="*/ 2086 h 2142"/>
              <a:gd name="T24" fmla="*/ 494 w 2142"/>
              <a:gd name="T25" fmla="*/ 1973 h 2142"/>
              <a:gd name="T26" fmla="*/ 296 w 2142"/>
              <a:gd name="T27" fmla="*/ 1810 h 2142"/>
              <a:gd name="T28" fmla="*/ 142 w 2142"/>
              <a:gd name="T29" fmla="*/ 1604 h 2142"/>
              <a:gd name="T30" fmla="*/ 41 w 2142"/>
              <a:gd name="T31" fmla="*/ 1364 h 2142"/>
              <a:gd name="T32" fmla="*/ 0 w 2142"/>
              <a:gd name="T33" fmla="*/ 1098 h 2142"/>
              <a:gd name="T34" fmla="*/ 27 w 2142"/>
              <a:gd name="T35" fmla="*/ 829 h 2142"/>
              <a:gd name="T36" fmla="*/ 117 w 2142"/>
              <a:gd name="T37" fmla="*/ 584 h 2142"/>
              <a:gd name="T38" fmla="*/ 261 w 2142"/>
              <a:gd name="T39" fmla="*/ 370 h 2142"/>
              <a:gd name="T40" fmla="*/ 452 w 2142"/>
              <a:gd name="T41" fmla="*/ 198 h 2142"/>
              <a:gd name="T42" fmla="*/ 679 w 2142"/>
              <a:gd name="T43" fmla="*/ 74 h 2142"/>
              <a:gd name="T44" fmla="*/ 936 w 2142"/>
              <a:gd name="T45" fmla="*/ 8 h 2142"/>
              <a:gd name="T46" fmla="*/ 1208 w 2142"/>
              <a:gd name="T47" fmla="*/ 8 h 2142"/>
              <a:gd name="T48" fmla="*/ 1463 w 2142"/>
              <a:gd name="T49" fmla="*/ 74 h 2142"/>
              <a:gd name="T50" fmla="*/ 1691 w 2142"/>
              <a:gd name="T51" fmla="*/ 198 h 2142"/>
              <a:gd name="T52" fmla="*/ 1881 w 2142"/>
              <a:gd name="T53" fmla="*/ 370 h 2142"/>
              <a:gd name="T54" fmla="*/ 2025 w 2142"/>
              <a:gd name="T55" fmla="*/ 584 h 2142"/>
              <a:gd name="T56" fmla="*/ 2115 w 2142"/>
              <a:gd name="T57" fmla="*/ 829 h 2142"/>
              <a:gd name="T58" fmla="*/ 2142 w 2142"/>
              <a:gd name="T59" fmla="*/ 1098 h 2142"/>
              <a:gd name="T60" fmla="*/ 2101 w 2142"/>
              <a:gd name="T61" fmla="*/ 1364 h 2142"/>
              <a:gd name="T62" fmla="*/ 2000 w 2142"/>
              <a:gd name="T63" fmla="*/ 1604 h 2142"/>
              <a:gd name="T64" fmla="*/ 1846 w 2142"/>
              <a:gd name="T65" fmla="*/ 1810 h 2142"/>
              <a:gd name="T66" fmla="*/ 1648 w 2142"/>
              <a:gd name="T67" fmla="*/ 1973 h 2142"/>
              <a:gd name="T68" fmla="*/ 1414 w 2142"/>
              <a:gd name="T69" fmla="*/ 2086 h 2142"/>
              <a:gd name="T70" fmla="*/ 1154 w 2142"/>
              <a:gd name="T71" fmla="*/ 2139 h 2142"/>
              <a:gd name="T72" fmla="*/ 924 w 2142"/>
              <a:gd name="T73" fmla="*/ 113 h 2142"/>
              <a:gd name="T74" fmla="*/ 695 w 2142"/>
              <a:gd name="T75" fmla="*/ 179 h 2142"/>
              <a:gd name="T76" fmla="*/ 492 w 2142"/>
              <a:gd name="T77" fmla="*/ 296 h 2142"/>
              <a:gd name="T78" fmla="*/ 324 w 2142"/>
              <a:gd name="T79" fmla="*/ 456 h 2142"/>
              <a:gd name="T80" fmla="*/ 200 w 2142"/>
              <a:gd name="T81" fmla="*/ 652 h 2142"/>
              <a:gd name="T82" fmla="*/ 123 w 2142"/>
              <a:gd name="T83" fmla="*/ 876 h 2142"/>
              <a:gd name="T84" fmla="*/ 105 w 2142"/>
              <a:gd name="T85" fmla="*/ 1121 h 2142"/>
              <a:gd name="T86" fmla="*/ 147 w 2142"/>
              <a:gd name="T87" fmla="*/ 1358 h 2142"/>
              <a:gd name="T88" fmla="*/ 243 w 2142"/>
              <a:gd name="T89" fmla="*/ 1572 h 2142"/>
              <a:gd name="T90" fmla="*/ 388 w 2142"/>
              <a:gd name="T91" fmla="*/ 1755 h 2142"/>
              <a:gd name="T92" fmla="*/ 570 w 2142"/>
              <a:gd name="T93" fmla="*/ 1899 h 2142"/>
              <a:gd name="T94" fmla="*/ 784 w 2142"/>
              <a:gd name="T95" fmla="*/ 1996 h 2142"/>
              <a:gd name="T96" fmla="*/ 1021 w 2142"/>
              <a:gd name="T97" fmla="*/ 2037 h 2142"/>
              <a:gd name="T98" fmla="*/ 1266 w 2142"/>
              <a:gd name="T99" fmla="*/ 2019 h 2142"/>
              <a:gd name="T100" fmla="*/ 1490 w 2142"/>
              <a:gd name="T101" fmla="*/ 1943 h 2142"/>
              <a:gd name="T102" fmla="*/ 1686 w 2142"/>
              <a:gd name="T103" fmla="*/ 1818 h 2142"/>
              <a:gd name="T104" fmla="*/ 1846 w 2142"/>
              <a:gd name="T105" fmla="*/ 1650 h 2142"/>
              <a:gd name="T106" fmla="*/ 1963 w 2142"/>
              <a:gd name="T107" fmla="*/ 1447 h 2142"/>
              <a:gd name="T108" fmla="*/ 2028 w 2142"/>
              <a:gd name="T109" fmla="*/ 1218 h 2142"/>
              <a:gd name="T110" fmla="*/ 2034 w 2142"/>
              <a:gd name="T111" fmla="*/ 972 h 2142"/>
              <a:gd name="T112" fmla="*/ 1980 w 2142"/>
              <a:gd name="T113" fmla="*/ 738 h 2142"/>
              <a:gd name="T114" fmla="*/ 1873 w 2142"/>
              <a:gd name="T115" fmla="*/ 530 h 2142"/>
              <a:gd name="T116" fmla="*/ 1721 w 2142"/>
              <a:gd name="T117" fmla="*/ 354 h 2142"/>
              <a:gd name="T118" fmla="*/ 1532 w 2142"/>
              <a:gd name="T119" fmla="*/ 219 h 2142"/>
              <a:gd name="T120" fmla="*/ 1313 w 2142"/>
              <a:gd name="T121" fmla="*/ 134 h 2142"/>
              <a:gd name="T122" fmla="*/ 1072 w 2142"/>
              <a:gd name="T123" fmla="*/ 103 h 2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2" h="2142">
                <a:moveTo>
                  <a:pt x="1372" y="1210"/>
                </a:moveTo>
                <a:lnTo>
                  <a:pt x="1565" y="1210"/>
                </a:lnTo>
                <a:lnTo>
                  <a:pt x="1153" y="1578"/>
                </a:lnTo>
                <a:lnTo>
                  <a:pt x="1144" y="1585"/>
                </a:lnTo>
                <a:lnTo>
                  <a:pt x="1135" y="1590"/>
                </a:lnTo>
                <a:lnTo>
                  <a:pt x="1125" y="1596"/>
                </a:lnTo>
                <a:lnTo>
                  <a:pt x="1114" y="1601"/>
                </a:lnTo>
                <a:lnTo>
                  <a:pt x="1104" y="1604"/>
                </a:lnTo>
                <a:lnTo>
                  <a:pt x="1093" y="1606"/>
                </a:lnTo>
                <a:lnTo>
                  <a:pt x="1082" y="1607"/>
                </a:lnTo>
                <a:lnTo>
                  <a:pt x="1072" y="1608"/>
                </a:lnTo>
                <a:lnTo>
                  <a:pt x="1060" y="1607"/>
                </a:lnTo>
                <a:lnTo>
                  <a:pt x="1049" y="1606"/>
                </a:lnTo>
                <a:lnTo>
                  <a:pt x="1039" y="1604"/>
                </a:lnTo>
                <a:lnTo>
                  <a:pt x="1033" y="1603"/>
                </a:lnTo>
                <a:lnTo>
                  <a:pt x="1028" y="1601"/>
                </a:lnTo>
                <a:lnTo>
                  <a:pt x="1018" y="1596"/>
                </a:lnTo>
                <a:lnTo>
                  <a:pt x="1009" y="1590"/>
                </a:lnTo>
                <a:lnTo>
                  <a:pt x="999" y="1585"/>
                </a:lnTo>
                <a:lnTo>
                  <a:pt x="990" y="1578"/>
                </a:lnTo>
                <a:lnTo>
                  <a:pt x="975" y="1564"/>
                </a:lnTo>
                <a:lnTo>
                  <a:pt x="1372" y="1210"/>
                </a:lnTo>
                <a:close/>
                <a:moveTo>
                  <a:pt x="476" y="1070"/>
                </a:moveTo>
                <a:lnTo>
                  <a:pt x="478" y="1064"/>
                </a:lnTo>
                <a:lnTo>
                  <a:pt x="479" y="1056"/>
                </a:lnTo>
                <a:lnTo>
                  <a:pt x="481" y="1049"/>
                </a:lnTo>
                <a:lnTo>
                  <a:pt x="484" y="1042"/>
                </a:lnTo>
                <a:lnTo>
                  <a:pt x="487" y="1035"/>
                </a:lnTo>
                <a:lnTo>
                  <a:pt x="491" y="1030"/>
                </a:lnTo>
                <a:lnTo>
                  <a:pt x="494" y="1025"/>
                </a:lnTo>
                <a:lnTo>
                  <a:pt x="499" y="1020"/>
                </a:lnTo>
                <a:lnTo>
                  <a:pt x="505" y="1016"/>
                </a:lnTo>
                <a:lnTo>
                  <a:pt x="509" y="1012"/>
                </a:lnTo>
                <a:lnTo>
                  <a:pt x="515" y="1008"/>
                </a:lnTo>
                <a:lnTo>
                  <a:pt x="520" y="1006"/>
                </a:lnTo>
                <a:lnTo>
                  <a:pt x="527" y="1004"/>
                </a:lnTo>
                <a:lnTo>
                  <a:pt x="533" y="1003"/>
                </a:lnTo>
                <a:lnTo>
                  <a:pt x="539" y="1002"/>
                </a:lnTo>
                <a:lnTo>
                  <a:pt x="546" y="1002"/>
                </a:lnTo>
                <a:lnTo>
                  <a:pt x="999" y="1002"/>
                </a:lnTo>
                <a:lnTo>
                  <a:pt x="1451" y="1002"/>
                </a:lnTo>
                <a:lnTo>
                  <a:pt x="975" y="577"/>
                </a:lnTo>
                <a:lnTo>
                  <a:pt x="990" y="564"/>
                </a:lnTo>
                <a:lnTo>
                  <a:pt x="999" y="557"/>
                </a:lnTo>
                <a:lnTo>
                  <a:pt x="1009" y="550"/>
                </a:lnTo>
                <a:lnTo>
                  <a:pt x="1018" y="546"/>
                </a:lnTo>
                <a:lnTo>
                  <a:pt x="1028" y="541"/>
                </a:lnTo>
                <a:lnTo>
                  <a:pt x="1039" y="538"/>
                </a:lnTo>
                <a:lnTo>
                  <a:pt x="1049" y="536"/>
                </a:lnTo>
                <a:lnTo>
                  <a:pt x="1060" y="534"/>
                </a:lnTo>
                <a:lnTo>
                  <a:pt x="1072" y="533"/>
                </a:lnTo>
                <a:lnTo>
                  <a:pt x="1082" y="534"/>
                </a:lnTo>
                <a:lnTo>
                  <a:pt x="1093" y="536"/>
                </a:lnTo>
                <a:lnTo>
                  <a:pt x="1104" y="538"/>
                </a:lnTo>
                <a:lnTo>
                  <a:pt x="1109" y="539"/>
                </a:lnTo>
                <a:lnTo>
                  <a:pt x="1114" y="541"/>
                </a:lnTo>
                <a:lnTo>
                  <a:pt x="1125" y="546"/>
                </a:lnTo>
                <a:lnTo>
                  <a:pt x="1135" y="550"/>
                </a:lnTo>
                <a:lnTo>
                  <a:pt x="1144" y="557"/>
                </a:lnTo>
                <a:lnTo>
                  <a:pt x="1153" y="564"/>
                </a:lnTo>
                <a:lnTo>
                  <a:pt x="1629" y="988"/>
                </a:lnTo>
                <a:lnTo>
                  <a:pt x="1637" y="996"/>
                </a:lnTo>
                <a:lnTo>
                  <a:pt x="1643" y="1004"/>
                </a:lnTo>
                <a:lnTo>
                  <a:pt x="1650" y="1013"/>
                </a:lnTo>
                <a:lnTo>
                  <a:pt x="1655" y="1023"/>
                </a:lnTo>
                <a:lnTo>
                  <a:pt x="1657" y="1028"/>
                </a:lnTo>
                <a:lnTo>
                  <a:pt x="1659" y="1032"/>
                </a:lnTo>
                <a:lnTo>
                  <a:pt x="1662" y="1042"/>
                </a:lnTo>
                <a:lnTo>
                  <a:pt x="1665" y="1053"/>
                </a:lnTo>
                <a:lnTo>
                  <a:pt x="1666" y="1064"/>
                </a:lnTo>
                <a:lnTo>
                  <a:pt x="1666" y="1071"/>
                </a:lnTo>
                <a:lnTo>
                  <a:pt x="1665" y="1080"/>
                </a:lnTo>
                <a:lnTo>
                  <a:pt x="1664" y="1087"/>
                </a:lnTo>
                <a:lnTo>
                  <a:pt x="1661" y="1095"/>
                </a:lnTo>
                <a:lnTo>
                  <a:pt x="1658" y="1102"/>
                </a:lnTo>
                <a:lnTo>
                  <a:pt x="1655" y="1109"/>
                </a:lnTo>
                <a:lnTo>
                  <a:pt x="1650" y="1114"/>
                </a:lnTo>
                <a:lnTo>
                  <a:pt x="1646" y="1120"/>
                </a:lnTo>
                <a:lnTo>
                  <a:pt x="1643" y="1122"/>
                </a:lnTo>
                <a:lnTo>
                  <a:pt x="1641" y="1124"/>
                </a:lnTo>
                <a:lnTo>
                  <a:pt x="1635" y="1129"/>
                </a:lnTo>
                <a:lnTo>
                  <a:pt x="1630" y="1132"/>
                </a:lnTo>
                <a:lnTo>
                  <a:pt x="1624" y="1136"/>
                </a:lnTo>
                <a:lnTo>
                  <a:pt x="1617" y="1138"/>
                </a:lnTo>
                <a:lnTo>
                  <a:pt x="1611" y="1139"/>
                </a:lnTo>
                <a:lnTo>
                  <a:pt x="1604" y="1140"/>
                </a:lnTo>
                <a:lnTo>
                  <a:pt x="1596" y="1141"/>
                </a:lnTo>
                <a:lnTo>
                  <a:pt x="1071" y="1141"/>
                </a:lnTo>
                <a:lnTo>
                  <a:pt x="546" y="1141"/>
                </a:lnTo>
                <a:lnTo>
                  <a:pt x="539" y="1140"/>
                </a:lnTo>
                <a:lnTo>
                  <a:pt x="533" y="1139"/>
                </a:lnTo>
                <a:lnTo>
                  <a:pt x="527" y="1138"/>
                </a:lnTo>
                <a:lnTo>
                  <a:pt x="520" y="1136"/>
                </a:lnTo>
                <a:lnTo>
                  <a:pt x="515" y="1133"/>
                </a:lnTo>
                <a:lnTo>
                  <a:pt x="509" y="1130"/>
                </a:lnTo>
                <a:lnTo>
                  <a:pt x="505" y="1127"/>
                </a:lnTo>
                <a:lnTo>
                  <a:pt x="499" y="1122"/>
                </a:lnTo>
                <a:lnTo>
                  <a:pt x="494" y="1118"/>
                </a:lnTo>
                <a:lnTo>
                  <a:pt x="491" y="1113"/>
                </a:lnTo>
                <a:lnTo>
                  <a:pt x="488" y="1109"/>
                </a:lnTo>
                <a:lnTo>
                  <a:pt x="484" y="1103"/>
                </a:lnTo>
                <a:lnTo>
                  <a:pt x="481" y="1097"/>
                </a:lnTo>
                <a:lnTo>
                  <a:pt x="480" y="1091"/>
                </a:lnTo>
                <a:lnTo>
                  <a:pt x="478" y="1085"/>
                </a:lnTo>
                <a:lnTo>
                  <a:pt x="476" y="1078"/>
                </a:lnTo>
                <a:lnTo>
                  <a:pt x="476" y="1070"/>
                </a:lnTo>
                <a:close/>
                <a:moveTo>
                  <a:pt x="1072" y="2142"/>
                </a:moveTo>
                <a:lnTo>
                  <a:pt x="1044" y="2142"/>
                </a:lnTo>
                <a:lnTo>
                  <a:pt x="1017" y="2141"/>
                </a:lnTo>
                <a:lnTo>
                  <a:pt x="988" y="2139"/>
                </a:lnTo>
                <a:lnTo>
                  <a:pt x="961" y="2136"/>
                </a:lnTo>
                <a:lnTo>
                  <a:pt x="936" y="2133"/>
                </a:lnTo>
                <a:lnTo>
                  <a:pt x="909" y="2130"/>
                </a:lnTo>
                <a:lnTo>
                  <a:pt x="882" y="2125"/>
                </a:lnTo>
                <a:lnTo>
                  <a:pt x="856" y="2121"/>
                </a:lnTo>
                <a:lnTo>
                  <a:pt x="830" y="2115"/>
                </a:lnTo>
                <a:lnTo>
                  <a:pt x="804" y="2108"/>
                </a:lnTo>
                <a:lnTo>
                  <a:pt x="778" y="2101"/>
                </a:lnTo>
                <a:lnTo>
                  <a:pt x="753" y="2094"/>
                </a:lnTo>
                <a:lnTo>
                  <a:pt x="728" y="2086"/>
                </a:lnTo>
                <a:lnTo>
                  <a:pt x="704" y="2077"/>
                </a:lnTo>
                <a:lnTo>
                  <a:pt x="679" y="2068"/>
                </a:lnTo>
                <a:lnTo>
                  <a:pt x="654" y="2058"/>
                </a:lnTo>
                <a:lnTo>
                  <a:pt x="631" y="2047"/>
                </a:lnTo>
                <a:lnTo>
                  <a:pt x="607" y="2036"/>
                </a:lnTo>
                <a:lnTo>
                  <a:pt x="584" y="2025"/>
                </a:lnTo>
                <a:lnTo>
                  <a:pt x="561" y="2013"/>
                </a:lnTo>
                <a:lnTo>
                  <a:pt x="538" y="2000"/>
                </a:lnTo>
                <a:lnTo>
                  <a:pt x="516" y="1987"/>
                </a:lnTo>
                <a:lnTo>
                  <a:pt x="494" y="1973"/>
                </a:lnTo>
                <a:lnTo>
                  <a:pt x="473" y="1959"/>
                </a:lnTo>
                <a:lnTo>
                  <a:pt x="452" y="1944"/>
                </a:lnTo>
                <a:lnTo>
                  <a:pt x="431" y="1929"/>
                </a:lnTo>
                <a:lnTo>
                  <a:pt x="410" y="1913"/>
                </a:lnTo>
                <a:lnTo>
                  <a:pt x="391" y="1898"/>
                </a:lnTo>
                <a:lnTo>
                  <a:pt x="371" y="1881"/>
                </a:lnTo>
                <a:lnTo>
                  <a:pt x="351" y="1864"/>
                </a:lnTo>
                <a:lnTo>
                  <a:pt x="332" y="1846"/>
                </a:lnTo>
                <a:lnTo>
                  <a:pt x="314" y="1828"/>
                </a:lnTo>
                <a:lnTo>
                  <a:pt x="296" y="1810"/>
                </a:lnTo>
                <a:lnTo>
                  <a:pt x="278" y="1791"/>
                </a:lnTo>
                <a:lnTo>
                  <a:pt x="261" y="1772"/>
                </a:lnTo>
                <a:lnTo>
                  <a:pt x="245" y="1751"/>
                </a:lnTo>
                <a:lnTo>
                  <a:pt x="229" y="1732"/>
                </a:lnTo>
                <a:lnTo>
                  <a:pt x="213" y="1712"/>
                </a:lnTo>
                <a:lnTo>
                  <a:pt x="198" y="1691"/>
                </a:lnTo>
                <a:lnTo>
                  <a:pt x="184" y="1669"/>
                </a:lnTo>
                <a:lnTo>
                  <a:pt x="169" y="1648"/>
                </a:lnTo>
                <a:lnTo>
                  <a:pt x="156" y="1626"/>
                </a:lnTo>
                <a:lnTo>
                  <a:pt x="142" y="1604"/>
                </a:lnTo>
                <a:lnTo>
                  <a:pt x="130" y="1581"/>
                </a:lnTo>
                <a:lnTo>
                  <a:pt x="117" y="1558"/>
                </a:lnTo>
                <a:lnTo>
                  <a:pt x="106" y="1535"/>
                </a:lnTo>
                <a:lnTo>
                  <a:pt x="95" y="1512"/>
                </a:lnTo>
                <a:lnTo>
                  <a:pt x="85" y="1488"/>
                </a:lnTo>
                <a:lnTo>
                  <a:pt x="75" y="1463"/>
                </a:lnTo>
                <a:lnTo>
                  <a:pt x="66" y="1438"/>
                </a:lnTo>
                <a:lnTo>
                  <a:pt x="57" y="1414"/>
                </a:lnTo>
                <a:lnTo>
                  <a:pt x="49" y="1389"/>
                </a:lnTo>
                <a:lnTo>
                  <a:pt x="41" y="1364"/>
                </a:lnTo>
                <a:lnTo>
                  <a:pt x="34" y="1338"/>
                </a:lnTo>
                <a:lnTo>
                  <a:pt x="27" y="1312"/>
                </a:lnTo>
                <a:lnTo>
                  <a:pt x="22" y="1286"/>
                </a:lnTo>
                <a:lnTo>
                  <a:pt x="17" y="1261"/>
                </a:lnTo>
                <a:lnTo>
                  <a:pt x="13" y="1234"/>
                </a:lnTo>
                <a:lnTo>
                  <a:pt x="9" y="1208"/>
                </a:lnTo>
                <a:lnTo>
                  <a:pt x="6" y="1181"/>
                </a:lnTo>
                <a:lnTo>
                  <a:pt x="4" y="1154"/>
                </a:lnTo>
                <a:lnTo>
                  <a:pt x="2" y="1125"/>
                </a:lnTo>
                <a:lnTo>
                  <a:pt x="0" y="1098"/>
                </a:lnTo>
                <a:lnTo>
                  <a:pt x="0" y="1070"/>
                </a:lnTo>
                <a:lnTo>
                  <a:pt x="0" y="1043"/>
                </a:lnTo>
                <a:lnTo>
                  <a:pt x="2" y="1016"/>
                </a:lnTo>
                <a:lnTo>
                  <a:pt x="4" y="988"/>
                </a:lnTo>
                <a:lnTo>
                  <a:pt x="6" y="961"/>
                </a:lnTo>
                <a:lnTo>
                  <a:pt x="9" y="934"/>
                </a:lnTo>
                <a:lnTo>
                  <a:pt x="13" y="908"/>
                </a:lnTo>
                <a:lnTo>
                  <a:pt x="17" y="881"/>
                </a:lnTo>
                <a:lnTo>
                  <a:pt x="22" y="855"/>
                </a:lnTo>
                <a:lnTo>
                  <a:pt x="27" y="829"/>
                </a:lnTo>
                <a:lnTo>
                  <a:pt x="34" y="803"/>
                </a:lnTo>
                <a:lnTo>
                  <a:pt x="41" y="778"/>
                </a:lnTo>
                <a:lnTo>
                  <a:pt x="49" y="753"/>
                </a:lnTo>
                <a:lnTo>
                  <a:pt x="57" y="728"/>
                </a:lnTo>
                <a:lnTo>
                  <a:pt x="66" y="703"/>
                </a:lnTo>
                <a:lnTo>
                  <a:pt x="75" y="679"/>
                </a:lnTo>
                <a:lnTo>
                  <a:pt x="85" y="654"/>
                </a:lnTo>
                <a:lnTo>
                  <a:pt x="95" y="630"/>
                </a:lnTo>
                <a:lnTo>
                  <a:pt x="106" y="606"/>
                </a:lnTo>
                <a:lnTo>
                  <a:pt x="117" y="584"/>
                </a:lnTo>
                <a:lnTo>
                  <a:pt x="130" y="560"/>
                </a:lnTo>
                <a:lnTo>
                  <a:pt x="142" y="538"/>
                </a:lnTo>
                <a:lnTo>
                  <a:pt x="156" y="515"/>
                </a:lnTo>
                <a:lnTo>
                  <a:pt x="169" y="494"/>
                </a:lnTo>
                <a:lnTo>
                  <a:pt x="184" y="473"/>
                </a:lnTo>
                <a:lnTo>
                  <a:pt x="198" y="451"/>
                </a:lnTo>
                <a:lnTo>
                  <a:pt x="213" y="430"/>
                </a:lnTo>
                <a:lnTo>
                  <a:pt x="229" y="409"/>
                </a:lnTo>
                <a:lnTo>
                  <a:pt x="245" y="389"/>
                </a:lnTo>
                <a:lnTo>
                  <a:pt x="261" y="370"/>
                </a:lnTo>
                <a:lnTo>
                  <a:pt x="278" y="351"/>
                </a:lnTo>
                <a:lnTo>
                  <a:pt x="296" y="332"/>
                </a:lnTo>
                <a:lnTo>
                  <a:pt x="314" y="314"/>
                </a:lnTo>
                <a:lnTo>
                  <a:pt x="332" y="296"/>
                </a:lnTo>
                <a:lnTo>
                  <a:pt x="351" y="278"/>
                </a:lnTo>
                <a:lnTo>
                  <a:pt x="371" y="261"/>
                </a:lnTo>
                <a:lnTo>
                  <a:pt x="391" y="244"/>
                </a:lnTo>
                <a:lnTo>
                  <a:pt x="410" y="228"/>
                </a:lnTo>
                <a:lnTo>
                  <a:pt x="431" y="212"/>
                </a:lnTo>
                <a:lnTo>
                  <a:pt x="452" y="198"/>
                </a:lnTo>
                <a:lnTo>
                  <a:pt x="473" y="183"/>
                </a:lnTo>
                <a:lnTo>
                  <a:pt x="494" y="169"/>
                </a:lnTo>
                <a:lnTo>
                  <a:pt x="516" y="155"/>
                </a:lnTo>
                <a:lnTo>
                  <a:pt x="538" y="142"/>
                </a:lnTo>
                <a:lnTo>
                  <a:pt x="561" y="129"/>
                </a:lnTo>
                <a:lnTo>
                  <a:pt x="584" y="117"/>
                </a:lnTo>
                <a:lnTo>
                  <a:pt x="607" y="106"/>
                </a:lnTo>
                <a:lnTo>
                  <a:pt x="631" y="94"/>
                </a:lnTo>
                <a:lnTo>
                  <a:pt x="654" y="84"/>
                </a:lnTo>
                <a:lnTo>
                  <a:pt x="679" y="74"/>
                </a:lnTo>
                <a:lnTo>
                  <a:pt x="704" y="65"/>
                </a:lnTo>
                <a:lnTo>
                  <a:pt x="728" y="56"/>
                </a:lnTo>
                <a:lnTo>
                  <a:pt x="753" y="48"/>
                </a:lnTo>
                <a:lnTo>
                  <a:pt x="778" y="40"/>
                </a:lnTo>
                <a:lnTo>
                  <a:pt x="804" y="33"/>
                </a:lnTo>
                <a:lnTo>
                  <a:pt x="830" y="27"/>
                </a:lnTo>
                <a:lnTo>
                  <a:pt x="856" y="21"/>
                </a:lnTo>
                <a:lnTo>
                  <a:pt x="882" y="17"/>
                </a:lnTo>
                <a:lnTo>
                  <a:pt x="909" y="12"/>
                </a:lnTo>
                <a:lnTo>
                  <a:pt x="936" y="8"/>
                </a:lnTo>
                <a:lnTo>
                  <a:pt x="961" y="5"/>
                </a:lnTo>
                <a:lnTo>
                  <a:pt x="988" y="3"/>
                </a:lnTo>
                <a:lnTo>
                  <a:pt x="1017" y="1"/>
                </a:lnTo>
                <a:lnTo>
                  <a:pt x="1044" y="0"/>
                </a:lnTo>
                <a:lnTo>
                  <a:pt x="1072" y="0"/>
                </a:lnTo>
                <a:lnTo>
                  <a:pt x="1099" y="0"/>
                </a:lnTo>
                <a:lnTo>
                  <a:pt x="1126" y="1"/>
                </a:lnTo>
                <a:lnTo>
                  <a:pt x="1154" y="3"/>
                </a:lnTo>
                <a:lnTo>
                  <a:pt x="1181" y="5"/>
                </a:lnTo>
                <a:lnTo>
                  <a:pt x="1208" y="8"/>
                </a:lnTo>
                <a:lnTo>
                  <a:pt x="1234" y="12"/>
                </a:lnTo>
                <a:lnTo>
                  <a:pt x="1261" y="17"/>
                </a:lnTo>
                <a:lnTo>
                  <a:pt x="1287" y="21"/>
                </a:lnTo>
                <a:lnTo>
                  <a:pt x="1313" y="27"/>
                </a:lnTo>
                <a:lnTo>
                  <a:pt x="1338" y="33"/>
                </a:lnTo>
                <a:lnTo>
                  <a:pt x="1364" y="40"/>
                </a:lnTo>
                <a:lnTo>
                  <a:pt x="1389" y="48"/>
                </a:lnTo>
                <a:lnTo>
                  <a:pt x="1414" y="56"/>
                </a:lnTo>
                <a:lnTo>
                  <a:pt x="1439" y="65"/>
                </a:lnTo>
                <a:lnTo>
                  <a:pt x="1463" y="74"/>
                </a:lnTo>
                <a:lnTo>
                  <a:pt x="1488" y="84"/>
                </a:lnTo>
                <a:lnTo>
                  <a:pt x="1512" y="94"/>
                </a:lnTo>
                <a:lnTo>
                  <a:pt x="1535" y="106"/>
                </a:lnTo>
                <a:lnTo>
                  <a:pt x="1558" y="117"/>
                </a:lnTo>
                <a:lnTo>
                  <a:pt x="1581" y="129"/>
                </a:lnTo>
                <a:lnTo>
                  <a:pt x="1604" y="142"/>
                </a:lnTo>
                <a:lnTo>
                  <a:pt x="1626" y="155"/>
                </a:lnTo>
                <a:lnTo>
                  <a:pt x="1648" y="169"/>
                </a:lnTo>
                <a:lnTo>
                  <a:pt x="1669" y="183"/>
                </a:lnTo>
                <a:lnTo>
                  <a:pt x="1691" y="198"/>
                </a:lnTo>
                <a:lnTo>
                  <a:pt x="1712" y="212"/>
                </a:lnTo>
                <a:lnTo>
                  <a:pt x="1732" y="228"/>
                </a:lnTo>
                <a:lnTo>
                  <a:pt x="1753" y="244"/>
                </a:lnTo>
                <a:lnTo>
                  <a:pt x="1772" y="261"/>
                </a:lnTo>
                <a:lnTo>
                  <a:pt x="1791" y="278"/>
                </a:lnTo>
                <a:lnTo>
                  <a:pt x="1810" y="296"/>
                </a:lnTo>
                <a:lnTo>
                  <a:pt x="1828" y="314"/>
                </a:lnTo>
                <a:lnTo>
                  <a:pt x="1846" y="332"/>
                </a:lnTo>
                <a:lnTo>
                  <a:pt x="1864" y="351"/>
                </a:lnTo>
                <a:lnTo>
                  <a:pt x="1881" y="370"/>
                </a:lnTo>
                <a:lnTo>
                  <a:pt x="1898" y="389"/>
                </a:lnTo>
                <a:lnTo>
                  <a:pt x="1913" y="409"/>
                </a:lnTo>
                <a:lnTo>
                  <a:pt x="1929" y="430"/>
                </a:lnTo>
                <a:lnTo>
                  <a:pt x="1944" y="451"/>
                </a:lnTo>
                <a:lnTo>
                  <a:pt x="1958" y="473"/>
                </a:lnTo>
                <a:lnTo>
                  <a:pt x="1973" y="494"/>
                </a:lnTo>
                <a:lnTo>
                  <a:pt x="1987" y="515"/>
                </a:lnTo>
                <a:lnTo>
                  <a:pt x="2000" y="538"/>
                </a:lnTo>
                <a:lnTo>
                  <a:pt x="2012" y="560"/>
                </a:lnTo>
                <a:lnTo>
                  <a:pt x="2025" y="584"/>
                </a:lnTo>
                <a:lnTo>
                  <a:pt x="2036" y="606"/>
                </a:lnTo>
                <a:lnTo>
                  <a:pt x="2047" y="630"/>
                </a:lnTo>
                <a:lnTo>
                  <a:pt x="2057" y="654"/>
                </a:lnTo>
                <a:lnTo>
                  <a:pt x="2068" y="679"/>
                </a:lnTo>
                <a:lnTo>
                  <a:pt x="2077" y="703"/>
                </a:lnTo>
                <a:lnTo>
                  <a:pt x="2086" y="728"/>
                </a:lnTo>
                <a:lnTo>
                  <a:pt x="2093" y="753"/>
                </a:lnTo>
                <a:lnTo>
                  <a:pt x="2101" y="778"/>
                </a:lnTo>
                <a:lnTo>
                  <a:pt x="2108" y="803"/>
                </a:lnTo>
                <a:lnTo>
                  <a:pt x="2115" y="829"/>
                </a:lnTo>
                <a:lnTo>
                  <a:pt x="2121" y="855"/>
                </a:lnTo>
                <a:lnTo>
                  <a:pt x="2125" y="881"/>
                </a:lnTo>
                <a:lnTo>
                  <a:pt x="2130" y="908"/>
                </a:lnTo>
                <a:lnTo>
                  <a:pt x="2134" y="934"/>
                </a:lnTo>
                <a:lnTo>
                  <a:pt x="2136" y="961"/>
                </a:lnTo>
                <a:lnTo>
                  <a:pt x="2139" y="988"/>
                </a:lnTo>
                <a:lnTo>
                  <a:pt x="2141" y="1016"/>
                </a:lnTo>
                <a:lnTo>
                  <a:pt x="2142" y="1043"/>
                </a:lnTo>
                <a:lnTo>
                  <a:pt x="2142" y="1070"/>
                </a:lnTo>
                <a:lnTo>
                  <a:pt x="2142" y="1098"/>
                </a:lnTo>
                <a:lnTo>
                  <a:pt x="2141" y="1125"/>
                </a:lnTo>
                <a:lnTo>
                  <a:pt x="2139" y="1154"/>
                </a:lnTo>
                <a:lnTo>
                  <a:pt x="2136" y="1181"/>
                </a:lnTo>
                <a:lnTo>
                  <a:pt x="2134" y="1208"/>
                </a:lnTo>
                <a:lnTo>
                  <a:pt x="2130" y="1234"/>
                </a:lnTo>
                <a:lnTo>
                  <a:pt x="2125" y="1261"/>
                </a:lnTo>
                <a:lnTo>
                  <a:pt x="2121" y="1286"/>
                </a:lnTo>
                <a:lnTo>
                  <a:pt x="2115" y="1312"/>
                </a:lnTo>
                <a:lnTo>
                  <a:pt x="2108" y="1338"/>
                </a:lnTo>
                <a:lnTo>
                  <a:pt x="2101" y="1364"/>
                </a:lnTo>
                <a:lnTo>
                  <a:pt x="2093" y="1389"/>
                </a:lnTo>
                <a:lnTo>
                  <a:pt x="2086" y="1414"/>
                </a:lnTo>
                <a:lnTo>
                  <a:pt x="2077" y="1438"/>
                </a:lnTo>
                <a:lnTo>
                  <a:pt x="2068" y="1463"/>
                </a:lnTo>
                <a:lnTo>
                  <a:pt x="2057" y="1488"/>
                </a:lnTo>
                <a:lnTo>
                  <a:pt x="2047" y="1512"/>
                </a:lnTo>
                <a:lnTo>
                  <a:pt x="2036" y="1535"/>
                </a:lnTo>
                <a:lnTo>
                  <a:pt x="2025" y="1558"/>
                </a:lnTo>
                <a:lnTo>
                  <a:pt x="2012" y="1581"/>
                </a:lnTo>
                <a:lnTo>
                  <a:pt x="2000" y="1604"/>
                </a:lnTo>
                <a:lnTo>
                  <a:pt x="1987" y="1626"/>
                </a:lnTo>
                <a:lnTo>
                  <a:pt x="1973" y="1648"/>
                </a:lnTo>
                <a:lnTo>
                  <a:pt x="1958" y="1669"/>
                </a:lnTo>
                <a:lnTo>
                  <a:pt x="1944" y="1691"/>
                </a:lnTo>
                <a:lnTo>
                  <a:pt x="1929" y="1712"/>
                </a:lnTo>
                <a:lnTo>
                  <a:pt x="1913" y="1732"/>
                </a:lnTo>
                <a:lnTo>
                  <a:pt x="1898" y="1751"/>
                </a:lnTo>
                <a:lnTo>
                  <a:pt x="1881" y="1772"/>
                </a:lnTo>
                <a:lnTo>
                  <a:pt x="1864" y="1791"/>
                </a:lnTo>
                <a:lnTo>
                  <a:pt x="1846" y="1810"/>
                </a:lnTo>
                <a:lnTo>
                  <a:pt x="1828" y="1828"/>
                </a:lnTo>
                <a:lnTo>
                  <a:pt x="1810" y="1846"/>
                </a:lnTo>
                <a:lnTo>
                  <a:pt x="1791" y="1864"/>
                </a:lnTo>
                <a:lnTo>
                  <a:pt x="1772" y="1881"/>
                </a:lnTo>
                <a:lnTo>
                  <a:pt x="1753" y="1898"/>
                </a:lnTo>
                <a:lnTo>
                  <a:pt x="1732" y="1913"/>
                </a:lnTo>
                <a:lnTo>
                  <a:pt x="1712" y="1929"/>
                </a:lnTo>
                <a:lnTo>
                  <a:pt x="1691" y="1944"/>
                </a:lnTo>
                <a:lnTo>
                  <a:pt x="1669" y="1959"/>
                </a:lnTo>
                <a:lnTo>
                  <a:pt x="1648" y="1973"/>
                </a:lnTo>
                <a:lnTo>
                  <a:pt x="1626" y="1987"/>
                </a:lnTo>
                <a:lnTo>
                  <a:pt x="1604" y="2000"/>
                </a:lnTo>
                <a:lnTo>
                  <a:pt x="1581" y="2013"/>
                </a:lnTo>
                <a:lnTo>
                  <a:pt x="1558" y="2025"/>
                </a:lnTo>
                <a:lnTo>
                  <a:pt x="1535" y="2036"/>
                </a:lnTo>
                <a:lnTo>
                  <a:pt x="1512" y="2047"/>
                </a:lnTo>
                <a:lnTo>
                  <a:pt x="1488" y="2058"/>
                </a:lnTo>
                <a:lnTo>
                  <a:pt x="1463" y="2068"/>
                </a:lnTo>
                <a:lnTo>
                  <a:pt x="1439" y="2077"/>
                </a:lnTo>
                <a:lnTo>
                  <a:pt x="1414" y="2086"/>
                </a:lnTo>
                <a:lnTo>
                  <a:pt x="1389" y="2094"/>
                </a:lnTo>
                <a:lnTo>
                  <a:pt x="1364" y="2101"/>
                </a:lnTo>
                <a:lnTo>
                  <a:pt x="1338" y="2108"/>
                </a:lnTo>
                <a:lnTo>
                  <a:pt x="1313" y="2115"/>
                </a:lnTo>
                <a:lnTo>
                  <a:pt x="1287" y="2121"/>
                </a:lnTo>
                <a:lnTo>
                  <a:pt x="1261" y="2125"/>
                </a:lnTo>
                <a:lnTo>
                  <a:pt x="1234" y="2130"/>
                </a:lnTo>
                <a:lnTo>
                  <a:pt x="1208" y="2133"/>
                </a:lnTo>
                <a:lnTo>
                  <a:pt x="1181" y="2136"/>
                </a:lnTo>
                <a:lnTo>
                  <a:pt x="1154" y="2139"/>
                </a:lnTo>
                <a:lnTo>
                  <a:pt x="1126" y="2141"/>
                </a:lnTo>
                <a:lnTo>
                  <a:pt x="1099" y="2142"/>
                </a:lnTo>
                <a:lnTo>
                  <a:pt x="1072" y="2142"/>
                </a:lnTo>
                <a:close/>
                <a:moveTo>
                  <a:pt x="1072" y="103"/>
                </a:moveTo>
                <a:lnTo>
                  <a:pt x="1046" y="103"/>
                </a:lnTo>
                <a:lnTo>
                  <a:pt x="1021" y="104"/>
                </a:lnTo>
                <a:lnTo>
                  <a:pt x="997" y="106"/>
                </a:lnTo>
                <a:lnTo>
                  <a:pt x="973" y="108"/>
                </a:lnTo>
                <a:lnTo>
                  <a:pt x="948" y="110"/>
                </a:lnTo>
                <a:lnTo>
                  <a:pt x="924" y="113"/>
                </a:lnTo>
                <a:lnTo>
                  <a:pt x="901" y="118"/>
                </a:lnTo>
                <a:lnTo>
                  <a:pt x="876" y="122"/>
                </a:lnTo>
                <a:lnTo>
                  <a:pt x="853" y="128"/>
                </a:lnTo>
                <a:lnTo>
                  <a:pt x="830" y="134"/>
                </a:lnTo>
                <a:lnTo>
                  <a:pt x="806" y="139"/>
                </a:lnTo>
                <a:lnTo>
                  <a:pt x="784" y="146"/>
                </a:lnTo>
                <a:lnTo>
                  <a:pt x="761" y="154"/>
                </a:lnTo>
                <a:lnTo>
                  <a:pt x="739" y="162"/>
                </a:lnTo>
                <a:lnTo>
                  <a:pt x="717" y="170"/>
                </a:lnTo>
                <a:lnTo>
                  <a:pt x="695" y="179"/>
                </a:lnTo>
                <a:lnTo>
                  <a:pt x="673" y="189"/>
                </a:lnTo>
                <a:lnTo>
                  <a:pt x="652" y="198"/>
                </a:lnTo>
                <a:lnTo>
                  <a:pt x="631" y="209"/>
                </a:lnTo>
                <a:lnTo>
                  <a:pt x="610" y="219"/>
                </a:lnTo>
                <a:lnTo>
                  <a:pt x="590" y="232"/>
                </a:lnTo>
                <a:lnTo>
                  <a:pt x="570" y="243"/>
                </a:lnTo>
                <a:lnTo>
                  <a:pt x="550" y="255"/>
                </a:lnTo>
                <a:lnTo>
                  <a:pt x="530" y="269"/>
                </a:lnTo>
                <a:lnTo>
                  <a:pt x="511" y="281"/>
                </a:lnTo>
                <a:lnTo>
                  <a:pt x="492" y="296"/>
                </a:lnTo>
                <a:lnTo>
                  <a:pt x="474" y="309"/>
                </a:lnTo>
                <a:lnTo>
                  <a:pt x="456" y="324"/>
                </a:lnTo>
                <a:lnTo>
                  <a:pt x="438" y="340"/>
                </a:lnTo>
                <a:lnTo>
                  <a:pt x="421" y="354"/>
                </a:lnTo>
                <a:lnTo>
                  <a:pt x="404" y="370"/>
                </a:lnTo>
                <a:lnTo>
                  <a:pt x="388" y="387"/>
                </a:lnTo>
                <a:lnTo>
                  <a:pt x="371" y="403"/>
                </a:lnTo>
                <a:lnTo>
                  <a:pt x="355" y="421"/>
                </a:lnTo>
                <a:lnTo>
                  <a:pt x="340" y="438"/>
                </a:lnTo>
                <a:lnTo>
                  <a:pt x="324" y="456"/>
                </a:lnTo>
                <a:lnTo>
                  <a:pt x="310" y="474"/>
                </a:lnTo>
                <a:lnTo>
                  <a:pt x="296" y="492"/>
                </a:lnTo>
                <a:lnTo>
                  <a:pt x="283" y="511"/>
                </a:lnTo>
                <a:lnTo>
                  <a:pt x="269" y="530"/>
                </a:lnTo>
                <a:lnTo>
                  <a:pt x="256" y="549"/>
                </a:lnTo>
                <a:lnTo>
                  <a:pt x="243" y="569"/>
                </a:lnTo>
                <a:lnTo>
                  <a:pt x="232" y="590"/>
                </a:lnTo>
                <a:lnTo>
                  <a:pt x="221" y="610"/>
                </a:lnTo>
                <a:lnTo>
                  <a:pt x="210" y="630"/>
                </a:lnTo>
                <a:lnTo>
                  <a:pt x="200" y="652"/>
                </a:lnTo>
                <a:lnTo>
                  <a:pt x="189" y="673"/>
                </a:lnTo>
                <a:lnTo>
                  <a:pt x="179" y="694"/>
                </a:lnTo>
                <a:lnTo>
                  <a:pt x="170" y="716"/>
                </a:lnTo>
                <a:lnTo>
                  <a:pt x="162" y="738"/>
                </a:lnTo>
                <a:lnTo>
                  <a:pt x="155" y="761"/>
                </a:lnTo>
                <a:lnTo>
                  <a:pt x="147" y="783"/>
                </a:lnTo>
                <a:lnTo>
                  <a:pt x="140" y="806"/>
                </a:lnTo>
                <a:lnTo>
                  <a:pt x="134" y="829"/>
                </a:lnTo>
                <a:lnTo>
                  <a:pt x="129" y="853"/>
                </a:lnTo>
                <a:lnTo>
                  <a:pt x="123" y="876"/>
                </a:lnTo>
                <a:lnTo>
                  <a:pt x="119" y="899"/>
                </a:lnTo>
                <a:lnTo>
                  <a:pt x="115" y="924"/>
                </a:lnTo>
                <a:lnTo>
                  <a:pt x="112" y="948"/>
                </a:lnTo>
                <a:lnTo>
                  <a:pt x="108" y="972"/>
                </a:lnTo>
                <a:lnTo>
                  <a:pt x="106" y="996"/>
                </a:lnTo>
                <a:lnTo>
                  <a:pt x="105" y="1021"/>
                </a:lnTo>
                <a:lnTo>
                  <a:pt x="104" y="1046"/>
                </a:lnTo>
                <a:lnTo>
                  <a:pt x="104" y="1070"/>
                </a:lnTo>
                <a:lnTo>
                  <a:pt x="104" y="1096"/>
                </a:lnTo>
                <a:lnTo>
                  <a:pt x="105" y="1121"/>
                </a:lnTo>
                <a:lnTo>
                  <a:pt x="106" y="1146"/>
                </a:lnTo>
                <a:lnTo>
                  <a:pt x="108" y="1169"/>
                </a:lnTo>
                <a:lnTo>
                  <a:pt x="112" y="1194"/>
                </a:lnTo>
                <a:lnTo>
                  <a:pt x="115" y="1218"/>
                </a:lnTo>
                <a:lnTo>
                  <a:pt x="119" y="1241"/>
                </a:lnTo>
                <a:lnTo>
                  <a:pt x="123" y="1266"/>
                </a:lnTo>
                <a:lnTo>
                  <a:pt x="129" y="1289"/>
                </a:lnTo>
                <a:lnTo>
                  <a:pt x="134" y="1312"/>
                </a:lnTo>
                <a:lnTo>
                  <a:pt x="140" y="1336"/>
                </a:lnTo>
                <a:lnTo>
                  <a:pt x="147" y="1358"/>
                </a:lnTo>
                <a:lnTo>
                  <a:pt x="155" y="1381"/>
                </a:lnTo>
                <a:lnTo>
                  <a:pt x="162" y="1404"/>
                </a:lnTo>
                <a:lnTo>
                  <a:pt x="170" y="1425"/>
                </a:lnTo>
                <a:lnTo>
                  <a:pt x="179" y="1447"/>
                </a:lnTo>
                <a:lnTo>
                  <a:pt x="189" y="1469"/>
                </a:lnTo>
                <a:lnTo>
                  <a:pt x="200" y="1490"/>
                </a:lnTo>
                <a:lnTo>
                  <a:pt x="210" y="1512"/>
                </a:lnTo>
                <a:lnTo>
                  <a:pt x="221" y="1532"/>
                </a:lnTo>
                <a:lnTo>
                  <a:pt x="232" y="1552"/>
                </a:lnTo>
                <a:lnTo>
                  <a:pt x="243" y="1572"/>
                </a:lnTo>
                <a:lnTo>
                  <a:pt x="256" y="1593"/>
                </a:lnTo>
                <a:lnTo>
                  <a:pt x="269" y="1612"/>
                </a:lnTo>
                <a:lnTo>
                  <a:pt x="283" y="1631"/>
                </a:lnTo>
                <a:lnTo>
                  <a:pt x="296" y="1650"/>
                </a:lnTo>
                <a:lnTo>
                  <a:pt x="310" y="1668"/>
                </a:lnTo>
                <a:lnTo>
                  <a:pt x="324" y="1686"/>
                </a:lnTo>
                <a:lnTo>
                  <a:pt x="340" y="1704"/>
                </a:lnTo>
                <a:lnTo>
                  <a:pt x="355" y="1721"/>
                </a:lnTo>
                <a:lnTo>
                  <a:pt x="371" y="1738"/>
                </a:lnTo>
                <a:lnTo>
                  <a:pt x="388" y="1755"/>
                </a:lnTo>
                <a:lnTo>
                  <a:pt x="404" y="1772"/>
                </a:lnTo>
                <a:lnTo>
                  <a:pt x="421" y="1787"/>
                </a:lnTo>
                <a:lnTo>
                  <a:pt x="438" y="1802"/>
                </a:lnTo>
                <a:lnTo>
                  <a:pt x="456" y="1818"/>
                </a:lnTo>
                <a:lnTo>
                  <a:pt x="474" y="1832"/>
                </a:lnTo>
                <a:lnTo>
                  <a:pt x="492" y="1846"/>
                </a:lnTo>
                <a:lnTo>
                  <a:pt x="511" y="1859"/>
                </a:lnTo>
                <a:lnTo>
                  <a:pt x="530" y="1873"/>
                </a:lnTo>
                <a:lnTo>
                  <a:pt x="550" y="1886"/>
                </a:lnTo>
                <a:lnTo>
                  <a:pt x="570" y="1899"/>
                </a:lnTo>
                <a:lnTo>
                  <a:pt x="590" y="1910"/>
                </a:lnTo>
                <a:lnTo>
                  <a:pt x="610" y="1921"/>
                </a:lnTo>
                <a:lnTo>
                  <a:pt x="631" y="1933"/>
                </a:lnTo>
                <a:lnTo>
                  <a:pt x="652" y="1943"/>
                </a:lnTo>
                <a:lnTo>
                  <a:pt x="673" y="1953"/>
                </a:lnTo>
                <a:lnTo>
                  <a:pt x="695" y="1963"/>
                </a:lnTo>
                <a:lnTo>
                  <a:pt x="717" y="1972"/>
                </a:lnTo>
                <a:lnTo>
                  <a:pt x="739" y="1980"/>
                </a:lnTo>
                <a:lnTo>
                  <a:pt x="761" y="1988"/>
                </a:lnTo>
                <a:lnTo>
                  <a:pt x="784" y="1996"/>
                </a:lnTo>
                <a:lnTo>
                  <a:pt x="806" y="2002"/>
                </a:lnTo>
                <a:lnTo>
                  <a:pt x="830" y="2008"/>
                </a:lnTo>
                <a:lnTo>
                  <a:pt x="853" y="2014"/>
                </a:lnTo>
                <a:lnTo>
                  <a:pt x="876" y="2019"/>
                </a:lnTo>
                <a:lnTo>
                  <a:pt x="901" y="2024"/>
                </a:lnTo>
                <a:lnTo>
                  <a:pt x="924" y="2027"/>
                </a:lnTo>
                <a:lnTo>
                  <a:pt x="948" y="2031"/>
                </a:lnTo>
                <a:lnTo>
                  <a:pt x="973" y="2034"/>
                </a:lnTo>
                <a:lnTo>
                  <a:pt x="997" y="2036"/>
                </a:lnTo>
                <a:lnTo>
                  <a:pt x="1021" y="2037"/>
                </a:lnTo>
                <a:lnTo>
                  <a:pt x="1046" y="2038"/>
                </a:lnTo>
                <a:lnTo>
                  <a:pt x="1072" y="2038"/>
                </a:lnTo>
                <a:lnTo>
                  <a:pt x="1096" y="2038"/>
                </a:lnTo>
                <a:lnTo>
                  <a:pt x="1121" y="2037"/>
                </a:lnTo>
                <a:lnTo>
                  <a:pt x="1146" y="2036"/>
                </a:lnTo>
                <a:lnTo>
                  <a:pt x="1170" y="2034"/>
                </a:lnTo>
                <a:lnTo>
                  <a:pt x="1194" y="2031"/>
                </a:lnTo>
                <a:lnTo>
                  <a:pt x="1218" y="2027"/>
                </a:lnTo>
                <a:lnTo>
                  <a:pt x="1243" y="2024"/>
                </a:lnTo>
                <a:lnTo>
                  <a:pt x="1266" y="2019"/>
                </a:lnTo>
                <a:lnTo>
                  <a:pt x="1290" y="2014"/>
                </a:lnTo>
                <a:lnTo>
                  <a:pt x="1313" y="2008"/>
                </a:lnTo>
                <a:lnTo>
                  <a:pt x="1336" y="2002"/>
                </a:lnTo>
                <a:lnTo>
                  <a:pt x="1359" y="1996"/>
                </a:lnTo>
                <a:lnTo>
                  <a:pt x="1381" y="1988"/>
                </a:lnTo>
                <a:lnTo>
                  <a:pt x="1404" y="1980"/>
                </a:lnTo>
                <a:lnTo>
                  <a:pt x="1426" y="1972"/>
                </a:lnTo>
                <a:lnTo>
                  <a:pt x="1448" y="1963"/>
                </a:lnTo>
                <a:lnTo>
                  <a:pt x="1469" y="1953"/>
                </a:lnTo>
                <a:lnTo>
                  <a:pt x="1490" y="1943"/>
                </a:lnTo>
                <a:lnTo>
                  <a:pt x="1512" y="1933"/>
                </a:lnTo>
                <a:lnTo>
                  <a:pt x="1532" y="1921"/>
                </a:lnTo>
                <a:lnTo>
                  <a:pt x="1552" y="1910"/>
                </a:lnTo>
                <a:lnTo>
                  <a:pt x="1572" y="1899"/>
                </a:lnTo>
                <a:lnTo>
                  <a:pt x="1593" y="1886"/>
                </a:lnTo>
                <a:lnTo>
                  <a:pt x="1612" y="1873"/>
                </a:lnTo>
                <a:lnTo>
                  <a:pt x="1631" y="1859"/>
                </a:lnTo>
                <a:lnTo>
                  <a:pt x="1650" y="1846"/>
                </a:lnTo>
                <a:lnTo>
                  <a:pt x="1668" y="1832"/>
                </a:lnTo>
                <a:lnTo>
                  <a:pt x="1686" y="1818"/>
                </a:lnTo>
                <a:lnTo>
                  <a:pt x="1704" y="1802"/>
                </a:lnTo>
                <a:lnTo>
                  <a:pt x="1721" y="1787"/>
                </a:lnTo>
                <a:lnTo>
                  <a:pt x="1739" y="1772"/>
                </a:lnTo>
                <a:lnTo>
                  <a:pt x="1755" y="1755"/>
                </a:lnTo>
                <a:lnTo>
                  <a:pt x="1772" y="1738"/>
                </a:lnTo>
                <a:lnTo>
                  <a:pt x="1787" y="1721"/>
                </a:lnTo>
                <a:lnTo>
                  <a:pt x="1803" y="1704"/>
                </a:lnTo>
                <a:lnTo>
                  <a:pt x="1818" y="1686"/>
                </a:lnTo>
                <a:lnTo>
                  <a:pt x="1832" y="1668"/>
                </a:lnTo>
                <a:lnTo>
                  <a:pt x="1846" y="1650"/>
                </a:lnTo>
                <a:lnTo>
                  <a:pt x="1861" y="1631"/>
                </a:lnTo>
                <a:lnTo>
                  <a:pt x="1873" y="1612"/>
                </a:lnTo>
                <a:lnTo>
                  <a:pt x="1886" y="1593"/>
                </a:lnTo>
                <a:lnTo>
                  <a:pt x="1899" y="1572"/>
                </a:lnTo>
                <a:lnTo>
                  <a:pt x="1910" y="1552"/>
                </a:lnTo>
                <a:lnTo>
                  <a:pt x="1922" y="1532"/>
                </a:lnTo>
                <a:lnTo>
                  <a:pt x="1933" y="1512"/>
                </a:lnTo>
                <a:lnTo>
                  <a:pt x="1944" y="1490"/>
                </a:lnTo>
                <a:lnTo>
                  <a:pt x="1953" y="1469"/>
                </a:lnTo>
                <a:lnTo>
                  <a:pt x="1963" y="1447"/>
                </a:lnTo>
                <a:lnTo>
                  <a:pt x="1972" y="1425"/>
                </a:lnTo>
                <a:lnTo>
                  <a:pt x="1980" y="1404"/>
                </a:lnTo>
                <a:lnTo>
                  <a:pt x="1988" y="1381"/>
                </a:lnTo>
                <a:lnTo>
                  <a:pt x="1996" y="1358"/>
                </a:lnTo>
                <a:lnTo>
                  <a:pt x="2002" y="1336"/>
                </a:lnTo>
                <a:lnTo>
                  <a:pt x="2008" y="1312"/>
                </a:lnTo>
                <a:lnTo>
                  <a:pt x="2014" y="1289"/>
                </a:lnTo>
                <a:lnTo>
                  <a:pt x="2019" y="1266"/>
                </a:lnTo>
                <a:lnTo>
                  <a:pt x="2024" y="1241"/>
                </a:lnTo>
                <a:lnTo>
                  <a:pt x="2028" y="1218"/>
                </a:lnTo>
                <a:lnTo>
                  <a:pt x="2032" y="1194"/>
                </a:lnTo>
                <a:lnTo>
                  <a:pt x="2034" y="1169"/>
                </a:lnTo>
                <a:lnTo>
                  <a:pt x="2036" y="1146"/>
                </a:lnTo>
                <a:lnTo>
                  <a:pt x="2037" y="1121"/>
                </a:lnTo>
                <a:lnTo>
                  <a:pt x="2038" y="1096"/>
                </a:lnTo>
                <a:lnTo>
                  <a:pt x="2038" y="1070"/>
                </a:lnTo>
                <a:lnTo>
                  <a:pt x="2038" y="1046"/>
                </a:lnTo>
                <a:lnTo>
                  <a:pt x="2037" y="1021"/>
                </a:lnTo>
                <a:lnTo>
                  <a:pt x="2036" y="996"/>
                </a:lnTo>
                <a:lnTo>
                  <a:pt x="2034" y="972"/>
                </a:lnTo>
                <a:lnTo>
                  <a:pt x="2032" y="948"/>
                </a:lnTo>
                <a:lnTo>
                  <a:pt x="2028" y="924"/>
                </a:lnTo>
                <a:lnTo>
                  <a:pt x="2024" y="899"/>
                </a:lnTo>
                <a:lnTo>
                  <a:pt x="2019" y="876"/>
                </a:lnTo>
                <a:lnTo>
                  <a:pt x="2014" y="853"/>
                </a:lnTo>
                <a:lnTo>
                  <a:pt x="2008" y="829"/>
                </a:lnTo>
                <a:lnTo>
                  <a:pt x="2002" y="806"/>
                </a:lnTo>
                <a:lnTo>
                  <a:pt x="1996" y="783"/>
                </a:lnTo>
                <a:lnTo>
                  <a:pt x="1988" y="761"/>
                </a:lnTo>
                <a:lnTo>
                  <a:pt x="1980" y="738"/>
                </a:lnTo>
                <a:lnTo>
                  <a:pt x="1972" y="716"/>
                </a:lnTo>
                <a:lnTo>
                  <a:pt x="1963" y="694"/>
                </a:lnTo>
                <a:lnTo>
                  <a:pt x="1953" y="673"/>
                </a:lnTo>
                <a:lnTo>
                  <a:pt x="1944" y="652"/>
                </a:lnTo>
                <a:lnTo>
                  <a:pt x="1933" y="630"/>
                </a:lnTo>
                <a:lnTo>
                  <a:pt x="1922" y="610"/>
                </a:lnTo>
                <a:lnTo>
                  <a:pt x="1910" y="590"/>
                </a:lnTo>
                <a:lnTo>
                  <a:pt x="1899" y="569"/>
                </a:lnTo>
                <a:lnTo>
                  <a:pt x="1886" y="549"/>
                </a:lnTo>
                <a:lnTo>
                  <a:pt x="1873" y="530"/>
                </a:lnTo>
                <a:lnTo>
                  <a:pt x="1861" y="511"/>
                </a:lnTo>
                <a:lnTo>
                  <a:pt x="1846" y="492"/>
                </a:lnTo>
                <a:lnTo>
                  <a:pt x="1832" y="474"/>
                </a:lnTo>
                <a:lnTo>
                  <a:pt x="1818" y="456"/>
                </a:lnTo>
                <a:lnTo>
                  <a:pt x="1803" y="438"/>
                </a:lnTo>
                <a:lnTo>
                  <a:pt x="1787" y="421"/>
                </a:lnTo>
                <a:lnTo>
                  <a:pt x="1772" y="403"/>
                </a:lnTo>
                <a:lnTo>
                  <a:pt x="1755" y="387"/>
                </a:lnTo>
                <a:lnTo>
                  <a:pt x="1739" y="370"/>
                </a:lnTo>
                <a:lnTo>
                  <a:pt x="1721" y="354"/>
                </a:lnTo>
                <a:lnTo>
                  <a:pt x="1704" y="340"/>
                </a:lnTo>
                <a:lnTo>
                  <a:pt x="1686" y="324"/>
                </a:lnTo>
                <a:lnTo>
                  <a:pt x="1668" y="309"/>
                </a:lnTo>
                <a:lnTo>
                  <a:pt x="1650" y="296"/>
                </a:lnTo>
                <a:lnTo>
                  <a:pt x="1631" y="281"/>
                </a:lnTo>
                <a:lnTo>
                  <a:pt x="1612" y="269"/>
                </a:lnTo>
                <a:lnTo>
                  <a:pt x="1593" y="255"/>
                </a:lnTo>
                <a:lnTo>
                  <a:pt x="1572" y="243"/>
                </a:lnTo>
                <a:lnTo>
                  <a:pt x="1552" y="232"/>
                </a:lnTo>
                <a:lnTo>
                  <a:pt x="1532" y="219"/>
                </a:lnTo>
                <a:lnTo>
                  <a:pt x="1512" y="209"/>
                </a:lnTo>
                <a:lnTo>
                  <a:pt x="1490" y="198"/>
                </a:lnTo>
                <a:lnTo>
                  <a:pt x="1469" y="189"/>
                </a:lnTo>
                <a:lnTo>
                  <a:pt x="1448" y="179"/>
                </a:lnTo>
                <a:lnTo>
                  <a:pt x="1426" y="170"/>
                </a:lnTo>
                <a:lnTo>
                  <a:pt x="1404" y="162"/>
                </a:lnTo>
                <a:lnTo>
                  <a:pt x="1381" y="154"/>
                </a:lnTo>
                <a:lnTo>
                  <a:pt x="1359" y="146"/>
                </a:lnTo>
                <a:lnTo>
                  <a:pt x="1336" y="139"/>
                </a:lnTo>
                <a:lnTo>
                  <a:pt x="1313" y="134"/>
                </a:lnTo>
                <a:lnTo>
                  <a:pt x="1290" y="128"/>
                </a:lnTo>
                <a:lnTo>
                  <a:pt x="1266" y="122"/>
                </a:lnTo>
                <a:lnTo>
                  <a:pt x="1243" y="118"/>
                </a:lnTo>
                <a:lnTo>
                  <a:pt x="1218" y="113"/>
                </a:lnTo>
                <a:lnTo>
                  <a:pt x="1194" y="110"/>
                </a:lnTo>
                <a:lnTo>
                  <a:pt x="1170" y="108"/>
                </a:lnTo>
                <a:lnTo>
                  <a:pt x="1146" y="106"/>
                </a:lnTo>
                <a:lnTo>
                  <a:pt x="1121" y="104"/>
                </a:lnTo>
                <a:lnTo>
                  <a:pt x="1096" y="103"/>
                </a:lnTo>
                <a:lnTo>
                  <a:pt x="1072" y="103"/>
                </a:lnTo>
                <a:close/>
              </a:path>
            </a:pathLst>
          </a:cu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B4245"/>
              </a:solidFill>
              <a:effectLst/>
              <a:uLnTx/>
              <a:uFillTx/>
              <a:latin typeface="Arial"/>
              <a:ea typeface="+mn-ea"/>
              <a:cs typeface="+mn-cs"/>
            </a:endParaRPr>
          </a:p>
        </p:txBody>
      </p:sp>
      <p:sp>
        <p:nvSpPr>
          <p:cNvPr id="25" name="Oval 24">
            <a:hlinkClick r:id="" action="ppaction://noaction"/>
            <a:extLst>
              <a:ext uri="{FF2B5EF4-FFF2-40B4-BE49-F238E27FC236}">
                <a16:creationId xmlns:a16="http://schemas.microsoft.com/office/drawing/2014/main" id="{C5DF69FA-BFC1-436F-B186-BDE550FB452C}"/>
              </a:ext>
            </a:extLst>
          </p:cNvPr>
          <p:cNvSpPr>
            <a:spLocks noChangeAspect="1"/>
          </p:cNvSpPr>
          <p:nvPr/>
        </p:nvSpPr>
        <p:spPr>
          <a:xfrm>
            <a:off x="40721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Oval 25">
            <a:hlinkClick r:id="" action="ppaction://noaction"/>
            <a:extLst>
              <a:ext uri="{FF2B5EF4-FFF2-40B4-BE49-F238E27FC236}">
                <a16:creationId xmlns:a16="http://schemas.microsoft.com/office/drawing/2014/main" id="{FE44AA9B-9503-420E-9A17-08BD95B6B15E}"/>
              </a:ext>
            </a:extLst>
          </p:cNvPr>
          <p:cNvSpPr>
            <a:spLocks noChangeAspect="1"/>
          </p:cNvSpPr>
          <p:nvPr/>
        </p:nvSpPr>
        <p:spPr>
          <a:xfrm>
            <a:off x="55123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Oval 26">
            <a:hlinkClick r:id="" action="ppaction://noaction"/>
            <a:extLst>
              <a:ext uri="{FF2B5EF4-FFF2-40B4-BE49-F238E27FC236}">
                <a16:creationId xmlns:a16="http://schemas.microsoft.com/office/drawing/2014/main" id="{B29F5D69-E84A-4D37-9153-A5D5E264D508}"/>
              </a:ext>
            </a:extLst>
          </p:cNvPr>
          <p:cNvSpPr>
            <a:spLocks noChangeAspect="1"/>
          </p:cNvSpPr>
          <p:nvPr/>
        </p:nvSpPr>
        <p:spPr>
          <a:xfrm>
            <a:off x="69525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Oval 27">
            <a:hlinkClick r:id="" action="ppaction://noaction"/>
            <a:extLst>
              <a:ext uri="{FF2B5EF4-FFF2-40B4-BE49-F238E27FC236}">
                <a16:creationId xmlns:a16="http://schemas.microsoft.com/office/drawing/2014/main" id="{9F386B6D-1EE0-4CB5-A11D-73F9AFAB9B1A}"/>
              </a:ext>
            </a:extLst>
          </p:cNvPr>
          <p:cNvSpPr>
            <a:spLocks noChangeAspect="1"/>
          </p:cNvSpPr>
          <p:nvPr/>
        </p:nvSpPr>
        <p:spPr>
          <a:xfrm>
            <a:off x="839270" y="89377"/>
            <a:ext cx="108000" cy="108000"/>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Oval 28">
            <a:hlinkClick r:id="" action="ppaction://noaction"/>
            <a:extLst>
              <a:ext uri="{FF2B5EF4-FFF2-40B4-BE49-F238E27FC236}">
                <a16:creationId xmlns:a16="http://schemas.microsoft.com/office/drawing/2014/main" id="{B1B8EC1B-2705-406D-9371-D31EB4450C1D}"/>
              </a:ext>
            </a:extLst>
          </p:cNvPr>
          <p:cNvSpPr>
            <a:spLocks noChangeAspect="1"/>
          </p:cNvSpPr>
          <p:nvPr/>
        </p:nvSpPr>
        <p:spPr>
          <a:xfrm>
            <a:off x="983290" y="89377"/>
            <a:ext cx="108000" cy="1080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48DBD634-B0F5-4104-B98D-DABFAC97ECFD}"/>
              </a:ext>
            </a:extLst>
          </p:cNvPr>
          <p:cNvSpPr txBox="1"/>
          <p:nvPr/>
        </p:nvSpPr>
        <p:spPr>
          <a:xfrm>
            <a:off x="6581900" y="6146208"/>
            <a:ext cx="3765259" cy="400110"/>
          </a:xfrm>
          <a:prstGeom prst="rect">
            <a:avLst/>
          </a:prstGeom>
          <a:noFill/>
        </p:spPr>
        <p:txBody>
          <a:bodyPr wrap="square">
            <a:spAutoFit/>
          </a:bodyPr>
          <a:lstStyle/>
          <a:p>
            <a:r>
              <a:rPr lang="en-US" sz="1000" dirty="0">
                <a:solidFill>
                  <a:schemeClr val="bg2"/>
                </a:solidFill>
                <a:cs typeface="Arial"/>
              </a:rPr>
              <a:t>The service offering in terms of carbon compensated service may vary from country to country</a:t>
            </a:r>
            <a:endParaRPr lang="fi-FI" sz="1000" dirty="0">
              <a:solidFill>
                <a:schemeClr val="bg2"/>
              </a:solidFill>
            </a:endParaRPr>
          </a:p>
        </p:txBody>
      </p:sp>
    </p:spTree>
    <p:extLst>
      <p:ext uri="{BB962C8B-B14F-4D97-AF65-F5344CB8AC3E}">
        <p14:creationId xmlns:p14="http://schemas.microsoft.com/office/powerpoint/2010/main" val="118977597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eVvqGjmm..y5bywMfz5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4ICUynJwoNFAgLWrWOW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GGcULpNQgrHCabVd.nc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PWkjboJ6PZhYlvrc2E_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Btc8l6TjDUNcXR7R4m2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32LCM3pkkjjtaXdvTja6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z9g1Jz26joTmhHD2Vq.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743ZKqfDEfIQ.7cDRQ6Sr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Bm8osPkT2DkM5AFN4z4B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8_Bd0JB.oDj9i9V8wvJ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eCWIzc58uig3BbOXgVs5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Lq0zBl18sM27MxRs6vWL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6zfmARcTok8IatWArhbZ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grjy4EgoszFcMie5jTI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d3MBsn5llfXbW7s70Mz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r8egHniTsyzvAswgCPz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UiTgaKWDD.CoTHdXd2P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ggFy7HIQelx5DOVUuJ9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kpfp.dhJleabd39KPNf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w12RSSvYWpzwGqoT85m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o4h9i7hWHfNCxl2LOCl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vv9CHXRv7OJ3nMir4x9b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O9P5Go.vfJO_9Vcykt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7XKUsQRTgVYzCBabjQBq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QyyN.tJY1VAahf2_xry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32uvt6RD3vZ3A.6L0Oe5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4HPscL4N7uHzSqeOJUZ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Y70Lwiu7FkItiiZo9i8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B1iUltYGK4ECgkFJdd2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_VagSEhELjYJxdzhsh57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7YYViROcS9yHDFS_BgGrM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3EyD0KK3bS0cOn9nAY4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Yrab.2Gqu7IhMRD_MPp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1Lcx085HfRxw_xfLzl9L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7BBcyxuit0TueySVh78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7XKUsQRTgVYzCBabjQBq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AT6G82NWUGKl2Vdp7ho6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avUDv9i8oAmHwHx_O1EeA"/>
</p:tagLst>
</file>

<file path=ppt/theme/theme1.xml><?xml version="1.0" encoding="utf-8"?>
<a:theme xmlns:a="http://schemas.openxmlformats.org/drawingml/2006/main" name="KONE official template 2016">
  <a:themeElements>
    <a:clrScheme name="KONE corporation 220416">
      <a:dk1>
        <a:srgbClr val="3B4245"/>
      </a:dk1>
      <a:lt1>
        <a:srgbClr val="FFFFFF"/>
      </a:lt1>
      <a:dk2>
        <a:srgbClr val="0071B9"/>
      </a:dk2>
      <a:lt2>
        <a:srgbClr val="8D9194"/>
      </a:lt2>
      <a:accent1>
        <a:srgbClr val="004987"/>
      </a:accent1>
      <a:accent2>
        <a:srgbClr val="58AB27"/>
      </a:accent2>
      <a:accent3>
        <a:srgbClr val="86C2E6"/>
      </a:accent3>
      <a:accent4>
        <a:srgbClr val="FFC627"/>
      </a:accent4>
      <a:accent5>
        <a:srgbClr val="C6D600"/>
      </a:accent5>
      <a:accent6>
        <a:srgbClr val="E51A92"/>
      </a:accent6>
      <a:hlink>
        <a:srgbClr val="0071B9"/>
      </a:hlink>
      <a:folHlink>
        <a:srgbClr val="004987"/>
      </a:folHlink>
    </a:clrScheme>
    <a:fontScheme name="KONE corporation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KONE_template_sample images_layouts_Office_2016" id="{2575B808-E04C-4AF1-9BA2-E1C897CDF141}" vid="{99333A4F-2CF0-425A-A28B-7498FCFFF0E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8F458E07999B243A61F5C802E21718F" ma:contentTypeVersion="12" ma:contentTypeDescription="Create a new document." ma:contentTypeScope="" ma:versionID="1a853a86bda274f20d4f24847988638f">
  <xsd:schema xmlns:xsd="http://www.w3.org/2001/XMLSchema" xmlns:xs="http://www.w3.org/2001/XMLSchema" xmlns:p="http://schemas.microsoft.com/office/2006/metadata/properties" xmlns:ns2="d9e15fa5-47be-4f01-b49d-dfa2474caca3" xmlns:ns3="da0c4dce-b1ad-4500-9aa4-5a85addaf848" targetNamespace="http://schemas.microsoft.com/office/2006/metadata/properties" ma:root="true" ma:fieldsID="50840df202c3d90368e7d62083ab285e" ns2:_="" ns3:_="">
    <xsd:import namespace="d9e15fa5-47be-4f01-b49d-dfa2474caca3"/>
    <xsd:import namespace="da0c4dce-b1ad-4500-9aa4-5a85addaf84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e15fa5-47be-4f01-b49d-dfa2474caca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a0c4dce-b1ad-4500-9aa4-5a85addaf848"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da0c4dce-b1ad-4500-9aa4-5a85addaf848">
      <UserInfo>
        <DisplayName>KONE channel Members</DisplayName>
        <AccountId>7</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20E1A16-B34A-4E68-8195-C43E62E9280B}">
  <ds:schemaRefs>
    <ds:schemaRef ds:uri="d9e15fa5-47be-4f01-b49d-dfa2474caca3"/>
    <ds:schemaRef ds:uri="da0c4dce-b1ad-4500-9aa4-5a85addaf84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BA744B7-BE01-42EE-8B02-D03936BD1D36}">
  <ds:schemaRefs>
    <ds:schemaRef ds:uri="d9e15fa5-47be-4f01-b49d-dfa2474caca3"/>
    <ds:schemaRef ds:uri="da0c4dce-b1ad-4500-9aa4-5a85addaf84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5C8DC04-9810-4A44-9F27-D2B4D7A11B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2932</Words>
  <Application>Microsoft Office PowerPoint</Application>
  <PresentationFormat>Widescreen</PresentationFormat>
  <Paragraphs>322</Paragraphs>
  <Slides>17</Slides>
  <Notes>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6" baseType="lpstr">
      <vt:lpstr>Arial</vt:lpstr>
      <vt:lpstr>Calibri</vt:lpstr>
      <vt:lpstr>KONE Information</vt:lpstr>
      <vt:lpstr>KONE-Information_v13</vt:lpstr>
      <vt:lpstr>Segoe UI</vt:lpstr>
      <vt:lpstr>System Font Regular</vt:lpstr>
      <vt:lpstr>Wingdings</vt:lpstr>
      <vt:lpstr>KONE official template 2016</vt:lpstr>
      <vt:lpstr>think-cell Slide</vt:lpstr>
      <vt:lpstr>KONE Care™ DX</vt:lpstr>
      <vt:lpstr>Content</vt:lpstr>
      <vt:lpstr>KONE DX: A short introduction to your smart and sustainable elevator</vt:lpstr>
      <vt:lpstr>Why KONE Care™ DX?</vt:lpstr>
      <vt:lpstr>What does KONE Care™ DX do?</vt:lpstr>
      <vt:lpstr>PowerPoint Presentation</vt:lpstr>
      <vt:lpstr>WHAT ARE THE BENEFITS?</vt:lpstr>
      <vt:lpstr>Support at your fingertips</vt:lpstr>
      <vt:lpstr>WHAT ARE THE BENEFITS?</vt:lpstr>
      <vt:lpstr>Carbon neutral maintenance – how do we do it? </vt:lpstr>
      <vt:lpstr>Carbon neutral maintenance – how do we reduce?</vt:lpstr>
      <vt:lpstr>PowerPoint Presentation</vt:lpstr>
      <vt:lpstr>Sustainable solutions and services throughout the building life-cycle</vt:lpstr>
      <vt:lpstr>Overview of CO2 emissions from maintenance</vt:lpstr>
      <vt:lpstr>It enables tailor-made experiences</vt:lpstr>
      <vt:lpstr>KONE Digital Services</vt:lpstr>
      <vt:lpstr>PowerPoint Presentation</vt:lpstr>
    </vt:vector>
  </TitlesOfParts>
  <Company>grow.</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NE DX sales presentation</dc:title>
  <dc:creator>mika kontio / grow.</dc:creator>
  <dc:description>copy linked videos on same folder with this ppt</dc:description>
  <cp:lastModifiedBy>Bäck Christina</cp:lastModifiedBy>
  <cp:revision>1</cp:revision>
  <cp:lastPrinted>2021-08-09T14:12:55Z</cp:lastPrinted>
  <dcterms:created xsi:type="dcterms:W3CDTF">2019-01-25T12:59:19Z</dcterms:created>
  <dcterms:modified xsi:type="dcterms:W3CDTF">2022-04-13T20:0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F458E07999B243A61F5C802E21718F</vt:lpwstr>
  </property>
</Properties>
</file>